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22" r:id="rId5"/>
    <p:sldMasterId id="2147483737" r:id="rId6"/>
    <p:sldMasterId id="2147483768" r:id="rId7"/>
  </p:sldMasterIdLst>
  <p:notesMasterIdLst>
    <p:notesMasterId r:id="rId44"/>
  </p:notesMasterIdLst>
  <p:handoutMasterIdLst>
    <p:handoutMasterId r:id="rId45"/>
  </p:handoutMasterIdLst>
  <p:sldIdLst>
    <p:sldId id="260" r:id="rId8"/>
    <p:sldId id="261" r:id="rId9"/>
    <p:sldId id="263" r:id="rId10"/>
    <p:sldId id="320" r:id="rId11"/>
    <p:sldId id="267" r:id="rId12"/>
    <p:sldId id="321" r:id="rId13"/>
    <p:sldId id="316" r:id="rId14"/>
    <p:sldId id="307" r:id="rId15"/>
    <p:sldId id="297" r:id="rId16"/>
    <p:sldId id="290" r:id="rId17"/>
    <p:sldId id="294" r:id="rId18"/>
    <p:sldId id="292" r:id="rId19"/>
    <p:sldId id="313" r:id="rId20"/>
    <p:sldId id="312" r:id="rId21"/>
    <p:sldId id="322" r:id="rId22"/>
    <p:sldId id="317" r:id="rId23"/>
    <p:sldId id="341" r:id="rId24"/>
    <p:sldId id="338" r:id="rId25"/>
    <p:sldId id="339" r:id="rId26"/>
    <p:sldId id="302" r:id="rId27"/>
    <p:sldId id="323" r:id="rId28"/>
    <p:sldId id="311" r:id="rId29"/>
    <p:sldId id="324" r:id="rId30"/>
    <p:sldId id="325" r:id="rId31"/>
    <p:sldId id="326" r:id="rId32"/>
    <p:sldId id="342" r:id="rId33"/>
    <p:sldId id="330" r:id="rId34"/>
    <p:sldId id="340" r:id="rId35"/>
    <p:sldId id="331" r:id="rId36"/>
    <p:sldId id="333" r:id="rId37"/>
    <p:sldId id="328" r:id="rId38"/>
    <p:sldId id="329" r:id="rId39"/>
    <p:sldId id="334" r:id="rId40"/>
    <p:sldId id="336" r:id="rId41"/>
    <p:sldId id="337" r:id="rId42"/>
    <p:sldId id="343" r:id="rId4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99BEBE"/>
    <a:srgbClr val="408FCD"/>
    <a:srgbClr val="88DD00"/>
    <a:srgbClr val="003344"/>
    <a:srgbClr val="999977"/>
    <a:srgbClr val="EEAA00"/>
    <a:srgbClr val="FF9900"/>
    <a:srgbClr val="778888"/>
    <a:srgbClr val="00BB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27" autoAdjust="0"/>
    <p:restoredTop sz="97158" autoAdjust="0"/>
  </p:normalViewPr>
  <p:slideViewPr>
    <p:cSldViewPr snapToGrid="0" showGuides="1">
      <p:cViewPr varScale="1">
        <p:scale>
          <a:sx n="89" d="100"/>
          <a:sy n="89" d="100"/>
        </p:scale>
        <p:origin x="-1554" y="-108"/>
      </p:cViewPr>
      <p:guideLst>
        <p:guide orient="horz" pos="4140"/>
        <p:guide orient="horz" pos="4048"/>
        <p:guide orient="horz" pos="4241"/>
        <p:guide orient="horz" pos="990"/>
        <p:guide orient="horz" pos="575"/>
        <p:guide orient="horz" pos="641"/>
        <p:guide orient="horz" pos="3164"/>
        <p:guide orient="horz" pos="1694"/>
        <p:guide orient="horz" pos="1955"/>
        <p:guide pos="5478"/>
        <p:guide pos="154"/>
        <p:guide pos="2888"/>
        <p:guide pos="282"/>
        <p:guide pos="3885"/>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heme" Target="theme/theme1.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n.gavela.martinez\Documents\Resources\Regulaci&#243;n%20distribuci&#243;n\SLIDE%201.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6.0961337318982289E-2"/>
          <c:y val="2.7028259580742744E-2"/>
          <c:w val="0.69413959720353779"/>
          <c:h val="0.74627517747746375"/>
        </c:manualLayout>
      </c:layout>
      <c:bar3DChart>
        <c:barDir val="col"/>
        <c:grouping val="clustered"/>
        <c:varyColors val="0"/>
        <c:ser>
          <c:idx val="0"/>
          <c:order val="0"/>
          <c:tx>
            <c:strRef>
              <c:f>Sheet1!$B$10</c:f>
              <c:strCache>
                <c:ptCount val="1"/>
                <c:pt idx="0">
                  <c:v>Domésticos</c:v>
                </c:pt>
              </c:strCache>
            </c:strRef>
          </c:tx>
          <c:invertIfNegative val="0"/>
          <c:cat>
            <c:strRef>
              <c:f>Sheet1!$A$11:$A$14</c:f>
              <c:strCache>
                <c:ptCount val="4"/>
                <c:pt idx="0">
                  <c:v>España</c:v>
                </c:pt>
                <c:pt idx="1">
                  <c:v>Francia</c:v>
                </c:pt>
                <c:pt idx="2">
                  <c:v>Alemania</c:v>
                </c:pt>
                <c:pt idx="3">
                  <c:v>UK</c:v>
                </c:pt>
              </c:strCache>
            </c:strRef>
          </c:cat>
          <c:val>
            <c:numRef>
              <c:f>Sheet1!$B$11:$B$14</c:f>
              <c:numCache>
                <c:formatCode>General</c:formatCode>
                <c:ptCount val="4"/>
                <c:pt idx="0">
                  <c:v>17.66</c:v>
                </c:pt>
                <c:pt idx="1">
                  <c:v>9.86</c:v>
                </c:pt>
                <c:pt idx="2">
                  <c:v>14.41</c:v>
                </c:pt>
                <c:pt idx="3">
                  <c:v>16.03</c:v>
                </c:pt>
              </c:numCache>
            </c:numRef>
          </c:val>
        </c:ser>
        <c:ser>
          <c:idx val="1"/>
          <c:order val="1"/>
          <c:tx>
            <c:strRef>
              <c:f>Sheet1!$C$10</c:f>
              <c:strCache>
                <c:ptCount val="1"/>
                <c:pt idx="0">
                  <c:v>Industriales</c:v>
                </c:pt>
              </c:strCache>
            </c:strRef>
          </c:tx>
          <c:invertIfNegative val="0"/>
          <c:cat>
            <c:strRef>
              <c:f>Sheet1!$A$11:$A$14</c:f>
              <c:strCache>
                <c:ptCount val="4"/>
                <c:pt idx="0">
                  <c:v>España</c:v>
                </c:pt>
                <c:pt idx="1">
                  <c:v>Francia</c:v>
                </c:pt>
                <c:pt idx="2">
                  <c:v>Alemania</c:v>
                </c:pt>
                <c:pt idx="3">
                  <c:v>UK</c:v>
                </c:pt>
              </c:strCache>
            </c:strRef>
          </c:cat>
          <c:val>
            <c:numRef>
              <c:f>Sheet1!$C$11:$C$14</c:f>
              <c:numCache>
                <c:formatCode>General</c:formatCode>
                <c:ptCount val="4"/>
                <c:pt idx="0">
                  <c:v>11.55</c:v>
                </c:pt>
                <c:pt idx="1">
                  <c:v>8.09</c:v>
                </c:pt>
                <c:pt idx="2">
                  <c:v>8.9499999999999993</c:v>
                </c:pt>
                <c:pt idx="3">
                  <c:v>10.97</c:v>
                </c:pt>
              </c:numCache>
            </c:numRef>
          </c:val>
        </c:ser>
        <c:dLbls>
          <c:showLegendKey val="0"/>
          <c:showVal val="0"/>
          <c:showCatName val="0"/>
          <c:showSerName val="0"/>
          <c:showPercent val="0"/>
          <c:showBubbleSize val="0"/>
        </c:dLbls>
        <c:gapWidth val="150"/>
        <c:shape val="box"/>
        <c:axId val="113435776"/>
        <c:axId val="113437312"/>
        <c:axId val="0"/>
      </c:bar3DChart>
      <c:catAx>
        <c:axId val="113435776"/>
        <c:scaling>
          <c:orientation val="minMax"/>
        </c:scaling>
        <c:delete val="0"/>
        <c:axPos val="b"/>
        <c:majorTickMark val="out"/>
        <c:minorTickMark val="none"/>
        <c:tickLblPos val="nextTo"/>
        <c:crossAx val="113437312"/>
        <c:crosses val="autoZero"/>
        <c:auto val="1"/>
        <c:lblAlgn val="ctr"/>
        <c:lblOffset val="100"/>
        <c:noMultiLvlLbl val="0"/>
      </c:catAx>
      <c:valAx>
        <c:axId val="113437312"/>
        <c:scaling>
          <c:orientation val="minMax"/>
        </c:scaling>
        <c:delete val="0"/>
        <c:axPos val="l"/>
        <c:majorGridlines/>
        <c:numFmt formatCode="General" sourceLinked="1"/>
        <c:majorTickMark val="out"/>
        <c:minorTickMark val="none"/>
        <c:tickLblPos val="nextTo"/>
        <c:crossAx val="113435776"/>
        <c:crosses val="autoZero"/>
        <c:crossBetween val="between"/>
      </c:valAx>
    </c:plotArea>
    <c:legend>
      <c:legendPos val="r"/>
      <c:layout>
        <c:manualLayout>
          <c:xMode val="edge"/>
          <c:yMode val="edge"/>
          <c:x val="0.21171100056821626"/>
          <c:y val="0.82994785886931277"/>
          <c:w val="0.45773332449297333"/>
          <c:h val="0.15799285505978419"/>
        </c:manualLayout>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138107748030609E-2"/>
          <c:y val="2.6307801134021768E-2"/>
          <c:w val="0.75070713770389941"/>
          <c:h val="0.89792249180303518"/>
        </c:manualLayout>
      </c:layout>
      <c:barChart>
        <c:barDir val="col"/>
        <c:grouping val="stacked"/>
        <c:varyColors val="0"/>
        <c:ser>
          <c:idx val="0"/>
          <c:order val="0"/>
          <c:tx>
            <c:strRef>
              <c:f>Sheet3!$J$4</c:f>
              <c:strCache>
                <c:ptCount val="1"/>
                <c:pt idx="0">
                  <c:v>Prima RE</c:v>
                </c:pt>
              </c:strCache>
            </c:strRef>
          </c:tx>
          <c:invertIfNegative val="0"/>
          <c:cat>
            <c:numRef>
              <c:f>Sheet3!$L$3:$R$3</c:f>
              <c:numCache>
                <c:formatCode>General</c:formatCode>
                <c:ptCount val="6"/>
                <c:pt idx="0">
                  <c:v>2007</c:v>
                </c:pt>
                <c:pt idx="1">
                  <c:v>2008</c:v>
                </c:pt>
                <c:pt idx="2">
                  <c:v>2009</c:v>
                </c:pt>
                <c:pt idx="3">
                  <c:v>2010</c:v>
                </c:pt>
                <c:pt idx="4">
                  <c:v>2011</c:v>
                </c:pt>
                <c:pt idx="5">
                  <c:v>2012</c:v>
                </c:pt>
              </c:numCache>
            </c:numRef>
          </c:cat>
          <c:val>
            <c:numRef>
              <c:f>Sheet3!$L$4:$R$4</c:f>
              <c:numCache>
                <c:formatCode>#,##0</c:formatCode>
                <c:ptCount val="6"/>
                <c:pt idx="0">
                  <c:v>2827885</c:v>
                </c:pt>
                <c:pt idx="1">
                  <c:v>4096839</c:v>
                </c:pt>
                <c:pt idx="2">
                  <c:v>6521185</c:v>
                </c:pt>
                <c:pt idx="3">
                  <c:v>7066915</c:v>
                </c:pt>
                <c:pt idx="4">
                  <c:v>6984805</c:v>
                </c:pt>
                <c:pt idx="5">
                  <c:v>8585853</c:v>
                </c:pt>
              </c:numCache>
            </c:numRef>
          </c:val>
        </c:ser>
        <c:ser>
          <c:idx val="1"/>
          <c:order val="1"/>
          <c:tx>
            <c:strRef>
              <c:f>Sheet3!$J$5</c:f>
              <c:strCache>
                <c:ptCount val="1"/>
                <c:pt idx="0">
                  <c:v>Distribución y gestión comercial</c:v>
                </c:pt>
              </c:strCache>
            </c:strRef>
          </c:tx>
          <c:invertIfNegative val="0"/>
          <c:cat>
            <c:numRef>
              <c:f>Sheet3!$L$3:$R$3</c:f>
              <c:numCache>
                <c:formatCode>General</c:formatCode>
                <c:ptCount val="6"/>
                <c:pt idx="0">
                  <c:v>2007</c:v>
                </c:pt>
                <c:pt idx="1">
                  <c:v>2008</c:v>
                </c:pt>
                <c:pt idx="2">
                  <c:v>2009</c:v>
                </c:pt>
                <c:pt idx="3">
                  <c:v>2010</c:v>
                </c:pt>
                <c:pt idx="4">
                  <c:v>2011</c:v>
                </c:pt>
                <c:pt idx="5">
                  <c:v>2012</c:v>
                </c:pt>
              </c:numCache>
            </c:numRef>
          </c:cat>
          <c:val>
            <c:numRef>
              <c:f>Sheet3!$L$5:$R$5</c:f>
              <c:numCache>
                <c:formatCode>#,##0</c:formatCode>
                <c:ptCount val="6"/>
                <c:pt idx="0">
                  <c:v>4160494</c:v>
                </c:pt>
                <c:pt idx="1">
                  <c:v>4364285</c:v>
                </c:pt>
                <c:pt idx="2">
                  <c:v>4608278</c:v>
                </c:pt>
                <c:pt idx="3">
                  <c:v>5488187</c:v>
                </c:pt>
                <c:pt idx="4">
                  <c:v>5450768</c:v>
                </c:pt>
                <c:pt idx="5">
                  <c:v>5005368</c:v>
                </c:pt>
              </c:numCache>
            </c:numRef>
          </c:val>
        </c:ser>
        <c:ser>
          <c:idx val="2"/>
          <c:order val="2"/>
          <c:tx>
            <c:strRef>
              <c:f>Sheet3!$J$6</c:f>
              <c:strCache>
                <c:ptCount val="1"/>
                <c:pt idx="0">
                  <c:v>Desajustes</c:v>
                </c:pt>
              </c:strCache>
            </c:strRef>
          </c:tx>
          <c:spPr>
            <a:solidFill>
              <a:schemeClr val="accent4">
                <a:lumMod val="20000"/>
                <a:lumOff val="80000"/>
              </a:schemeClr>
            </a:solidFill>
          </c:spPr>
          <c:invertIfNegative val="0"/>
          <c:cat>
            <c:numRef>
              <c:f>Sheet3!$L$3:$R$3</c:f>
              <c:numCache>
                <c:formatCode>General</c:formatCode>
                <c:ptCount val="6"/>
                <c:pt idx="0">
                  <c:v>2007</c:v>
                </c:pt>
                <c:pt idx="1">
                  <c:v>2008</c:v>
                </c:pt>
                <c:pt idx="2">
                  <c:v>2009</c:v>
                </c:pt>
                <c:pt idx="3">
                  <c:v>2010</c:v>
                </c:pt>
                <c:pt idx="4">
                  <c:v>2011</c:v>
                </c:pt>
                <c:pt idx="5">
                  <c:v>2012</c:v>
                </c:pt>
              </c:numCache>
            </c:numRef>
          </c:cat>
          <c:val>
            <c:numRef>
              <c:f>Sheet3!$L$6:$R$6</c:f>
              <c:numCache>
                <c:formatCode>#,##0</c:formatCode>
                <c:ptCount val="6"/>
                <c:pt idx="0">
                  <c:v>736819</c:v>
                </c:pt>
                <c:pt idx="1">
                  <c:v>1382594</c:v>
                </c:pt>
                <c:pt idx="2">
                  <c:v>1344109</c:v>
                </c:pt>
                <c:pt idx="3">
                  <c:v>2387091</c:v>
                </c:pt>
                <c:pt idx="4">
                  <c:v>1690953</c:v>
                </c:pt>
                <c:pt idx="5">
                  <c:v>3256080</c:v>
                </c:pt>
              </c:numCache>
            </c:numRef>
          </c:val>
        </c:ser>
        <c:ser>
          <c:idx val="4"/>
          <c:order val="3"/>
          <c:tx>
            <c:strRef>
              <c:f>Sheet3!$J$8</c:f>
              <c:strCache>
                <c:ptCount val="1"/>
                <c:pt idx="0">
                  <c:v>Transporte</c:v>
                </c:pt>
              </c:strCache>
            </c:strRef>
          </c:tx>
          <c:invertIfNegative val="0"/>
          <c:cat>
            <c:numRef>
              <c:f>Sheet3!$L$3:$R$3</c:f>
              <c:numCache>
                <c:formatCode>General</c:formatCode>
                <c:ptCount val="6"/>
                <c:pt idx="0">
                  <c:v>2007</c:v>
                </c:pt>
                <c:pt idx="1">
                  <c:v>2008</c:v>
                </c:pt>
                <c:pt idx="2">
                  <c:v>2009</c:v>
                </c:pt>
                <c:pt idx="3">
                  <c:v>2010</c:v>
                </c:pt>
                <c:pt idx="4">
                  <c:v>2011</c:v>
                </c:pt>
                <c:pt idx="5">
                  <c:v>2012</c:v>
                </c:pt>
              </c:numCache>
            </c:numRef>
          </c:cat>
          <c:val>
            <c:numRef>
              <c:f>Sheet3!$L$8:$R$8</c:f>
              <c:numCache>
                <c:formatCode>#,##0</c:formatCode>
                <c:ptCount val="6"/>
                <c:pt idx="0">
                  <c:v>1089773</c:v>
                </c:pt>
                <c:pt idx="1">
                  <c:v>1246428</c:v>
                </c:pt>
                <c:pt idx="2">
                  <c:v>1344021</c:v>
                </c:pt>
                <c:pt idx="3">
                  <c:v>1397104</c:v>
                </c:pt>
                <c:pt idx="4">
                  <c:v>1534426</c:v>
                </c:pt>
                <c:pt idx="5">
                  <c:v>1477453</c:v>
                </c:pt>
              </c:numCache>
            </c:numRef>
          </c:val>
        </c:ser>
        <c:ser>
          <c:idx val="8"/>
          <c:order val="4"/>
          <c:tx>
            <c:strRef>
              <c:f>Sheet3!$J$12</c:f>
              <c:strCache>
                <c:ptCount val="1"/>
                <c:pt idx="0">
                  <c:v>Otros (interrumpibilidad, compensaciones insulares, cuotas…)</c:v>
                </c:pt>
              </c:strCache>
            </c:strRef>
          </c:tx>
          <c:invertIfNegative val="0"/>
          <c:cat>
            <c:numRef>
              <c:f>Sheet3!$L$3:$R$3</c:f>
              <c:numCache>
                <c:formatCode>General</c:formatCode>
                <c:ptCount val="6"/>
                <c:pt idx="0">
                  <c:v>2007</c:v>
                </c:pt>
                <c:pt idx="1">
                  <c:v>2008</c:v>
                </c:pt>
                <c:pt idx="2">
                  <c:v>2009</c:v>
                </c:pt>
                <c:pt idx="3">
                  <c:v>2010</c:v>
                </c:pt>
                <c:pt idx="4">
                  <c:v>2011</c:v>
                </c:pt>
                <c:pt idx="5">
                  <c:v>2012</c:v>
                </c:pt>
              </c:numCache>
            </c:numRef>
          </c:cat>
          <c:val>
            <c:numRef>
              <c:f>Sheet3!$L$12:$R$12</c:f>
              <c:numCache>
                <c:formatCode>#,##0</c:formatCode>
                <c:ptCount val="6"/>
                <c:pt idx="0">
                  <c:v>1598642</c:v>
                </c:pt>
                <c:pt idx="1">
                  <c:v>2182373</c:v>
                </c:pt>
                <c:pt idx="2">
                  <c:v>2151092</c:v>
                </c:pt>
                <c:pt idx="3">
                  <c:v>1293122</c:v>
                </c:pt>
                <c:pt idx="4">
                  <c:v>818348</c:v>
                </c:pt>
                <c:pt idx="5">
                  <c:v>2155947</c:v>
                </c:pt>
              </c:numCache>
            </c:numRef>
          </c:val>
        </c:ser>
        <c:dLbls>
          <c:showLegendKey val="0"/>
          <c:showVal val="0"/>
          <c:showCatName val="0"/>
          <c:showSerName val="0"/>
          <c:showPercent val="0"/>
          <c:showBubbleSize val="0"/>
        </c:dLbls>
        <c:gapWidth val="150"/>
        <c:overlap val="100"/>
        <c:axId val="113292800"/>
        <c:axId val="113294336"/>
      </c:barChart>
      <c:catAx>
        <c:axId val="113292800"/>
        <c:scaling>
          <c:orientation val="minMax"/>
        </c:scaling>
        <c:delete val="0"/>
        <c:axPos val="b"/>
        <c:numFmt formatCode="General" sourceLinked="1"/>
        <c:majorTickMark val="out"/>
        <c:minorTickMark val="none"/>
        <c:tickLblPos val="nextTo"/>
        <c:crossAx val="113294336"/>
        <c:crosses val="autoZero"/>
        <c:auto val="1"/>
        <c:lblAlgn val="ctr"/>
        <c:lblOffset val="100"/>
        <c:noMultiLvlLbl val="0"/>
      </c:catAx>
      <c:valAx>
        <c:axId val="113294336"/>
        <c:scaling>
          <c:orientation val="minMax"/>
          <c:max val="25000000"/>
        </c:scaling>
        <c:delete val="0"/>
        <c:axPos val="l"/>
        <c:numFmt formatCode="#,##0" sourceLinked="1"/>
        <c:majorTickMark val="out"/>
        <c:minorTickMark val="none"/>
        <c:tickLblPos val="nextTo"/>
        <c:crossAx val="113292800"/>
        <c:crosses val="autoZero"/>
        <c:crossBetween val="between"/>
        <c:dispUnits>
          <c:builtInUnit val="thousands"/>
        </c:dispUnits>
      </c:valAx>
      <c:spPr>
        <a:noFill/>
        <a:ln w="25400">
          <a:noFill/>
        </a:ln>
      </c:spPr>
    </c:plotArea>
    <c:legend>
      <c:legendPos val="r"/>
      <c:legendEntry>
        <c:idx val="3"/>
        <c:txPr>
          <a:bodyPr/>
          <a:lstStyle/>
          <a:p>
            <a:pPr>
              <a:defRPr sz="1100" b="1"/>
            </a:pPr>
            <a:endParaRPr lang="es-ES"/>
          </a:p>
        </c:txPr>
      </c:legendEntry>
      <c:legendEntry>
        <c:idx val="4"/>
        <c:txPr>
          <a:bodyPr/>
          <a:lstStyle/>
          <a:p>
            <a:pPr>
              <a:defRPr sz="1100" b="1"/>
            </a:pPr>
            <a:endParaRPr lang="es-ES"/>
          </a:p>
        </c:txPr>
      </c:legendEntry>
      <c:layout>
        <c:manualLayout>
          <c:xMode val="edge"/>
          <c:yMode val="edge"/>
          <c:x val="0.84146408494805736"/>
          <c:y val="0"/>
          <c:w val="0.14977359404419752"/>
          <c:h val="1"/>
        </c:manualLayout>
      </c:layout>
      <c:overlay val="0"/>
      <c:txPr>
        <a:bodyPr/>
        <a:lstStyle/>
        <a:p>
          <a:pPr>
            <a:defRPr sz="1100"/>
          </a:pPr>
          <a:endParaRPr lang="es-ES"/>
        </a:p>
      </c:txPr>
    </c:legend>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14/201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a:pPr>
                <a:defRPr/>
              </a:pPr>
              <a:t>5/14/2014</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GB"/>
              <a:pPr>
                <a:defRPr/>
              </a:pPr>
              <a:t>‹#›</a:t>
            </a:fld>
            <a:endParaRPr lang="en-GB"/>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noFill/>
          <a:ln>
            <a:solidFill>
              <a:srgbClr val="000000"/>
            </a:solidFill>
            <a:miter lim="800000"/>
            <a:headEnd/>
            <a:tailEnd/>
          </a:ln>
        </p:spPr>
      </p:sp>
      <p:sp>
        <p:nvSpPr>
          <p:cNvPr id="9219" name="Notes Placeholder 2"/>
          <p:cNvSpPr>
            <a:spLocks noGrp="1"/>
          </p:cNvSpPr>
          <p:nvPr>
            <p:ph type="body" idx="1"/>
          </p:nvPr>
        </p:nvSpPr>
        <p:spPr bwMode="auto">
          <a:noFill/>
        </p:spPr>
        <p:txBody>
          <a:bodyPr/>
          <a:lstStyle/>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88201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882014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882014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8820147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882014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882014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cepts to think about – Spacetime insight = Front End or Rich internet Application – Could be multiple providers</a:t>
            </a:r>
          </a:p>
          <a:p>
            <a:r>
              <a:rPr lang="en-US" dirty="0" smtClean="0"/>
              <a:t>		Middle tier = data delivery environment – can be other vendors </a:t>
            </a:r>
            <a:r>
              <a:rPr lang="en-US" dirty="0" smtClean="0">
                <a:sym typeface="Wingdings" pitchFamily="2" charset="2"/>
              </a:rPr>
              <a:t> a key asset ACN owns is in this space ACN</a:t>
            </a:r>
            <a:r>
              <a:rPr lang="en-US" baseline="0" dirty="0" smtClean="0">
                <a:sym typeface="Wingdings" pitchFamily="2" charset="2"/>
              </a:rPr>
              <a:t> MADX – Multi Resolution Asset Data Exchange  pulls the GIS and SAP systems data together to provide powerful analytic capabilities</a:t>
            </a:r>
          </a:p>
          <a:p>
            <a:r>
              <a:rPr lang="en-US" baseline="0" dirty="0" smtClean="0">
                <a:sym typeface="Wingdings" pitchFamily="2" charset="2"/>
              </a:rPr>
              <a:t>		</a:t>
            </a:r>
            <a:r>
              <a:rPr lang="en-US" dirty="0" smtClean="0"/>
              <a:t>Third tier = Source</a:t>
            </a:r>
            <a:r>
              <a:rPr lang="en-US" baseline="0" dirty="0" smtClean="0"/>
              <a:t> Data – will be clients – Client Data Sources</a:t>
            </a:r>
          </a:p>
          <a:p>
            <a:r>
              <a:rPr lang="en-US" baseline="0" dirty="0" smtClean="0"/>
              <a:t>What Accenture brings is the Analytics, Processes, and Know how to pull it all together</a:t>
            </a:r>
          </a:p>
          <a:p>
            <a:r>
              <a:rPr lang="en-US" baseline="0" dirty="0" smtClean="0"/>
              <a:t>Needs to be specific and generic</a:t>
            </a:r>
          </a:p>
          <a:p>
            <a:r>
              <a:rPr lang="en-US" dirty="0" smtClean="0"/>
              <a:t>Structured</a:t>
            </a:r>
            <a:r>
              <a:rPr lang="en-US" baseline="0" dirty="0" smtClean="0"/>
              <a:t> data = can go to a database and develop a query</a:t>
            </a:r>
          </a:p>
          <a:p>
            <a:r>
              <a:rPr lang="en-US" baseline="0" dirty="0" smtClean="0"/>
              <a:t>Non-Structured Data = Documents, photo, email, audio recording, video recording</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2704410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cepts to think about – Spacetime insight = Front End or Rich internet Application – Could be multiple providers</a:t>
            </a:r>
          </a:p>
          <a:p>
            <a:r>
              <a:rPr lang="en-US" dirty="0" smtClean="0"/>
              <a:t>		Middle tier = data delivery environment – can be other vendors </a:t>
            </a:r>
            <a:r>
              <a:rPr lang="en-US" dirty="0" smtClean="0">
                <a:sym typeface="Wingdings" pitchFamily="2" charset="2"/>
              </a:rPr>
              <a:t> a key asset ACN owns is in this space ACN</a:t>
            </a:r>
            <a:r>
              <a:rPr lang="en-US" baseline="0" dirty="0" smtClean="0">
                <a:sym typeface="Wingdings" pitchFamily="2" charset="2"/>
              </a:rPr>
              <a:t> MADX – Multi Resolution Asset Data Exchange  pulls the GIS and SAP systems data together to provide powerful analytic capabilities</a:t>
            </a:r>
          </a:p>
          <a:p>
            <a:r>
              <a:rPr lang="en-US" baseline="0" dirty="0" smtClean="0">
                <a:sym typeface="Wingdings" pitchFamily="2" charset="2"/>
              </a:rPr>
              <a:t>		</a:t>
            </a:r>
            <a:r>
              <a:rPr lang="en-US" dirty="0" smtClean="0"/>
              <a:t>Third tier = Source</a:t>
            </a:r>
            <a:r>
              <a:rPr lang="en-US" baseline="0" dirty="0" smtClean="0"/>
              <a:t> Data – will be clients – Client Data Sources</a:t>
            </a:r>
          </a:p>
          <a:p>
            <a:r>
              <a:rPr lang="en-US" baseline="0" dirty="0" smtClean="0"/>
              <a:t>What Accenture brings is the Analytics, Processes, and Know how to pull it all together</a:t>
            </a:r>
          </a:p>
          <a:p>
            <a:r>
              <a:rPr lang="en-US" baseline="0" dirty="0" smtClean="0"/>
              <a:t>Needs to be specific and generic</a:t>
            </a:r>
          </a:p>
          <a:p>
            <a:r>
              <a:rPr lang="en-US" dirty="0" smtClean="0"/>
              <a:t>Structured</a:t>
            </a:r>
            <a:r>
              <a:rPr lang="en-US" baseline="0" dirty="0" smtClean="0"/>
              <a:t> data = can go to a database and develop a query</a:t>
            </a:r>
          </a:p>
          <a:p>
            <a:r>
              <a:rPr lang="en-US" baseline="0" dirty="0" smtClean="0"/>
              <a:t>Non-Structured Data = Documents, photo, email, audio recording, video recording</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2704410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9" name="Picture 8" descr="100056410.jpg"/>
          <p:cNvPicPr>
            <a:picLocks noChangeAspect="1"/>
          </p:cNvPicPr>
          <p:nvPr userDrawn="1"/>
        </p:nvPicPr>
        <p:blipFill>
          <a:blip r:embed="rId2" cstate="print"/>
          <a:srcRect l="16111" r="21944"/>
          <a:stretch>
            <a:fillRect/>
          </a:stretch>
        </p:blipFill>
        <p:spPr>
          <a:xfrm>
            <a:off x="2294731" y="1635125"/>
            <a:ext cx="4579938" cy="5230499"/>
          </a:xfrm>
          <a:prstGeom prst="rect">
            <a:avLst/>
          </a:prstGeom>
        </p:spPr>
      </p:pic>
      <p:pic>
        <p:nvPicPr>
          <p:cNvPr id="15" name="Picture 14" descr="Acc_StrategyLine_English_wht_RGB.png"/>
          <p:cNvPicPr>
            <a:picLocks noChangeAspect="1"/>
          </p:cNvPicPr>
          <p:nvPr userDrawn="1"/>
        </p:nvPicPr>
        <p:blipFill>
          <a:blip r:embed="rId3" cstate="print"/>
          <a:stretch>
            <a:fillRect/>
          </a:stretch>
        </p:blipFill>
        <p:spPr>
          <a:xfrm>
            <a:off x="6163056" y="6245352"/>
            <a:ext cx="2523744" cy="178096"/>
          </a:xfrm>
          <a:prstGeom prst="rect">
            <a:avLst/>
          </a:prstGeom>
        </p:spPr>
      </p:pic>
      <p:sp>
        <p:nvSpPr>
          <p:cNvPr id="2" name="Title 1"/>
          <p:cNvSpPr>
            <a:spLocks noGrp="1"/>
          </p:cNvSpPr>
          <p:nvPr>
            <p:ph type="ctrTitle" hasCustomPrompt="1"/>
          </p:nvPr>
        </p:nvSpPr>
        <p:spPr>
          <a:xfrm>
            <a:off x="453939" y="1278644"/>
            <a:ext cx="4130761" cy="1251196"/>
          </a:xfrm>
          <a:prstGeom prst="rect">
            <a:avLst/>
          </a:prstGeom>
        </p:spPr>
        <p:txBody>
          <a:bodyPr lIns="0" tIns="0" anchor="b" anchorCtr="0">
            <a:noAutofit/>
          </a:bodyPr>
          <a:lstStyle>
            <a:lvl1pPr algn="l">
              <a:lnSpc>
                <a:spcPts val="3900"/>
              </a:lnSpc>
              <a:defRPr sz="3600" b="0" spc="-100" baseline="0">
                <a:solidFill>
                  <a:schemeClr val="tx1"/>
                </a:solidFill>
                <a:latin typeface="Arial" pitchFamily="34" charset="0"/>
                <a:cs typeface="Arial" pitchFamily="34" charset="0"/>
              </a:defRPr>
            </a:lvl1pPr>
          </a:lstStyle>
          <a:p>
            <a:r>
              <a:rPr lang="en-US" dirty="0" smtClean="0"/>
              <a:t>Click to edit Master title style </a:t>
            </a:r>
            <a:endParaRPr lang="en-GB" dirty="0"/>
          </a:p>
        </p:txBody>
      </p:sp>
      <p:pic>
        <p:nvPicPr>
          <p:cNvPr id="10" name="Picture 9" descr="Acc_Sig_blk_YellowOrange_rgb.png"/>
          <p:cNvPicPr>
            <a:picLocks noChangeAspect="1"/>
          </p:cNvPicPr>
          <p:nvPr userDrawn="1"/>
        </p:nvPicPr>
        <p:blipFill>
          <a:blip r:embed="rId4" cstate="print"/>
          <a:stretch>
            <a:fillRect/>
          </a:stretch>
        </p:blipFill>
        <p:spPr>
          <a:xfrm>
            <a:off x="447675" y="5681439"/>
            <a:ext cx="2430526" cy="695299"/>
          </a:xfrm>
          <a:prstGeom prst="rect">
            <a:avLst/>
          </a:prstGeom>
        </p:spPr>
      </p:pic>
      <p:cxnSp>
        <p:nvCxnSpPr>
          <p:cNvPr id="16" name="Straight Connector 9"/>
          <p:cNvCxnSpPr>
            <a:cxnSpLocks noChangeShapeType="1"/>
          </p:cNvCxnSpPr>
          <p:nvPr userDrawn="1"/>
        </p:nvCxnSpPr>
        <p:spPr bwMode="auto">
          <a:xfrm>
            <a:off x="447675" y="6570028"/>
            <a:ext cx="8691563" cy="0"/>
          </a:xfrm>
          <a:prstGeom prst="line">
            <a:avLst/>
          </a:prstGeom>
          <a:noFill/>
          <a:ln w="12700">
            <a:solidFill>
              <a:schemeClr val="tx1"/>
            </a:solidFill>
            <a:round/>
            <a:headEnd/>
            <a:tailEnd/>
          </a:ln>
        </p:spPr>
      </p:cxnSp>
      <p:pic>
        <p:nvPicPr>
          <p:cNvPr id="17" name="Picture 15" descr="Acc_StrategyLine_English_blk_RGB.png"/>
          <p:cNvPicPr>
            <a:picLocks noChangeAspect="1"/>
          </p:cNvPicPr>
          <p:nvPr userDrawn="1"/>
        </p:nvPicPr>
        <p:blipFill>
          <a:blip r:embed="rId5" cstate="print"/>
          <a:srcRect/>
          <a:stretch>
            <a:fillRect/>
          </a:stretch>
        </p:blipFill>
        <p:spPr bwMode="auto">
          <a:xfrm>
            <a:off x="6163056" y="6245352"/>
            <a:ext cx="2523744" cy="178351"/>
          </a:xfrm>
          <a:prstGeom prst="rect">
            <a:avLst/>
          </a:prstGeom>
          <a:noFill/>
          <a:ln w="9525">
            <a:noFill/>
            <a:miter lim="800000"/>
            <a:headEnd/>
            <a:tailEnd/>
          </a:ln>
        </p:spPr>
      </p:pic>
      <p:pic>
        <p:nvPicPr>
          <p:cNvPr id="12" name="Picture 11" descr="ACC_fm_core_black_YellowOrange_rgb.png"/>
          <p:cNvPicPr>
            <a:picLocks noChangeAspect="1"/>
          </p:cNvPicPr>
          <p:nvPr userDrawn="1"/>
        </p:nvPicPr>
        <p:blipFill>
          <a:blip r:embed="rId6" cstate="print"/>
          <a:stretch>
            <a:fillRect/>
          </a:stretch>
        </p:blipFill>
        <p:spPr>
          <a:xfrm>
            <a:off x="5680410" y="723085"/>
            <a:ext cx="3086545" cy="2077619"/>
          </a:xfrm>
          <a:prstGeom prst="rect">
            <a:avLst/>
          </a:prstGeom>
        </p:spPr>
      </p:pic>
      <p:pic>
        <p:nvPicPr>
          <p:cNvPr id="11" name="Picture 2"/>
          <p:cNvPicPr>
            <a:picLocks noChangeAspect="1" noChangeArrowheads="1"/>
          </p:cNvPicPr>
          <p:nvPr userDrawn="1"/>
        </p:nvPicPr>
        <p:blipFill>
          <a:blip r:embed="rId7" cstate="print"/>
          <a:srcRect/>
          <a:stretch>
            <a:fillRect/>
          </a:stretch>
        </p:blipFill>
        <p:spPr bwMode="auto">
          <a:xfrm>
            <a:off x="244475" y="493713"/>
            <a:ext cx="2347913" cy="5238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4619480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47330" y="113919"/>
            <a:ext cx="8229600" cy="783654"/>
          </a:xfrm>
          <a:prstGeom prst="rect">
            <a:avLst/>
          </a:prstGeom>
        </p:spPr>
        <p:txBody>
          <a:bodyPr lIns="0" bIns="0" anchor="b" anchorCtr="0"/>
          <a:lstStyle>
            <a:lvl1pPr>
              <a:lnSpc>
                <a:spcPts val="2600"/>
              </a:lnSpc>
              <a:defRPr sz="2600" spc="-100" baseline="0">
                <a:solidFill>
                  <a:srgbClr val="992222"/>
                </a:solidFill>
              </a:defRPr>
            </a:lvl1pPr>
          </a:lstStyle>
          <a:p>
            <a:r>
              <a:rPr lang="en-US" dirty="0" smtClean="0"/>
              <a:t>Click to edit Master text styles</a:t>
            </a:r>
            <a:endParaRPr lang="en-US" dirty="0"/>
          </a:p>
        </p:txBody>
      </p:sp>
      <p:cxnSp>
        <p:nvCxnSpPr>
          <p:cNvPr id="11" name="Straight Connector 10"/>
          <p:cNvCxnSpPr/>
          <p:nvPr userDrawn="1"/>
        </p:nvCxnSpPr>
        <p:spPr>
          <a:xfrm>
            <a:off x="444627" y="1017588"/>
            <a:ext cx="86946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Slide Number Placeholder 4"/>
          <p:cNvSpPr>
            <a:spLocks noGrp="1"/>
          </p:cNvSpPr>
          <p:nvPr>
            <p:ph type="sldNum" sz="quarter" idx="4"/>
          </p:nvPr>
        </p:nvSpPr>
        <p:spPr>
          <a:xfrm>
            <a:off x="8159750" y="6571942"/>
            <a:ext cx="536575" cy="246062"/>
          </a:xfrm>
          <a:prstGeom prst="rect">
            <a:avLst/>
          </a:prstGeom>
        </p:spPr>
        <p:txBody>
          <a:bodyPr vert="horz" wrap="square" lIns="91440" tIns="45720" rIns="0" bIns="45720" numCol="1" anchor="ctr" anchorCtr="0" compatLnSpc="1">
            <a:prstTxWarp prst="textNoShape">
              <a:avLst/>
            </a:prstTxWarp>
          </a:bodyPr>
          <a:lstStyle>
            <a:lvl1pPr algn="r">
              <a:defRPr sz="900"/>
            </a:lvl1pPr>
          </a:lstStyle>
          <a:p>
            <a:pPr>
              <a:defRPr/>
            </a:pPr>
            <a:fld id="{90CBDC3A-D49F-4631-A8C7-55D59B33E5FA}" type="slidenum">
              <a:rPr lang="en-US" smtClean="0">
                <a:solidFill>
                  <a:prstClr val="black"/>
                </a:solidFill>
              </a:rPr>
              <a:pPr>
                <a:defRPr/>
              </a:pPr>
              <a:t>‹#›</a:t>
            </a:fld>
            <a:endParaRPr lang="en-US" dirty="0">
              <a:solidFill>
                <a:prstClr val="black"/>
              </a:solidFill>
            </a:endParaRPr>
          </a:p>
        </p:txBody>
      </p:sp>
      <p:sp>
        <p:nvSpPr>
          <p:cNvPr id="24" name="TextBox 23"/>
          <p:cNvSpPr txBox="1"/>
          <p:nvPr userDrawn="1"/>
        </p:nvSpPr>
        <p:spPr>
          <a:xfrm>
            <a:off x="447675" y="6571942"/>
            <a:ext cx="2562560" cy="230832"/>
          </a:xfrm>
          <a:prstGeom prst="rect">
            <a:avLst/>
          </a:prstGeom>
          <a:noFill/>
        </p:spPr>
        <p:txBody>
          <a:bodyPr wrap="none" lIns="0">
            <a:spAutoFit/>
          </a:bodyPr>
          <a:lstStyle/>
          <a:p>
            <a:pPr algn="ctr">
              <a:defRPr/>
            </a:pPr>
            <a:r>
              <a:rPr lang="en-US" sz="900" dirty="0">
                <a:solidFill>
                  <a:srgbClr val="000000"/>
                </a:solidFill>
              </a:rPr>
              <a:t>Copyright © </a:t>
            </a:r>
            <a:r>
              <a:rPr lang="en-US" sz="900" dirty="0" smtClean="0">
                <a:solidFill>
                  <a:srgbClr val="000000"/>
                </a:solidFill>
              </a:rPr>
              <a:t>2012 </a:t>
            </a:r>
            <a:r>
              <a:rPr lang="en-US" sz="900" dirty="0">
                <a:solidFill>
                  <a:srgbClr val="000000"/>
                </a:solidFill>
              </a:rPr>
              <a:t>Accenture  All rights reserved.</a:t>
            </a:r>
          </a:p>
        </p:txBody>
      </p:sp>
    </p:spTree>
    <p:extLst>
      <p:ext uri="{BB962C8B-B14F-4D97-AF65-F5344CB8AC3E}">
        <p14:creationId xmlns:p14="http://schemas.microsoft.com/office/powerpoint/2010/main" val="105549436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6_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47330" y="113919"/>
            <a:ext cx="8229600" cy="783654"/>
          </a:xfrm>
          <a:prstGeom prst="rect">
            <a:avLst/>
          </a:prstGeom>
        </p:spPr>
        <p:txBody>
          <a:bodyPr lIns="0" bIns="0" anchor="b" anchorCtr="0"/>
          <a:lstStyle>
            <a:lvl1pPr>
              <a:lnSpc>
                <a:spcPts val="2600"/>
              </a:lnSpc>
              <a:defRPr sz="2600" spc="-100" baseline="0">
                <a:solidFill>
                  <a:srgbClr val="003344"/>
                </a:solidFill>
              </a:defRPr>
            </a:lvl1pPr>
          </a:lstStyle>
          <a:p>
            <a:r>
              <a:rPr lang="en-US" dirty="0" smtClean="0"/>
              <a:t>Click to edit Master text styles</a:t>
            </a:r>
            <a:endParaRPr lang="en-US" dirty="0"/>
          </a:p>
        </p:txBody>
      </p:sp>
      <p:cxnSp>
        <p:nvCxnSpPr>
          <p:cNvPr id="11" name="Straight Connector 10"/>
          <p:cNvCxnSpPr/>
          <p:nvPr userDrawn="1"/>
        </p:nvCxnSpPr>
        <p:spPr>
          <a:xfrm>
            <a:off x="444627" y="1017588"/>
            <a:ext cx="86946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60"/>
          <p:cNvSpPr>
            <a:spLocks noGrp="1" noChangeArrowheads="1"/>
          </p:cNvSpPr>
          <p:nvPr>
            <p:ph type="sldNum" sz="quarter" idx="10"/>
          </p:nvPr>
        </p:nvSpPr>
        <p:spPr>
          <a:xfrm>
            <a:off x="6651625" y="6534150"/>
            <a:ext cx="2492375" cy="352425"/>
          </a:xfrm>
          <a:ln/>
        </p:spPr>
        <p:txBody>
          <a:bodyPr/>
          <a:lstStyle>
            <a:lvl1pPr>
              <a:defRPr/>
            </a:lvl1pPr>
          </a:lstStyle>
          <a:p>
            <a:pPr>
              <a:defRPr/>
            </a:pPr>
            <a:fld id="{0185D5F9-D3A1-4A0D-AD4D-4A06DCCC02CE}" type="slidenum">
              <a:rPr lang="en-US">
                <a:solidFill>
                  <a:prstClr val="black"/>
                </a:solidFill>
              </a:rPr>
              <a:pPr>
                <a:defRPr/>
              </a:pPr>
              <a:t>‹#›</a:t>
            </a:fld>
            <a:endParaRPr lang="en-US" dirty="0">
              <a:solidFill>
                <a:prstClr val="black"/>
              </a:solidFill>
            </a:endParaRPr>
          </a:p>
        </p:txBody>
      </p:sp>
      <p:sp>
        <p:nvSpPr>
          <p:cNvPr id="7" name="TextBox 6"/>
          <p:cNvSpPr txBox="1"/>
          <p:nvPr userDrawn="1"/>
        </p:nvSpPr>
        <p:spPr>
          <a:xfrm>
            <a:off x="438913" y="6501384"/>
            <a:ext cx="2301271" cy="338554"/>
          </a:xfrm>
          <a:prstGeom prst="rect">
            <a:avLst/>
          </a:prstGeom>
          <a:noFill/>
        </p:spPr>
        <p:txBody>
          <a:bodyPr wrap="none" lIns="0">
            <a:spAutoFit/>
          </a:bodyPr>
          <a:lstStyle/>
          <a:p>
            <a:pPr>
              <a:defRPr/>
            </a:pPr>
            <a:r>
              <a:rPr lang="en-US" sz="800" dirty="0" smtClean="0">
                <a:solidFill>
                  <a:srgbClr val="EEECE1"/>
                </a:solidFill>
              </a:rPr>
              <a:t>For internal use only.</a:t>
            </a:r>
          </a:p>
          <a:p>
            <a:pPr>
              <a:defRPr/>
            </a:pPr>
            <a:r>
              <a:rPr lang="en-US" sz="800" dirty="0" smtClean="0">
                <a:solidFill>
                  <a:srgbClr val="EEECE1"/>
                </a:solidFill>
              </a:rPr>
              <a:t>Copyright </a:t>
            </a:r>
            <a:r>
              <a:rPr lang="en-US" sz="800" dirty="0">
                <a:solidFill>
                  <a:srgbClr val="EEECE1"/>
                </a:solidFill>
              </a:rPr>
              <a:t>© </a:t>
            </a:r>
            <a:r>
              <a:rPr lang="en-US" sz="800" dirty="0" smtClean="0">
                <a:solidFill>
                  <a:srgbClr val="EEECE1"/>
                </a:solidFill>
              </a:rPr>
              <a:t>2013 </a:t>
            </a:r>
            <a:r>
              <a:rPr lang="en-US" sz="800" dirty="0">
                <a:solidFill>
                  <a:srgbClr val="EEECE1"/>
                </a:solidFill>
              </a:rPr>
              <a:t>Accenture  All rights reserved.</a:t>
            </a:r>
          </a:p>
        </p:txBody>
      </p:sp>
    </p:spTree>
    <p:extLst>
      <p:ext uri="{BB962C8B-B14F-4D97-AF65-F5344CB8AC3E}">
        <p14:creationId xmlns:p14="http://schemas.microsoft.com/office/powerpoint/2010/main" val="26199447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4_Title and Text Slide">
    <p:spTree>
      <p:nvGrpSpPr>
        <p:cNvPr id="1" name=""/>
        <p:cNvGrpSpPr/>
        <p:nvPr/>
      </p:nvGrpSpPr>
      <p:grpSpPr>
        <a:xfrm>
          <a:off x="0" y="0"/>
          <a:ext cx="0" cy="0"/>
          <a:chOff x="0" y="0"/>
          <a:chExt cx="0" cy="0"/>
        </a:xfrm>
      </p:grpSpPr>
      <p:sp>
        <p:nvSpPr>
          <p:cNvPr id="6" name="Slide Number Placeholder 22"/>
          <p:cNvSpPr>
            <a:spLocks noGrp="1"/>
          </p:cNvSpPr>
          <p:nvPr>
            <p:ph type="sldNum" sz="quarter" idx="12"/>
          </p:nvPr>
        </p:nvSpPr>
        <p:spPr>
          <a:xfrm>
            <a:off x="8257032" y="6501384"/>
            <a:ext cx="536575" cy="246062"/>
          </a:xfrm>
          <a:prstGeom prst="rect">
            <a:avLst/>
          </a:prstGeom>
        </p:spPr>
        <p:txBody>
          <a:bodyPr/>
          <a:lstStyle>
            <a:lvl1pPr>
              <a:defRPr>
                <a:solidFill>
                  <a:schemeClr val="tx1"/>
                </a:solidFill>
              </a:defRPr>
            </a:lvl1pPr>
          </a:lstStyle>
          <a:p>
            <a:pPr>
              <a:defRPr/>
            </a:pPr>
            <a:fld id="{27211545-335C-4898-B08B-87E1B7A5789B}" type="slidenum">
              <a:rPr lang="en-US" smtClean="0">
                <a:solidFill>
                  <a:prstClr val="black"/>
                </a:solidFill>
              </a:rPr>
              <a:pPr>
                <a:defRPr/>
              </a:pPr>
              <a:t>‹#›</a:t>
            </a:fld>
            <a:endParaRPr lang="en-US" dirty="0">
              <a:solidFill>
                <a:prstClr val="black"/>
              </a:solidFill>
            </a:endParaRPr>
          </a:p>
        </p:txBody>
      </p:sp>
      <p:sp>
        <p:nvSpPr>
          <p:cNvPr id="9" name="Title 8"/>
          <p:cNvSpPr>
            <a:spLocks noGrp="1"/>
          </p:cNvSpPr>
          <p:nvPr>
            <p:ph type="title"/>
          </p:nvPr>
        </p:nvSpPr>
        <p:spPr/>
        <p:txBody>
          <a:bodyPr/>
          <a:lstStyle>
            <a:lvl1pPr>
              <a:defRPr>
                <a:solidFill>
                  <a:schemeClr val="accent1"/>
                </a:solidFill>
              </a:defRPr>
            </a:lvl1pPr>
          </a:lstStyle>
          <a:p>
            <a:r>
              <a:rPr lang="en-US" smtClean="0"/>
              <a:t>Click to edit Master title style</a:t>
            </a:r>
            <a:endParaRPr lang="en-US" dirty="0"/>
          </a:p>
        </p:txBody>
      </p:sp>
      <p:cxnSp>
        <p:nvCxnSpPr>
          <p:cNvPr id="7" name="Straight Connector 6"/>
          <p:cNvCxnSpPr/>
          <p:nvPr userDrawn="1"/>
        </p:nvCxnSpPr>
        <p:spPr>
          <a:xfrm>
            <a:off x="444627" y="1017588"/>
            <a:ext cx="86946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Tree>
    <p:extLst>
      <p:ext uri="{BB962C8B-B14F-4D97-AF65-F5344CB8AC3E}">
        <p14:creationId xmlns:p14="http://schemas.microsoft.com/office/powerpoint/2010/main" val="248091706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5_Title and Text Slide">
    <p:spTree>
      <p:nvGrpSpPr>
        <p:cNvPr id="1" name=""/>
        <p:cNvGrpSpPr/>
        <p:nvPr/>
      </p:nvGrpSpPr>
      <p:grpSpPr>
        <a:xfrm>
          <a:off x="0" y="0"/>
          <a:ext cx="0" cy="0"/>
          <a:chOff x="0" y="0"/>
          <a:chExt cx="0" cy="0"/>
        </a:xfrm>
      </p:grpSpPr>
      <p:sp>
        <p:nvSpPr>
          <p:cNvPr id="6" name="Slide Number Placeholder 22"/>
          <p:cNvSpPr>
            <a:spLocks noGrp="1"/>
          </p:cNvSpPr>
          <p:nvPr>
            <p:ph type="sldNum" sz="quarter" idx="12"/>
          </p:nvPr>
        </p:nvSpPr>
        <p:spPr>
          <a:xfrm>
            <a:off x="8257032" y="6501384"/>
            <a:ext cx="536575" cy="246062"/>
          </a:xfrm>
          <a:prstGeom prst="rect">
            <a:avLst/>
          </a:prstGeom>
        </p:spPr>
        <p:txBody>
          <a:bodyPr/>
          <a:lstStyle>
            <a:lvl1pPr>
              <a:defRPr>
                <a:solidFill>
                  <a:schemeClr val="tx1"/>
                </a:solidFill>
              </a:defRPr>
            </a:lvl1pPr>
          </a:lstStyle>
          <a:p>
            <a:pPr>
              <a:defRPr/>
            </a:pPr>
            <a:fld id="{27211545-335C-4898-B08B-87E1B7A5789B}" type="slidenum">
              <a:rPr lang="en-US" smtClean="0">
                <a:solidFill>
                  <a:prstClr val="black"/>
                </a:solidFill>
              </a:rPr>
              <a:pPr>
                <a:defRPr/>
              </a:pPr>
              <a:t>‹#›</a:t>
            </a:fld>
            <a:endParaRPr lang="en-US" dirty="0">
              <a:solidFill>
                <a:prstClr val="black"/>
              </a:solidFill>
            </a:endParaRPr>
          </a:p>
        </p:txBody>
      </p:sp>
      <p:sp>
        <p:nvSpPr>
          <p:cNvPr id="9" name="Title 8"/>
          <p:cNvSpPr>
            <a:spLocks noGrp="1"/>
          </p:cNvSpPr>
          <p:nvPr>
            <p:ph type="title"/>
          </p:nvPr>
        </p:nvSpPr>
        <p:spPr/>
        <p:txBody>
          <a:bodyPr/>
          <a:lstStyle>
            <a:lvl1pPr>
              <a:defRPr>
                <a:solidFill>
                  <a:schemeClr val="accent1"/>
                </a:solidFill>
              </a:defRPr>
            </a:lvl1pPr>
          </a:lstStyle>
          <a:p>
            <a:r>
              <a:rPr lang="en-US" smtClean="0"/>
              <a:t>Click to edit Master title style</a:t>
            </a:r>
            <a:endParaRPr lang="en-US" dirty="0"/>
          </a:p>
        </p:txBody>
      </p:sp>
      <p:cxnSp>
        <p:nvCxnSpPr>
          <p:cNvPr id="7" name="Straight Connector 6"/>
          <p:cNvCxnSpPr/>
          <p:nvPr userDrawn="1"/>
        </p:nvCxnSpPr>
        <p:spPr>
          <a:xfrm>
            <a:off x="444627" y="1017588"/>
            <a:ext cx="86946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Tree>
    <p:extLst>
      <p:ext uri="{BB962C8B-B14F-4D97-AF65-F5344CB8AC3E}">
        <p14:creationId xmlns:p14="http://schemas.microsoft.com/office/powerpoint/2010/main" val="11484266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9_Title and Text Slide">
    <p:spTree>
      <p:nvGrpSpPr>
        <p:cNvPr id="1" name=""/>
        <p:cNvGrpSpPr/>
        <p:nvPr/>
      </p:nvGrpSpPr>
      <p:grpSpPr>
        <a:xfrm>
          <a:off x="0" y="0"/>
          <a:ext cx="0" cy="0"/>
          <a:chOff x="0" y="0"/>
          <a:chExt cx="0" cy="0"/>
        </a:xfrm>
      </p:grpSpPr>
      <p:sp>
        <p:nvSpPr>
          <p:cNvPr id="6" name="Slide Number Placeholder 22"/>
          <p:cNvSpPr>
            <a:spLocks noGrp="1"/>
          </p:cNvSpPr>
          <p:nvPr>
            <p:ph type="sldNum" sz="quarter" idx="12"/>
          </p:nvPr>
        </p:nvSpPr>
        <p:spPr>
          <a:xfrm>
            <a:off x="8257032" y="6501384"/>
            <a:ext cx="536575" cy="246062"/>
          </a:xfrm>
          <a:prstGeom prst="rect">
            <a:avLst/>
          </a:prstGeom>
        </p:spPr>
        <p:txBody>
          <a:bodyPr/>
          <a:lstStyle>
            <a:lvl1pPr>
              <a:defRPr>
                <a:solidFill>
                  <a:schemeClr val="tx1"/>
                </a:solidFill>
              </a:defRPr>
            </a:lvl1pPr>
          </a:lstStyle>
          <a:p>
            <a:pPr>
              <a:defRPr/>
            </a:pPr>
            <a:fld id="{27211545-335C-4898-B08B-87E1B7A5789B}" type="slidenum">
              <a:rPr lang="en-US" smtClean="0">
                <a:solidFill>
                  <a:prstClr val="black"/>
                </a:solidFill>
              </a:rPr>
              <a:pPr>
                <a:defRPr/>
              </a:pPr>
              <a:t>‹#›</a:t>
            </a:fld>
            <a:endParaRPr lang="en-US" dirty="0">
              <a:solidFill>
                <a:prstClr val="black"/>
              </a:solidFill>
            </a:endParaRPr>
          </a:p>
        </p:txBody>
      </p:sp>
      <p:sp>
        <p:nvSpPr>
          <p:cNvPr id="8" name="Text Placeholder 18"/>
          <p:cNvSpPr>
            <a:spLocks noGrp="1"/>
          </p:cNvSpPr>
          <p:nvPr>
            <p:ph type="body" sz="quarter" idx="11"/>
          </p:nvPr>
        </p:nvSpPr>
        <p:spPr>
          <a:xfrm>
            <a:off x="444627" y="1016871"/>
            <a:ext cx="8229600" cy="356616"/>
          </a:xfrm>
          <a:prstGeom prst="rect">
            <a:avLst/>
          </a:prstGeom>
        </p:spPr>
        <p:txBody>
          <a:bodyPr lIns="0">
            <a:noAutofit/>
          </a:bodyPr>
          <a:lstStyle>
            <a:lvl1pPr marL="0">
              <a:lnSpc>
                <a:spcPct val="100000"/>
              </a:lnSpc>
              <a:spcBef>
                <a:spcPts val="0"/>
              </a:spcBef>
              <a:spcAft>
                <a:spcPts val="0"/>
              </a:spcAft>
              <a:buNone/>
              <a:defRPr sz="2000" spc="-100" baseline="0">
                <a:solidFill>
                  <a:schemeClr val="accent2"/>
                </a:solidFill>
              </a:defRPr>
            </a:lvl1pPr>
          </a:lstStyle>
          <a:p>
            <a:pPr lvl="0"/>
            <a:r>
              <a:rPr lang="en-US" dirty="0" smtClean="0"/>
              <a:t>Click to edit Master text styles</a:t>
            </a:r>
          </a:p>
        </p:txBody>
      </p:sp>
      <p:sp>
        <p:nvSpPr>
          <p:cNvPr id="9" name="Title 8"/>
          <p:cNvSpPr>
            <a:spLocks noGrp="1"/>
          </p:cNvSpPr>
          <p:nvPr>
            <p:ph type="title"/>
          </p:nvPr>
        </p:nvSpPr>
        <p:spPr/>
        <p:txBody>
          <a:bodyPr/>
          <a:lstStyle>
            <a:lvl1pPr>
              <a:defRPr>
                <a:solidFill>
                  <a:schemeClr val="accent1"/>
                </a:solidFill>
              </a:defRPr>
            </a:lvl1pPr>
          </a:lstStyle>
          <a:p>
            <a:r>
              <a:rPr lang="en-US" smtClean="0"/>
              <a:t>Click to edit Master title style</a:t>
            </a:r>
            <a:endParaRPr lang="en-US"/>
          </a:p>
        </p:txBody>
      </p:sp>
      <p:sp>
        <p:nvSpPr>
          <p:cNvPr id="10" name="Text Placeholder 9"/>
          <p:cNvSpPr>
            <a:spLocks noGrp="1"/>
          </p:cNvSpPr>
          <p:nvPr>
            <p:ph type="body" sz="quarter" idx="13"/>
          </p:nvPr>
        </p:nvSpPr>
        <p:spPr>
          <a:xfrm>
            <a:off x="404582" y="1710324"/>
            <a:ext cx="6926262" cy="3322638"/>
          </a:xfrm>
        </p:spPr>
        <p:txBody>
          <a:bodyPr>
            <a:normAutofit/>
          </a:bodyPr>
          <a:lstStyle>
            <a:lvl1pPr>
              <a:spcAft>
                <a:spcPts val="600"/>
              </a:spcAft>
              <a:defRPr sz="2400">
                <a:solidFill>
                  <a:schemeClr val="tx1">
                    <a:lumMod val="50000"/>
                  </a:schemeClr>
                </a:solidFill>
              </a:defRPr>
            </a:lvl1pPr>
            <a:lvl2pPr>
              <a:spcAft>
                <a:spcPts val="600"/>
              </a:spcAft>
              <a:defRPr sz="2400">
                <a:solidFill>
                  <a:schemeClr val="tx1">
                    <a:lumMod val="50000"/>
                  </a:schemeClr>
                </a:solidFill>
              </a:defRPr>
            </a:lvl2pPr>
            <a:lvl3pPr>
              <a:spcAft>
                <a:spcPts val="600"/>
              </a:spcAft>
              <a:defRPr sz="2400">
                <a:solidFill>
                  <a:schemeClr val="tx1">
                    <a:lumMod val="50000"/>
                  </a:schemeClr>
                </a:solidFill>
              </a:defRPr>
            </a:lvl3pPr>
            <a:lvl4pPr>
              <a:spcAft>
                <a:spcPts val="600"/>
              </a:spcAft>
              <a:defRPr sz="2400">
                <a:solidFill>
                  <a:schemeClr val="tx1">
                    <a:lumMod val="50000"/>
                  </a:schemeClr>
                </a:solidFill>
              </a:defRPr>
            </a:lvl4pPr>
            <a:lvl5pPr>
              <a:spcAft>
                <a:spcPts val="600"/>
              </a:spcAft>
              <a:defRPr sz="2400">
                <a:solidFill>
                  <a:schemeClr val="tx1">
                    <a:lumMod val="5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1" name="Straight Connector 10"/>
          <p:cNvCxnSpPr/>
          <p:nvPr userDrawn="1"/>
        </p:nvCxnSpPr>
        <p:spPr>
          <a:xfrm>
            <a:off x="444627" y="1017588"/>
            <a:ext cx="86946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Tree>
    <p:extLst>
      <p:ext uri="{BB962C8B-B14F-4D97-AF65-F5344CB8AC3E}">
        <p14:creationId xmlns:p14="http://schemas.microsoft.com/office/powerpoint/2010/main" val="32828716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liennummernplatzhalter 5"/>
          <p:cNvSpPr>
            <a:spLocks noGrp="1"/>
          </p:cNvSpPr>
          <p:nvPr>
            <p:ph type="sldNum" sz="quarter" idx="11"/>
          </p:nvPr>
        </p:nvSpPr>
        <p:spPr/>
        <p:txBody>
          <a:bodyPr/>
          <a:lstStyle>
            <a:lvl1pPr>
              <a:defRPr/>
            </a:lvl1pPr>
          </a:lstStyle>
          <a:p>
            <a:pPr>
              <a:defRPr/>
            </a:pPr>
            <a:fld id="{5E603A49-80E3-4B68-843B-BEA45142439F}" type="slidenum">
              <a:rPr lang="de-DE">
                <a:solidFill>
                  <a:prstClr val="black"/>
                </a:solidFill>
              </a:rPr>
              <a:pPr>
                <a:defRPr/>
              </a:pPr>
              <a:t>‹#›</a:t>
            </a:fld>
            <a:endParaRPr lang="de-DE" dirty="0">
              <a:solidFill>
                <a:prstClr val="black"/>
              </a:solidFill>
            </a:endParaRPr>
          </a:p>
        </p:txBody>
      </p:sp>
    </p:spTree>
    <p:extLst>
      <p:ext uri="{BB962C8B-B14F-4D97-AF65-F5344CB8AC3E}">
        <p14:creationId xmlns:p14="http://schemas.microsoft.com/office/powerpoint/2010/main" val="33763292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4300" y="0"/>
            <a:ext cx="7597507" cy="1121098"/>
          </a:xfrm>
        </p:spPr>
        <p:txBody>
          <a:bodyPr>
            <a:normAutofit/>
          </a:bodyPr>
          <a:lstStyle>
            <a:lvl1pPr>
              <a:lnSpc>
                <a:spcPts val="2500"/>
              </a:lnSpc>
              <a:defRPr sz="1800"/>
            </a:lvl1pPr>
          </a:lstStyle>
          <a:p>
            <a:r>
              <a:rPr lang="en-US" dirty="0" smtClean="0"/>
              <a:t>Click to edit Master title style</a:t>
            </a:r>
            <a:endParaRPr lang="en-US" dirty="0"/>
          </a:p>
        </p:txBody>
      </p:sp>
      <p:sp>
        <p:nvSpPr>
          <p:cNvPr id="4" name="Footer Placeholder 3"/>
          <p:cNvSpPr>
            <a:spLocks noGrp="1"/>
          </p:cNvSpPr>
          <p:nvPr>
            <p:ph type="ftr" sz="quarter" idx="10"/>
          </p:nvPr>
        </p:nvSpPr>
        <p:spPr>
          <a:xfrm>
            <a:off x="34925" y="6646863"/>
            <a:ext cx="2286000" cy="166687"/>
          </a:xfrm>
          <a:prstGeom prst="rect">
            <a:avLst/>
          </a:prstGeom>
        </p:spPr>
        <p:txBody>
          <a:bodyPr/>
          <a:lstStyle/>
          <a:p>
            <a:r>
              <a:rPr lang="en-US" sz="1200" dirty="0" smtClean="0">
                <a:solidFill>
                  <a:prstClr val="black"/>
                </a:solidFill>
              </a:rPr>
              <a:t>Copyright (c) 2012 Accenture. All rights reserved.</a:t>
            </a:r>
            <a:endParaRPr lang="en-US" sz="1200" dirty="0">
              <a:solidFill>
                <a:prstClr val="black"/>
              </a:solidFill>
            </a:endParaRPr>
          </a:p>
        </p:txBody>
      </p:sp>
      <p:sp>
        <p:nvSpPr>
          <p:cNvPr id="5" name="Slide Number Placeholder 4"/>
          <p:cNvSpPr>
            <a:spLocks noGrp="1"/>
          </p:cNvSpPr>
          <p:nvPr>
            <p:ph type="sldNum" sz="quarter" idx="11"/>
          </p:nvPr>
        </p:nvSpPr>
        <p:spPr/>
        <p:txBody>
          <a:bodyPr/>
          <a:lstStyle/>
          <a:p>
            <a:r>
              <a:rPr lang="en-US" smtClean="0">
                <a:solidFill>
                  <a:prstClr val="black">
                    <a:tint val="75000"/>
                  </a:prstClr>
                </a:solidFill>
              </a:rPr>
              <a:t>- </a:t>
            </a:r>
            <a:fld id="{BBA3D85A-8536-437B-8DC9-15399DEC1BA0}" type="slidenum">
              <a:rPr lang="en-US" smtClean="0">
                <a:solidFill>
                  <a:prstClr val="black">
                    <a:tint val="75000"/>
                  </a:prstClr>
                </a:solidFill>
              </a:rPr>
              <a:pPr/>
              <a:t>‹#›</a:t>
            </a:fld>
            <a:r>
              <a:rPr lang="en-US" smtClean="0">
                <a:solidFill>
                  <a:prstClr val="black">
                    <a:tint val="75000"/>
                  </a:prstClr>
                </a:solidFill>
              </a:rPr>
              <a:t> -</a:t>
            </a:r>
            <a:endParaRPr lang="en-US">
              <a:solidFill>
                <a:prstClr val="black">
                  <a:tint val="75000"/>
                </a:prstClr>
              </a:solidFill>
            </a:endParaRPr>
          </a:p>
        </p:txBody>
      </p:sp>
    </p:spTree>
    <p:extLst>
      <p:ext uri="{BB962C8B-B14F-4D97-AF65-F5344CB8AC3E}">
        <p14:creationId xmlns:p14="http://schemas.microsoft.com/office/powerpoint/2010/main" val="148931065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35" name="Picture 34" descr="iStock_000014842676LR.jpg"/>
          <p:cNvPicPr>
            <a:picLocks noChangeAspect="1"/>
          </p:cNvPicPr>
          <p:nvPr userDrawn="1"/>
        </p:nvPicPr>
        <p:blipFill>
          <a:blip r:embed="rId2" cstate="print"/>
          <a:stretch>
            <a:fillRect/>
          </a:stretch>
        </p:blipFill>
        <p:spPr>
          <a:xfrm>
            <a:off x="0" y="0"/>
            <a:ext cx="9144000" cy="6858000"/>
          </a:xfrm>
          <a:prstGeom prst="rect">
            <a:avLst/>
          </a:prstGeom>
        </p:spPr>
      </p:pic>
      <p:sp>
        <p:nvSpPr>
          <p:cNvPr id="24" name="Rectangle 3"/>
          <p:cNvSpPr>
            <a:spLocks noGrp="1" noChangeArrowheads="1"/>
          </p:cNvSpPr>
          <p:nvPr>
            <p:ph type="subTitle" idx="1"/>
          </p:nvPr>
        </p:nvSpPr>
        <p:spPr>
          <a:xfrm>
            <a:off x="365358" y="2176230"/>
            <a:ext cx="4793940" cy="669925"/>
          </a:xfrm>
          <a:prstGeom prst="rect">
            <a:avLst/>
          </a:prstGeom>
          <a:ln w="12700"/>
        </p:spPr>
        <p:txBody>
          <a:bodyPr lIns="90488" tIns="44450" rIns="90488" bIns="44450"/>
          <a:lstStyle>
            <a:lvl1pPr marL="0" indent="0">
              <a:buFontTx/>
              <a:buNone/>
              <a:defRPr sz="2000">
                <a:solidFill>
                  <a:srgbClr val="FFFFFF"/>
                </a:solidFill>
              </a:defRPr>
            </a:lvl1pPr>
          </a:lstStyle>
          <a:p>
            <a:r>
              <a:rPr lang="en-US" smtClean="0"/>
              <a:t>Click to edit Master subtitle style</a:t>
            </a:r>
            <a:endParaRPr lang="en-US" dirty="0"/>
          </a:p>
        </p:txBody>
      </p:sp>
      <p:sp>
        <p:nvSpPr>
          <p:cNvPr id="32" name="Rectangle 4"/>
          <p:cNvSpPr>
            <a:spLocks noGrp="1" noChangeArrowheads="1"/>
          </p:cNvSpPr>
          <p:nvPr>
            <p:ph type="ctrTitle"/>
          </p:nvPr>
        </p:nvSpPr>
        <p:spPr>
          <a:xfrm>
            <a:off x="365358" y="1008525"/>
            <a:ext cx="4459191" cy="1023937"/>
          </a:xfrm>
        </p:spPr>
        <p:txBody>
          <a:bodyPr lIns="90488" tIns="44450" rIns="90488" bIns="44450" anchor="t"/>
          <a:lstStyle>
            <a:lvl1pPr>
              <a:lnSpc>
                <a:spcPct val="100000"/>
              </a:lnSpc>
              <a:defRPr sz="3600">
                <a:solidFill>
                  <a:schemeClr val="bg1"/>
                </a:solidFill>
              </a:defRPr>
            </a:lvl1pPr>
          </a:lstStyle>
          <a:p>
            <a:r>
              <a:rPr lang="en-US" smtClean="0"/>
              <a:t>Click to edit Master title style</a:t>
            </a:r>
            <a:endParaRPr lang="en-US" dirty="0"/>
          </a:p>
        </p:txBody>
      </p:sp>
      <p:sp>
        <p:nvSpPr>
          <p:cNvPr id="26" name="AutoShape 16"/>
          <p:cNvSpPr>
            <a:spLocks noChangeAspect="1" noChangeArrowheads="1" noTextEdit="1"/>
          </p:cNvSpPr>
          <p:nvPr userDrawn="1"/>
        </p:nvSpPr>
        <p:spPr bwMode="auto">
          <a:xfrm>
            <a:off x="5218113" y="955102"/>
            <a:ext cx="3944937" cy="30051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cxnSp>
        <p:nvCxnSpPr>
          <p:cNvPr id="31" name="Straight Connector 9"/>
          <p:cNvCxnSpPr>
            <a:cxnSpLocks noChangeShapeType="1"/>
          </p:cNvCxnSpPr>
          <p:nvPr userDrawn="1"/>
        </p:nvCxnSpPr>
        <p:spPr bwMode="auto">
          <a:xfrm>
            <a:off x="452437" y="6570028"/>
            <a:ext cx="8691563" cy="0"/>
          </a:xfrm>
          <a:prstGeom prst="line">
            <a:avLst/>
          </a:prstGeom>
          <a:noFill/>
          <a:ln w="12700">
            <a:solidFill>
              <a:schemeClr val="bg1"/>
            </a:solidFill>
            <a:round/>
            <a:headEnd/>
            <a:tailEnd/>
          </a:ln>
        </p:spPr>
      </p:cxnSp>
      <p:grpSp>
        <p:nvGrpSpPr>
          <p:cNvPr id="37" name="Group 36"/>
          <p:cNvGrpSpPr/>
          <p:nvPr userDrawn="1"/>
        </p:nvGrpSpPr>
        <p:grpSpPr>
          <a:xfrm>
            <a:off x="5679688" y="1655542"/>
            <a:ext cx="3096399" cy="2079625"/>
            <a:chOff x="5679688" y="1655542"/>
            <a:chExt cx="3096399" cy="2079625"/>
          </a:xfrm>
        </p:grpSpPr>
        <p:sp>
          <p:nvSpPr>
            <p:cNvPr id="33" name="Freeform 18"/>
            <p:cNvSpPr>
              <a:spLocks/>
            </p:cNvSpPr>
            <p:nvPr userDrawn="1"/>
          </p:nvSpPr>
          <p:spPr bwMode="auto">
            <a:xfrm>
              <a:off x="6142038" y="1655542"/>
              <a:ext cx="2036762" cy="2079625"/>
            </a:xfrm>
            <a:custGeom>
              <a:avLst/>
              <a:gdLst/>
              <a:ahLst/>
              <a:cxnLst>
                <a:cxn ang="0">
                  <a:pos x="0" y="0"/>
                </a:cxn>
                <a:cxn ang="0">
                  <a:pos x="0" y="368"/>
                </a:cxn>
                <a:cxn ang="0">
                  <a:pos x="1193" y="831"/>
                </a:cxn>
                <a:cxn ang="0">
                  <a:pos x="0" y="1291"/>
                </a:cxn>
                <a:cxn ang="0">
                  <a:pos x="0" y="1658"/>
                </a:cxn>
                <a:cxn ang="0">
                  <a:pos x="1625" y="998"/>
                </a:cxn>
                <a:cxn ang="0">
                  <a:pos x="1625" y="661"/>
                </a:cxn>
                <a:cxn ang="0">
                  <a:pos x="0" y="0"/>
                </a:cxn>
              </a:cxnLst>
              <a:rect l="0" t="0" r="r" b="b"/>
              <a:pathLst>
                <a:path w="1625" h="1658">
                  <a:moveTo>
                    <a:pt x="0" y="0"/>
                  </a:moveTo>
                  <a:cubicBezTo>
                    <a:pt x="0" y="368"/>
                    <a:pt x="0" y="368"/>
                    <a:pt x="0" y="368"/>
                  </a:cubicBezTo>
                  <a:cubicBezTo>
                    <a:pt x="0" y="368"/>
                    <a:pt x="1044" y="773"/>
                    <a:pt x="1193" y="831"/>
                  </a:cubicBezTo>
                  <a:cubicBezTo>
                    <a:pt x="1044" y="888"/>
                    <a:pt x="0" y="1291"/>
                    <a:pt x="0" y="1291"/>
                  </a:cubicBezTo>
                  <a:cubicBezTo>
                    <a:pt x="0" y="1658"/>
                    <a:pt x="0" y="1658"/>
                    <a:pt x="0" y="1658"/>
                  </a:cubicBezTo>
                  <a:cubicBezTo>
                    <a:pt x="1625" y="998"/>
                    <a:pt x="1625" y="998"/>
                    <a:pt x="1625" y="998"/>
                  </a:cubicBezTo>
                  <a:cubicBezTo>
                    <a:pt x="1625" y="661"/>
                    <a:pt x="1625" y="661"/>
                    <a:pt x="1625" y="661"/>
                  </a:cubicBezTo>
                  <a:cubicBezTo>
                    <a:pt x="0" y="0"/>
                    <a:pt x="0" y="0"/>
                    <a:pt x="0" y="0"/>
                  </a:cubicBezTo>
                </a:path>
              </a:pathLst>
            </a:custGeom>
            <a:solidFill>
              <a:srgbClr val="AA1133"/>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srgbClr val="AA1133"/>
                </a:solidFill>
              </a:endParaRPr>
            </a:p>
          </p:txBody>
        </p:sp>
        <p:sp>
          <p:nvSpPr>
            <p:cNvPr id="38" name="Freeform 6"/>
            <p:cNvSpPr>
              <a:spLocks noEditPoints="1"/>
            </p:cNvSpPr>
            <p:nvPr userDrawn="1"/>
          </p:nvSpPr>
          <p:spPr bwMode="auto">
            <a:xfrm>
              <a:off x="5679688" y="2494192"/>
              <a:ext cx="3096399" cy="255416"/>
            </a:xfrm>
            <a:custGeom>
              <a:avLst/>
              <a:gdLst/>
              <a:ahLst/>
              <a:cxnLst>
                <a:cxn ang="0">
                  <a:pos x="103" y="3"/>
                </a:cxn>
                <a:cxn ang="0">
                  <a:pos x="0" y="153"/>
                </a:cxn>
                <a:cxn ang="0">
                  <a:pos x="129" y="3"/>
                </a:cxn>
                <a:cxn ang="0">
                  <a:pos x="256" y="157"/>
                </a:cxn>
                <a:cxn ang="0">
                  <a:pos x="236" y="135"/>
                </a:cxn>
                <a:cxn ang="0">
                  <a:pos x="236" y="64"/>
                </a:cxn>
                <a:cxn ang="0">
                  <a:pos x="214" y="62"/>
                </a:cxn>
                <a:cxn ang="0">
                  <a:pos x="302" y="71"/>
                </a:cxn>
                <a:cxn ang="0">
                  <a:pos x="329" y="66"/>
                </a:cxn>
                <a:cxn ang="0">
                  <a:pos x="468" y="49"/>
                </a:cxn>
                <a:cxn ang="0">
                  <a:pos x="468" y="139"/>
                </a:cxn>
                <a:cxn ang="0">
                  <a:pos x="511" y="101"/>
                </a:cxn>
                <a:cxn ang="0">
                  <a:pos x="546" y="96"/>
                </a:cxn>
                <a:cxn ang="0">
                  <a:pos x="624" y="136"/>
                </a:cxn>
                <a:cxn ang="0">
                  <a:pos x="645" y="49"/>
                </a:cxn>
                <a:cxn ang="0">
                  <a:pos x="665" y="109"/>
                </a:cxn>
                <a:cxn ang="0">
                  <a:pos x="710" y="49"/>
                </a:cxn>
                <a:cxn ang="0">
                  <a:pos x="768" y="15"/>
                </a:cxn>
                <a:cxn ang="0">
                  <a:pos x="748" y="153"/>
                </a:cxn>
                <a:cxn ang="0">
                  <a:pos x="832" y="155"/>
                </a:cxn>
                <a:cxn ang="0">
                  <a:pos x="832" y="140"/>
                </a:cxn>
                <a:cxn ang="0">
                  <a:pos x="950" y="68"/>
                </a:cxn>
                <a:cxn ang="0">
                  <a:pos x="986" y="49"/>
                </a:cxn>
                <a:cxn ang="0">
                  <a:pos x="1071" y="47"/>
                </a:cxn>
                <a:cxn ang="0">
                  <a:pos x="1042" y="103"/>
                </a:cxn>
                <a:cxn ang="0">
                  <a:pos x="986" y="153"/>
                </a:cxn>
                <a:cxn ang="0">
                  <a:pos x="1119" y="127"/>
                </a:cxn>
                <a:cxn ang="0">
                  <a:pos x="1161" y="47"/>
                </a:cxn>
                <a:cxn ang="0">
                  <a:pos x="1141" y="127"/>
                </a:cxn>
                <a:cxn ang="0">
                  <a:pos x="1241" y="49"/>
                </a:cxn>
                <a:cxn ang="0">
                  <a:pos x="1282" y="153"/>
                </a:cxn>
                <a:cxn ang="0">
                  <a:pos x="1221" y="49"/>
                </a:cxn>
                <a:cxn ang="0">
                  <a:pos x="1381" y="83"/>
                </a:cxn>
                <a:cxn ang="0">
                  <a:pos x="1494" y="152"/>
                </a:cxn>
                <a:cxn ang="0">
                  <a:pos x="1437" y="93"/>
                </a:cxn>
                <a:cxn ang="0">
                  <a:pos x="1438" y="80"/>
                </a:cxn>
                <a:cxn ang="0">
                  <a:pos x="1518" y="123"/>
                </a:cxn>
                <a:cxn ang="0">
                  <a:pos x="1633" y="3"/>
                </a:cxn>
                <a:cxn ang="0">
                  <a:pos x="1655" y="136"/>
                </a:cxn>
                <a:cxn ang="0">
                  <a:pos x="1831" y="93"/>
                </a:cxn>
                <a:cxn ang="0">
                  <a:pos x="1792" y="62"/>
                </a:cxn>
                <a:cxn ang="0">
                  <a:pos x="1851" y="153"/>
                </a:cxn>
                <a:cxn ang="0">
                  <a:pos x="1897" y="3"/>
                </a:cxn>
                <a:cxn ang="0">
                  <a:pos x="1934" y="49"/>
                </a:cxn>
                <a:cxn ang="0">
                  <a:pos x="1993" y="153"/>
                </a:cxn>
                <a:cxn ang="0">
                  <a:pos x="2076" y="47"/>
                </a:cxn>
                <a:cxn ang="0">
                  <a:pos x="2111" y="152"/>
                </a:cxn>
                <a:cxn ang="0">
                  <a:pos x="2152" y="49"/>
                </a:cxn>
                <a:cxn ang="0">
                  <a:pos x="2152" y="153"/>
                </a:cxn>
                <a:cxn ang="0">
                  <a:pos x="2237" y="47"/>
                </a:cxn>
                <a:cxn ang="0">
                  <a:pos x="2272" y="152"/>
                </a:cxn>
                <a:cxn ang="0">
                  <a:pos x="2352" y="137"/>
                </a:cxn>
                <a:cxn ang="0">
                  <a:pos x="2353" y="3"/>
                </a:cxn>
                <a:cxn ang="0">
                  <a:pos x="2353" y="101"/>
                </a:cxn>
                <a:cxn ang="0">
                  <a:pos x="2426" y="153"/>
                </a:cxn>
              </a:cxnLst>
              <a:rect l="0" t="0" r="r" b="b"/>
              <a:pathLst>
                <a:path w="2426" h="200">
                  <a:moveTo>
                    <a:pt x="0" y="3"/>
                  </a:moveTo>
                  <a:cubicBezTo>
                    <a:pt x="22" y="3"/>
                    <a:pt x="22" y="3"/>
                    <a:pt x="22" y="3"/>
                  </a:cubicBezTo>
                  <a:cubicBezTo>
                    <a:pt x="22" y="66"/>
                    <a:pt x="22" y="66"/>
                    <a:pt x="22" y="66"/>
                  </a:cubicBezTo>
                  <a:cubicBezTo>
                    <a:pt x="81" y="66"/>
                    <a:pt x="81" y="66"/>
                    <a:pt x="81" y="66"/>
                  </a:cubicBezTo>
                  <a:cubicBezTo>
                    <a:pt x="81" y="3"/>
                    <a:pt x="81" y="3"/>
                    <a:pt x="81" y="3"/>
                  </a:cubicBezTo>
                  <a:cubicBezTo>
                    <a:pt x="103" y="3"/>
                    <a:pt x="103" y="3"/>
                    <a:pt x="103" y="3"/>
                  </a:cubicBezTo>
                  <a:cubicBezTo>
                    <a:pt x="103" y="153"/>
                    <a:pt x="103" y="153"/>
                    <a:pt x="103" y="153"/>
                  </a:cubicBezTo>
                  <a:cubicBezTo>
                    <a:pt x="81" y="153"/>
                    <a:pt x="81" y="153"/>
                    <a:pt x="81" y="153"/>
                  </a:cubicBezTo>
                  <a:cubicBezTo>
                    <a:pt x="81" y="83"/>
                    <a:pt x="81" y="83"/>
                    <a:pt x="81" y="83"/>
                  </a:cubicBezTo>
                  <a:cubicBezTo>
                    <a:pt x="22" y="83"/>
                    <a:pt x="22" y="83"/>
                    <a:pt x="22" y="83"/>
                  </a:cubicBezTo>
                  <a:cubicBezTo>
                    <a:pt x="22" y="153"/>
                    <a:pt x="22" y="153"/>
                    <a:pt x="22" y="153"/>
                  </a:cubicBezTo>
                  <a:cubicBezTo>
                    <a:pt x="0" y="153"/>
                    <a:pt x="0" y="153"/>
                    <a:pt x="0" y="153"/>
                  </a:cubicBezTo>
                  <a:lnTo>
                    <a:pt x="0" y="3"/>
                  </a:lnTo>
                  <a:close/>
                  <a:moveTo>
                    <a:pt x="129" y="3"/>
                  </a:moveTo>
                  <a:cubicBezTo>
                    <a:pt x="153" y="3"/>
                    <a:pt x="153" y="3"/>
                    <a:pt x="153" y="3"/>
                  </a:cubicBezTo>
                  <a:cubicBezTo>
                    <a:pt x="153" y="25"/>
                    <a:pt x="153" y="25"/>
                    <a:pt x="153" y="25"/>
                  </a:cubicBezTo>
                  <a:cubicBezTo>
                    <a:pt x="129" y="25"/>
                    <a:pt x="129" y="25"/>
                    <a:pt x="129" y="25"/>
                  </a:cubicBezTo>
                  <a:lnTo>
                    <a:pt x="129" y="3"/>
                  </a:lnTo>
                  <a:close/>
                  <a:moveTo>
                    <a:pt x="131" y="49"/>
                  </a:moveTo>
                  <a:cubicBezTo>
                    <a:pt x="151" y="49"/>
                    <a:pt x="151" y="49"/>
                    <a:pt x="151" y="49"/>
                  </a:cubicBezTo>
                  <a:cubicBezTo>
                    <a:pt x="151" y="153"/>
                    <a:pt x="151" y="153"/>
                    <a:pt x="151" y="153"/>
                  </a:cubicBezTo>
                  <a:cubicBezTo>
                    <a:pt x="131" y="153"/>
                    <a:pt x="131" y="153"/>
                    <a:pt x="131" y="153"/>
                  </a:cubicBezTo>
                  <a:lnTo>
                    <a:pt x="131" y="49"/>
                  </a:lnTo>
                  <a:close/>
                  <a:moveTo>
                    <a:pt x="256" y="157"/>
                  </a:moveTo>
                  <a:cubicBezTo>
                    <a:pt x="256" y="187"/>
                    <a:pt x="239" y="200"/>
                    <a:pt x="208" y="200"/>
                  </a:cubicBezTo>
                  <a:cubicBezTo>
                    <a:pt x="192" y="200"/>
                    <a:pt x="181" y="197"/>
                    <a:pt x="176" y="196"/>
                  </a:cubicBezTo>
                  <a:cubicBezTo>
                    <a:pt x="176" y="176"/>
                    <a:pt x="176" y="176"/>
                    <a:pt x="176" y="176"/>
                  </a:cubicBezTo>
                  <a:cubicBezTo>
                    <a:pt x="183" y="179"/>
                    <a:pt x="193" y="184"/>
                    <a:pt x="206" y="184"/>
                  </a:cubicBezTo>
                  <a:cubicBezTo>
                    <a:pt x="236" y="184"/>
                    <a:pt x="236" y="163"/>
                    <a:pt x="236" y="151"/>
                  </a:cubicBezTo>
                  <a:cubicBezTo>
                    <a:pt x="236" y="135"/>
                    <a:pt x="236" y="135"/>
                    <a:pt x="236" y="135"/>
                  </a:cubicBezTo>
                  <a:cubicBezTo>
                    <a:pt x="236" y="135"/>
                    <a:pt x="236" y="135"/>
                    <a:pt x="236" y="135"/>
                  </a:cubicBezTo>
                  <a:cubicBezTo>
                    <a:pt x="234" y="141"/>
                    <a:pt x="225" y="153"/>
                    <a:pt x="207" y="153"/>
                  </a:cubicBezTo>
                  <a:cubicBezTo>
                    <a:pt x="180" y="153"/>
                    <a:pt x="172" y="128"/>
                    <a:pt x="172" y="101"/>
                  </a:cubicBezTo>
                  <a:cubicBezTo>
                    <a:pt x="172" y="72"/>
                    <a:pt x="182" y="47"/>
                    <a:pt x="209" y="47"/>
                  </a:cubicBezTo>
                  <a:cubicBezTo>
                    <a:pt x="225" y="47"/>
                    <a:pt x="234" y="58"/>
                    <a:pt x="236" y="64"/>
                  </a:cubicBezTo>
                  <a:cubicBezTo>
                    <a:pt x="236" y="64"/>
                    <a:pt x="236" y="64"/>
                    <a:pt x="236" y="64"/>
                  </a:cubicBezTo>
                  <a:cubicBezTo>
                    <a:pt x="236" y="49"/>
                    <a:pt x="236" y="49"/>
                    <a:pt x="236" y="49"/>
                  </a:cubicBezTo>
                  <a:cubicBezTo>
                    <a:pt x="256" y="49"/>
                    <a:pt x="256" y="49"/>
                    <a:pt x="256" y="49"/>
                  </a:cubicBezTo>
                  <a:lnTo>
                    <a:pt x="256" y="157"/>
                  </a:lnTo>
                  <a:close/>
                  <a:moveTo>
                    <a:pt x="214" y="138"/>
                  </a:moveTo>
                  <a:cubicBezTo>
                    <a:pt x="230" y="138"/>
                    <a:pt x="236" y="115"/>
                    <a:pt x="236" y="99"/>
                  </a:cubicBezTo>
                  <a:cubicBezTo>
                    <a:pt x="236" y="83"/>
                    <a:pt x="231" y="62"/>
                    <a:pt x="214" y="62"/>
                  </a:cubicBezTo>
                  <a:cubicBezTo>
                    <a:pt x="197" y="62"/>
                    <a:pt x="193" y="85"/>
                    <a:pt x="193" y="101"/>
                  </a:cubicBezTo>
                  <a:cubicBezTo>
                    <a:pt x="193" y="114"/>
                    <a:pt x="196" y="138"/>
                    <a:pt x="214" y="138"/>
                  </a:cubicBezTo>
                  <a:close/>
                  <a:moveTo>
                    <a:pt x="282" y="3"/>
                  </a:moveTo>
                  <a:cubicBezTo>
                    <a:pt x="301" y="3"/>
                    <a:pt x="301" y="3"/>
                    <a:pt x="301" y="3"/>
                  </a:cubicBezTo>
                  <a:cubicBezTo>
                    <a:pt x="301" y="71"/>
                    <a:pt x="301" y="71"/>
                    <a:pt x="301" y="71"/>
                  </a:cubicBezTo>
                  <a:cubicBezTo>
                    <a:pt x="302" y="71"/>
                    <a:pt x="302" y="71"/>
                    <a:pt x="302" y="71"/>
                  </a:cubicBezTo>
                  <a:cubicBezTo>
                    <a:pt x="305" y="63"/>
                    <a:pt x="314" y="47"/>
                    <a:pt x="335" y="47"/>
                  </a:cubicBezTo>
                  <a:cubicBezTo>
                    <a:pt x="359" y="47"/>
                    <a:pt x="363" y="68"/>
                    <a:pt x="363" y="81"/>
                  </a:cubicBezTo>
                  <a:cubicBezTo>
                    <a:pt x="363" y="153"/>
                    <a:pt x="363" y="153"/>
                    <a:pt x="363" y="153"/>
                  </a:cubicBezTo>
                  <a:cubicBezTo>
                    <a:pt x="343" y="153"/>
                    <a:pt x="343" y="153"/>
                    <a:pt x="343" y="153"/>
                  </a:cubicBezTo>
                  <a:cubicBezTo>
                    <a:pt x="343" y="96"/>
                    <a:pt x="343" y="96"/>
                    <a:pt x="343" y="96"/>
                  </a:cubicBezTo>
                  <a:cubicBezTo>
                    <a:pt x="343" y="77"/>
                    <a:pt x="343" y="66"/>
                    <a:pt x="329" y="66"/>
                  </a:cubicBezTo>
                  <a:cubicBezTo>
                    <a:pt x="313" y="66"/>
                    <a:pt x="301" y="88"/>
                    <a:pt x="301" y="109"/>
                  </a:cubicBezTo>
                  <a:cubicBezTo>
                    <a:pt x="301" y="153"/>
                    <a:pt x="301" y="153"/>
                    <a:pt x="301" y="153"/>
                  </a:cubicBezTo>
                  <a:cubicBezTo>
                    <a:pt x="282" y="153"/>
                    <a:pt x="282" y="153"/>
                    <a:pt x="282" y="153"/>
                  </a:cubicBezTo>
                  <a:lnTo>
                    <a:pt x="282" y="3"/>
                  </a:lnTo>
                  <a:close/>
                  <a:moveTo>
                    <a:pt x="448" y="49"/>
                  </a:moveTo>
                  <a:cubicBezTo>
                    <a:pt x="468" y="49"/>
                    <a:pt x="468" y="49"/>
                    <a:pt x="468" y="49"/>
                  </a:cubicBezTo>
                  <a:cubicBezTo>
                    <a:pt x="468" y="65"/>
                    <a:pt x="468" y="65"/>
                    <a:pt x="468" y="65"/>
                  </a:cubicBezTo>
                  <a:cubicBezTo>
                    <a:pt x="468" y="65"/>
                    <a:pt x="468" y="65"/>
                    <a:pt x="468" y="65"/>
                  </a:cubicBezTo>
                  <a:cubicBezTo>
                    <a:pt x="471" y="59"/>
                    <a:pt x="480" y="47"/>
                    <a:pt x="497" y="47"/>
                  </a:cubicBezTo>
                  <a:cubicBezTo>
                    <a:pt x="522" y="47"/>
                    <a:pt x="532" y="70"/>
                    <a:pt x="532" y="99"/>
                  </a:cubicBezTo>
                  <a:cubicBezTo>
                    <a:pt x="532" y="134"/>
                    <a:pt x="519" y="155"/>
                    <a:pt x="496" y="155"/>
                  </a:cubicBezTo>
                  <a:cubicBezTo>
                    <a:pt x="479" y="155"/>
                    <a:pt x="471" y="145"/>
                    <a:pt x="468" y="139"/>
                  </a:cubicBezTo>
                  <a:cubicBezTo>
                    <a:pt x="468" y="139"/>
                    <a:pt x="468" y="139"/>
                    <a:pt x="468" y="139"/>
                  </a:cubicBezTo>
                  <a:cubicBezTo>
                    <a:pt x="468" y="200"/>
                    <a:pt x="468" y="200"/>
                    <a:pt x="468" y="200"/>
                  </a:cubicBezTo>
                  <a:cubicBezTo>
                    <a:pt x="448" y="200"/>
                    <a:pt x="448" y="200"/>
                    <a:pt x="448" y="200"/>
                  </a:cubicBezTo>
                  <a:lnTo>
                    <a:pt x="448" y="49"/>
                  </a:lnTo>
                  <a:close/>
                  <a:moveTo>
                    <a:pt x="490" y="140"/>
                  </a:moveTo>
                  <a:cubicBezTo>
                    <a:pt x="506" y="140"/>
                    <a:pt x="511" y="123"/>
                    <a:pt x="511" y="101"/>
                  </a:cubicBezTo>
                  <a:cubicBezTo>
                    <a:pt x="511" y="85"/>
                    <a:pt x="509" y="62"/>
                    <a:pt x="490" y="62"/>
                  </a:cubicBezTo>
                  <a:cubicBezTo>
                    <a:pt x="474" y="62"/>
                    <a:pt x="468" y="84"/>
                    <a:pt x="468" y="101"/>
                  </a:cubicBezTo>
                  <a:cubicBezTo>
                    <a:pt x="468" y="120"/>
                    <a:pt x="473" y="140"/>
                    <a:pt x="490" y="140"/>
                  </a:cubicBezTo>
                  <a:close/>
                  <a:moveTo>
                    <a:pt x="624" y="152"/>
                  </a:moveTo>
                  <a:cubicBezTo>
                    <a:pt x="615" y="154"/>
                    <a:pt x="609" y="155"/>
                    <a:pt x="598" y="155"/>
                  </a:cubicBezTo>
                  <a:cubicBezTo>
                    <a:pt x="567" y="155"/>
                    <a:pt x="546" y="137"/>
                    <a:pt x="546" y="96"/>
                  </a:cubicBezTo>
                  <a:cubicBezTo>
                    <a:pt x="546" y="52"/>
                    <a:pt x="575" y="47"/>
                    <a:pt x="589" y="47"/>
                  </a:cubicBezTo>
                  <a:cubicBezTo>
                    <a:pt x="614" y="47"/>
                    <a:pt x="626" y="64"/>
                    <a:pt x="626" y="88"/>
                  </a:cubicBezTo>
                  <a:cubicBezTo>
                    <a:pt x="626" y="93"/>
                    <a:pt x="626" y="93"/>
                    <a:pt x="626" y="93"/>
                  </a:cubicBezTo>
                  <a:cubicBezTo>
                    <a:pt x="566" y="93"/>
                    <a:pt x="566" y="93"/>
                    <a:pt x="566" y="93"/>
                  </a:cubicBezTo>
                  <a:cubicBezTo>
                    <a:pt x="566" y="113"/>
                    <a:pt x="576" y="140"/>
                    <a:pt x="604" y="140"/>
                  </a:cubicBezTo>
                  <a:cubicBezTo>
                    <a:pt x="613" y="140"/>
                    <a:pt x="619" y="138"/>
                    <a:pt x="624" y="136"/>
                  </a:cubicBezTo>
                  <a:lnTo>
                    <a:pt x="624" y="152"/>
                  </a:lnTo>
                  <a:close/>
                  <a:moveTo>
                    <a:pt x="607" y="80"/>
                  </a:moveTo>
                  <a:cubicBezTo>
                    <a:pt x="607" y="74"/>
                    <a:pt x="603" y="62"/>
                    <a:pt x="588" y="62"/>
                  </a:cubicBezTo>
                  <a:cubicBezTo>
                    <a:pt x="572" y="62"/>
                    <a:pt x="567" y="76"/>
                    <a:pt x="567" y="80"/>
                  </a:cubicBezTo>
                  <a:lnTo>
                    <a:pt x="607" y="80"/>
                  </a:lnTo>
                  <a:close/>
                  <a:moveTo>
                    <a:pt x="645" y="49"/>
                  </a:moveTo>
                  <a:cubicBezTo>
                    <a:pt x="665" y="49"/>
                    <a:pt x="665" y="49"/>
                    <a:pt x="665" y="49"/>
                  </a:cubicBezTo>
                  <a:cubicBezTo>
                    <a:pt x="665" y="70"/>
                    <a:pt x="665" y="70"/>
                    <a:pt x="665" y="70"/>
                  </a:cubicBezTo>
                  <a:cubicBezTo>
                    <a:pt x="665" y="70"/>
                    <a:pt x="665" y="70"/>
                    <a:pt x="665" y="70"/>
                  </a:cubicBezTo>
                  <a:cubicBezTo>
                    <a:pt x="668" y="62"/>
                    <a:pt x="677" y="47"/>
                    <a:pt x="697" y="47"/>
                  </a:cubicBezTo>
                  <a:cubicBezTo>
                    <a:pt x="697" y="68"/>
                    <a:pt x="697" y="68"/>
                    <a:pt x="697" y="68"/>
                  </a:cubicBezTo>
                  <a:cubicBezTo>
                    <a:pt x="679" y="68"/>
                    <a:pt x="665" y="77"/>
                    <a:pt x="665" y="109"/>
                  </a:cubicBezTo>
                  <a:cubicBezTo>
                    <a:pt x="665" y="153"/>
                    <a:pt x="665" y="153"/>
                    <a:pt x="665" y="153"/>
                  </a:cubicBezTo>
                  <a:cubicBezTo>
                    <a:pt x="645" y="153"/>
                    <a:pt x="645" y="153"/>
                    <a:pt x="645" y="153"/>
                  </a:cubicBezTo>
                  <a:lnTo>
                    <a:pt x="645" y="49"/>
                  </a:lnTo>
                  <a:close/>
                  <a:moveTo>
                    <a:pt x="728" y="65"/>
                  </a:moveTo>
                  <a:cubicBezTo>
                    <a:pt x="710" y="65"/>
                    <a:pt x="710" y="65"/>
                    <a:pt x="710" y="65"/>
                  </a:cubicBezTo>
                  <a:cubicBezTo>
                    <a:pt x="710" y="49"/>
                    <a:pt x="710" y="49"/>
                    <a:pt x="710" y="49"/>
                  </a:cubicBezTo>
                  <a:cubicBezTo>
                    <a:pt x="728" y="49"/>
                    <a:pt x="728" y="49"/>
                    <a:pt x="728" y="49"/>
                  </a:cubicBezTo>
                  <a:cubicBezTo>
                    <a:pt x="728" y="37"/>
                    <a:pt x="728" y="37"/>
                    <a:pt x="728" y="37"/>
                  </a:cubicBezTo>
                  <a:cubicBezTo>
                    <a:pt x="728" y="13"/>
                    <a:pt x="741" y="0"/>
                    <a:pt x="768" y="0"/>
                  </a:cubicBezTo>
                  <a:cubicBezTo>
                    <a:pt x="775" y="0"/>
                    <a:pt x="782" y="1"/>
                    <a:pt x="789" y="2"/>
                  </a:cubicBezTo>
                  <a:cubicBezTo>
                    <a:pt x="789" y="19"/>
                    <a:pt x="789" y="19"/>
                    <a:pt x="789" y="19"/>
                  </a:cubicBezTo>
                  <a:cubicBezTo>
                    <a:pt x="783" y="17"/>
                    <a:pt x="777" y="15"/>
                    <a:pt x="768" y="15"/>
                  </a:cubicBezTo>
                  <a:cubicBezTo>
                    <a:pt x="753" y="15"/>
                    <a:pt x="748" y="28"/>
                    <a:pt x="748" y="39"/>
                  </a:cubicBezTo>
                  <a:cubicBezTo>
                    <a:pt x="748" y="49"/>
                    <a:pt x="748" y="49"/>
                    <a:pt x="748" y="49"/>
                  </a:cubicBezTo>
                  <a:cubicBezTo>
                    <a:pt x="779" y="49"/>
                    <a:pt x="779" y="49"/>
                    <a:pt x="779" y="49"/>
                  </a:cubicBezTo>
                  <a:cubicBezTo>
                    <a:pt x="779" y="65"/>
                    <a:pt x="779" y="65"/>
                    <a:pt x="779" y="65"/>
                  </a:cubicBezTo>
                  <a:cubicBezTo>
                    <a:pt x="748" y="65"/>
                    <a:pt x="748" y="65"/>
                    <a:pt x="748" y="65"/>
                  </a:cubicBezTo>
                  <a:cubicBezTo>
                    <a:pt x="748" y="153"/>
                    <a:pt x="748" y="153"/>
                    <a:pt x="748" y="153"/>
                  </a:cubicBezTo>
                  <a:cubicBezTo>
                    <a:pt x="728" y="153"/>
                    <a:pt x="728" y="153"/>
                    <a:pt x="728" y="153"/>
                  </a:cubicBezTo>
                  <a:lnTo>
                    <a:pt x="728" y="65"/>
                  </a:lnTo>
                  <a:close/>
                  <a:moveTo>
                    <a:pt x="786" y="101"/>
                  </a:moveTo>
                  <a:cubicBezTo>
                    <a:pt x="786" y="68"/>
                    <a:pt x="801" y="47"/>
                    <a:pt x="832" y="47"/>
                  </a:cubicBezTo>
                  <a:cubicBezTo>
                    <a:pt x="863" y="47"/>
                    <a:pt x="878" y="68"/>
                    <a:pt x="878" y="101"/>
                  </a:cubicBezTo>
                  <a:cubicBezTo>
                    <a:pt x="878" y="134"/>
                    <a:pt x="863" y="155"/>
                    <a:pt x="832" y="155"/>
                  </a:cubicBezTo>
                  <a:cubicBezTo>
                    <a:pt x="801" y="155"/>
                    <a:pt x="786" y="134"/>
                    <a:pt x="786" y="101"/>
                  </a:cubicBezTo>
                  <a:close/>
                  <a:moveTo>
                    <a:pt x="832" y="140"/>
                  </a:moveTo>
                  <a:cubicBezTo>
                    <a:pt x="853" y="140"/>
                    <a:pt x="856" y="118"/>
                    <a:pt x="856" y="101"/>
                  </a:cubicBezTo>
                  <a:cubicBezTo>
                    <a:pt x="856" y="84"/>
                    <a:pt x="853" y="62"/>
                    <a:pt x="832" y="62"/>
                  </a:cubicBezTo>
                  <a:cubicBezTo>
                    <a:pt x="811" y="62"/>
                    <a:pt x="808" y="84"/>
                    <a:pt x="808" y="101"/>
                  </a:cubicBezTo>
                  <a:cubicBezTo>
                    <a:pt x="808" y="118"/>
                    <a:pt x="811" y="140"/>
                    <a:pt x="832" y="140"/>
                  </a:cubicBezTo>
                  <a:close/>
                  <a:moveTo>
                    <a:pt x="898" y="49"/>
                  </a:moveTo>
                  <a:cubicBezTo>
                    <a:pt x="918" y="49"/>
                    <a:pt x="918" y="49"/>
                    <a:pt x="918" y="49"/>
                  </a:cubicBezTo>
                  <a:cubicBezTo>
                    <a:pt x="918" y="70"/>
                    <a:pt x="918" y="70"/>
                    <a:pt x="918" y="70"/>
                  </a:cubicBezTo>
                  <a:cubicBezTo>
                    <a:pt x="918" y="70"/>
                    <a:pt x="918" y="70"/>
                    <a:pt x="918" y="70"/>
                  </a:cubicBezTo>
                  <a:cubicBezTo>
                    <a:pt x="921" y="62"/>
                    <a:pt x="930" y="47"/>
                    <a:pt x="950" y="47"/>
                  </a:cubicBezTo>
                  <a:cubicBezTo>
                    <a:pt x="950" y="68"/>
                    <a:pt x="950" y="68"/>
                    <a:pt x="950" y="68"/>
                  </a:cubicBezTo>
                  <a:cubicBezTo>
                    <a:pt x="933" y="68"/>
                    <a:pt x="918" y="77"/>
                    <a:pt x="918" y="109"/>
                  </a:cubicBezTo>
                  <a:cubicBezTo>
                    <a:pt x="918" y="153"/>
                    <a:pt x="918" y="153"/>
                    <a:pt x="918" y="153"/>
                  </a:cubicBezTo>
                  <a:cubicBezTo>
                    <a:pt x="898" y="153"/>
                    <a:pt x="898" y="153"/>
                    <a:pt x="898" y="153"/>
                  </a:cubicBezTo>
                  <a:lnTo>
                    <a:pt x="898" y="49"/>
                  </a:lnTo>
                  <a:close/>
                  <a:moveTo>
                    <a:pt x="966" y="49"/>
                  </a:moveTo>
                  <a:cubicBezTo>
                    <a:pt x="986" y="49"/>
                    <a:pt x="986" y="49"/>
                    <a:pt x="986" y="49"/>
                  </a:cubicBezTo>
                  <a:cubicBezTo>
                    <a:pt x="986" y="70"/>
                    <a:pt x="986" y="70"/>
                    <a:pt x="986" y="70"/>
                  </a:cubicBezTo>
                  <a:cubicBezTo>
                    <a:pt x="986" y="70"/>
                    <a:pt x="986" y="70"/>
                    <a:pt x="986" y="70"/>
                  </a:cubicBezTo>
                  <a:cubicBezTo>
                    <a:pt x="989" y="62"/>
                    <a:pt x="997" y="47"/>
                    <a:pt x="1015" y="47"/>
                  </a:cubicBezTo>
                  <a:cubicBezTo>
                    <a:pt x="1033" y="47"/>
                    <a:pt x="1040" y="60"/>
                    <a:pt x="1041" y="69"/>
                  </a:cubicBezTo>
                  <a:cubicBezTo>
                    <a:pt x="1042" y="69"/>
                    <a:pt x="1042" y="69"/>
                    <a:pt x="1042" y="69"/>
                  </a:cubicBezTo>
                  <a:cubicBezTo>
                    <a:pt x="1045" y="60"/>
                    <a:pt x="1054" y="47"/>
                    <a:pt x="1071" y="47"/>
                  </a:cubicBezTo>
                  <a:cubicBezTo>
                    <a:pt x="1096" y="47"/>
                    <a:pt x="1099" y="68"/>
                    <a:pt x="1099" y="81"/>
                  </a:cubicBezTo>
                  <a:cubicBezTo>
                    <a:pt x="1099" y="153"/>
                    <a:pt x="1099" y="153"/>
                    <a:pt x="1099" y="153"/>
                  </a:cubicBezTo>
                  <a:cubicBezTo>
                    <a:pt x="1080" y="153"/>
                    <a:pt x="1080" y="153"/>
                    <a:pt x="1080" y="153"/>
                  </a:cubicBezTo>
                  <a:cubicBezTo>
                    <a:pt x="1080" y="96"/>
                    <a:pt x="1080" y="96"/>
                    <a:pt x="1080" y="96"/>
                  </a:cubicBezTo>
                  <a:cubicBezTo>
                    <a:pt x="1080" y="77"/>
                    <a:pt x="1080" y="66"/>
                    <a:pt x="1065" y="66"/>
                  </a:cubicBezTo>
                  <a:cubicBezTo>
                    <a:pt x="1053" y="66"/>
                    <a:pt x="1042" y="86"/>
                    <a:pt x="1042" y="103"/>
                  </a:cubicBezTo>
                  <a:cubicBezTo>
                    <a:pt x="1042" y="153"/>
                    <a:pt x="1042" y="153"/>
                    <a:pt x="1042" y="153"/>
                  </a:cubicBezTo>
                  <a:cubicBezTo>
                    <a:pt x="1023" y="153"/>
                    <a:pt x="1023" y="153"/>
                    <a:pt x="1023" y="153"/>
                  </a:cubicBezTo>
                  <a:cubicBezTo>
                    <a:pt x="1023" y="96"/>
                    <a:pt x="1023" y="96"/>
                    <a:pt x="1023" y="96"/>
                  </a:cubicBezTo>
                  <a:cubicBezTo>
                    <a:pt x="1023" y="77"/>
                    <a:pt x="1023" y="66"/>
                    <a:pt x="1009" y="66"/>
                  </a:cubicBezTo>
                  <a:cubicBezTo>
                    <a:pt x="995" y="66"/>
                    <a:pt x="986" y="88"/>
                    <a:pt x="986" y="109"/>
                  </a:cubicBezTo>
                  <a:cubicBezTo>
                    <a:pt x="986" y="153"/>
                    <a:pt x="986" y="153"/>
                    <a:pt x="986" y="153"/>
                  </a:cubicBezTo>
                  <a:cubicBezTo>
                    <a:pt x="966" y="153"/>
                    <a:pt x="966" y="153"/>
                    <a:pt x="966" y="153"/>
                  </a:cubicBezTo>
                  <a:lnTo>
                    <a:pt x="966" y="49"/>
                  </a:lnTo>
                  <a:close/>
                  <a:moveTo>
                    <a:pt x="1176" y="140"/>
                  </a:moveTo>
                  <a:cubicBezTo>
                    <a:pt x="1175" y="140"/>
                    <a:pt x="1175" y="140"/>
                    <a:pt x="1175" y="140"/>
                  </a:cubicBezTo>
                  <a:cubicBezTo>
                    <a:pt x="1173" y="146"/>
                    <a:pt x="1164" y="155"/>
                    <a:pt x="1148" y="155"/>
                  </a:cubicBezTo>
                  <a:cubicBezTo>
                    <a:pt x="1129" y="155"/>
                    <a:pt x="1119" y="144"/>
                    <a:pt x="1119" y="127"/>
                  </a:cubicBezTo>
                  <a:cubicBezTo>
                    <a:pt x="1119" y="100"/>
                    <a:pt x="1149" y="93"/>
                    <a:pt x="1176" y="93"/>
                  </a:cubicBezTo>
                  <a:cubicBezTo>
                    <a:pt x="1176" y="75"/>
                    <a:pt x="1176" y="75"/>
                    <a:pt x="1176" y="75"/>
                  </a:cubicBezTo>
                  <a:cubicBezTo>
                    <a:pt x="1174" y="65"/>
                    <a:pt x="1167" y="62"/>
                    <a:pt x="1160" y="62"/>
                  </a:cubicBezTo>
                  <a:cubicBezTo>
                    <a:pt x="1148" y="62"/>
                    <a:pt x="1143" y="70"/>
                    <a:pt x="1143" y="78"/>
                  </a:cubicBezTo>
                  <a:cubicBezTo>
                    <a:pt x="1123" y="78"/>
                    <a:pt x="1123" y="78"/>
                    <a:pt x="1123" y="78"/>
                  </a:cubicBezTo>
                  <a:cubicBezTo>
                    <a:pt x="1123" y="61"/>
                    <a:pt x="1132" y="47"/>
                    <a:pt x="1161" y="47"/>
                  </a:cubicBezTo>
                  <a:cubicBezTo>
                    <a:pt x="1195" y="47"/>
                    <a:pt x="1195" y="72"/>
                    <a:pt x="1195" y="82"/>
                  </a:cubicBezTo>
                  <a:cubicBezTo>
                    <a:pt x="1195" y="153"/>
                    <a:pt x="1195" y="153"/>
                    <a:pt x="1195" y="153"/>
                  </a:cubicBezTo>
                  <a:cubicBezTo>
                    <a:pt x="1176" y="153"/>
                    <a:pt x="1176" y="153"/>
                    <a:pt x="1176" y="153"/>
                  </a:cubicBezTo>
                  <a:lnTo>
                    <a:pt x="1176" y="140"/>
                  </a:lnTo>
                  <a:close/>
                  <a:moveTo>
                    <a:pt x="1172" y="107"/>
                  </a:moveTo>
                  <a:cubicBezTo>
                    <a:pt x="1156" y="107"/>
                    <a:pt x="1141" y="114"/>
                    <a:pt x="1141" y="127"/>
                  </a:cubicBezTo>
                  <a:cubicBezTo>
                    <a:pt x="1141" y="135"/>
                    <a:pt x="1146" y="140"/>
                    <a:pt x="1152" y="140"/>
                  </a:cubicBezTo>
                  <a:cubicBezTo>
                    <a:pt x="1166" y="140"/>
                    <a:pt x="1176" y="125"/>
                    <a:pt x="1176" y="112"/>
                  </a:cubicBezTo>
                  <a:cubicBezTo>
                    <a:pt x="1176" y="107"/>
                    <a:pt x="1176" y="107"/>
                    <a:pt x="1176" y="107"/>
                  </a:cubicBezTo>
                  <a:lnTo>
                    <a:pt x="1172" y="107"/>
                  </a:lnTo>
                  <a:close/>
                  <a:moveTo>
                    <a:pt x="1221" y="49"/>
                  </a:moveTo>
                  <a:cubicBezTo>
                    <a:pt x="1241" y="49"/>
                    <a:pt x="1241" y="49"/>
                    <a:pt x="1241" y="49"/>
                  </a:cubicBezTo>
                  <a:cubicBezTo>
                    <a:pt x="1241" y="71"/>
                    <a:pt x="1241" y="71"/>
                    <a:pt x="1241" y="71"/>
                  </a:cubicBezTo>
                  <a:cubicBezTo>
                    <a:pt x="1241" y="71"/>
                    <a:pt x="1241" y="71"/>
                    <a:pt x="1241" y="71"/>
                  </a:cubicBezTo>
                  <a:cubicBezTo>
                    <a:pt x="1245" y="63"/>
                    <a:pt x="1253" y="47"/>
                    <a:pt x="1274" y="47"/>
                  </a:cubicBezTo>
                  <a:cubicBezTo>
                    <a:pt x="1298" y="47"/>
                    <a:pt x="1302" y="68"/>
                    <a:pt x="1302" y="81"/>
                  </a:cubicBezTo>
                  <a:cubicBezTo>
                    <a:pt x="1302" y="153"/>
                    <a:pt x="1302" y="153"/>
                    <a:pt x="1302" y="153"/>
                  </a:cubicBezTo>
                  <a:cubicBezTo>
                    <a:pt x="1282" y="153"/>
                    <a:pt x="1282" y="153"/>
                    <a:pt x="1282" y="153"/>
                  </a:cubicBezTo>
                  <a:cubicBezTo>
                    <a:pt x="1282" y="96"/>
                    <a:pt x="1282" y="96"/>
                    <a:pt x="1282" y="96"/>
                  </a:cubicBezTo>
                  <a:cubicBezTo>
                    <a:pt x="1282" y="77"/>
                    <a:pt x="1282" y="66"/>
                    <a:pt x="1268" y="66"/>
                  </a:cubicBezTo>
                  <a:cubicBezTo>
                    <a:pt x="1252" y="66"/>
                    <a:pt x="1241" y="88"/>
                    <a:pt x="1241" y="109"/>
                  </a:cubicBezTo>
                  <a:cubicBezTo>
                    <a:pt x="1241" y="153"/>
                    <a:pt x="1241" y="153"/>
                    <a:pt x="1241" y="153"/>
                  </a:cubicBezTo>
                  <a:cubicBezTo>
                    <a:pt x="1221" y="153"/>
                    <a:pt x="1221" y="153"/>
                    <a:pt x="1221" y="153"/>
                  </a:cubicBezTo>
                  <a:lnTo>
                    <a:pt x="1221" y="49"/>
                  </a:lnTo>
                  <a:close/>
                  <a:moveTo>
                    <a:pt x="1401" y="151"/>
                  </a:moveTo>
                  <a:cubicBezTo>
                    <a:pt x="1394" y="154"/>
                    <a:pt x="1385" y="155"/>
                    <a:pt x="1373" y="155"/>
                  </a:cubicBezTo>
                  <a:cubicBezTo>
                    <a:pt x="1333" y="155"/>
                    <a:pt x="1322" y="123"/>
                    <a:pt x="1322" y="97"/>
                  </a:cubicBezTo>
                  <a:cubicBezTo>
                    <a:pt x="1322" y="68"/>
                    <a:pt x="1335" y="47"/>
                    <a:pt x="1366" y="47"/>
                  </a:cubicBezTo>
                  <a:cubicBezTo>
                    <a:pt x="1396" y="47"/>
                    <a:pt x="1403" y="66"/>
                    <a:pt x="1403" y="83"/>
                  </a:cubicBezTo>
                  <a:cubicBezTo>
                    <a:pt x="1381" y="83"/>
                    <a:pt x="1381" y="83"/>
                    <a:pt x="1381" y="83"/>
                  </a:cubicBezTo>
                  <a:cubicBezTo>
                    <a:pt x="1381" y="75"/>
                    <a:pt x="1379" y="62"/>
                    <a:pt x="1365" y="62"/>
                  </a:cubicBezTo>
                  <a:cubicBezTo>
                    <a:pt x="1352" y="62"/>
                    <a:pt x="1344" y="75"/>
                    <a:pt x="1344" y="94"/>
                  </a:cubicBezTo>
                  <a:cubicBezTo>
                    <a:pt x="1344" y="114"/>
                    <a:pt x="1352" y="140"/>
                    <a:pt x="1385" y="140"/>
                  </a:cubicBezTo>
                  <a:cubicBezTo>
                    <a:pt x="1390" y="140"/>
                    <a:pt x="1396" y="140"/>
                    <a:pt x="1401" y="138"/>
                  </a:cubicBezTo>
                  <a:lnTo>
                    <a:pt x="1401" y="151"/>
                  </a:lnTo>
                  <a:close/>
                  <a:moveTo>
                    <a:pt x="1494" y="152"/>
                  </a:moveTo>
                  <a:cubicBezTo>
                    <a:pt x="1486" y="154"/>
                    <a:pt x="1480" y="155"/>
                    <a:pt x="1469" y="155"/>
                  </a:cubicBezTo>
                  <a:cubicBezTo>
                    <a:pt x="1437" y="155"/>
                    <a:pt x="1417" y="137"/>
                    <a:pt x="1417" y="96"/>
                  </a:cubicBezTo>
                  <a:cubicBezTo>
                    <a:pt x="1417" y="52"/>
                    <a:pt x="1446" y="47"/>
                    <a:pt x="1459" y="47"/>
                  </a:cubicBezTo>
                  <a:cubicBezTo>
                    <a:pt x="1485" y="47"/>
                    <a:pt x="1497" y="64"/>
                    <a:pt x="1497" y="88"/>
                  </a:cubicBezTo>
                  <a:cubicBezTo>
                    <a:pt x="1497" y="93"/>
                    <a:pt x="1497" y="93"/>
                    <a:pt x="1497" y="93"/>
                  </a:cubicBezTo>
                  <a:cubicBezTo>
                    <a:pt x="1437" y="93"/>
                    <a:pt x="1437" y="93"/>
                    <a:pt x="1437" y="93"/>
                  </a:cubicBezTo>
                  <a:cubicBezTo>
                    <a:pt x="1437" y="113"/>
                    <a:pt x="1447" y="140"/>
                    <a:pt x="1475" y="140"/>
                  </a:cubicBezTo>
                  <a:cubicBezTo>
                    <a:pt x="1484" y="140"/>
                    <a:pt x="1490" y="138"/>
                    <a:pt x="1494" y="136"/>
                  </a:cubicBezTo>
                  <a:lnTo>
                    <a:pt x="1494" y="152"/>
                  </a:lnTo>
                  <a:close/>
                  <a:moveTo>
                    <a:pt x="1477" y="80"/>
                  </a:moveTo>
                  <a:cubicBezTo>
                    <a:pt x="1477" y="74"/>
                    <a:pt x="1473" y="62"/>
                    <a:pt x="1458" y="62"/>
                  </a:cubicBezTo>
                  <a:cubicBezTo>
                    <a:pt x="1442" y="62"/>
                    <a:pt x="1438" y="76"/>
                    <a:pt x="1438" y="80"/>
                  </a:cubicBezTo>
                  <a:lnTo>
                    <a:pt x="1477" y="80"/>
                  </a:lnTo>
                  <a:close/>
                  <a:moveTo>
                    <a:pt x="1518" y="123"/>
                  </a:moveTo>
                  <a:cubicBezTo>
                    <a:pt x="1548" y="123"/>
                    <a:pt x="1548" y="123"/>
                    <a:pt x="1548" y="123"/>
                  </a:cubicBezTo>
                  <a:cubicBezTo>
                    <a:pt x="1548" y="153"/>
                    <a:pt x="1548" y="153"/>
                    <a:pt x="1548" y="153"/>
                  </a:cubicBezTo>
                  <a:cubicBezTo>
                    <a:pt x="1518" y="153"/>
                    <a:pt x="1518" y="153"/>
                    <a:pt x="1518" y="153"/>
                  </a:cubicBezTo>
                  <a:lnTo>
                    <a:pt x="1518" y="123"/>
                  </a:lnTo>
                  <a:close/>
                  <a:moveTo>
                    <a:pt x="1633" y="3"/>
                  </a:moveTo>
                  <a:cubicBezTo>
                    <a:pt x="1672" y="3"/>
                    <a:pt x="1672" y="3"/>
                    <a:pt x="1672" y="3"/>
                  </a:cubicBezTo>
                  <a:cubicBezTo>
                    <a:pt x="1718" y="3"/>
                    <a:pt x="1735" y="28"/>
                    <a:pt x="1735" y="77"/>
                  </a:cubicBezTo>
                  <a:cubicBezTo>
                    <a:pt x="1735" y="140"/>
                    <a:pt x="1707" y="153"/>
                    <a:pt x="1672" y="153"/>
                  </a:cubicBezTo>
                  <a:cubicBezTo>
                    <a:pt x="1633" y="153"/>
                    <a:pt x="1633" y="153"/>
                    <a:pt x="1633" y="153"/>
                  </a:cubicBezTo>
                  <a:lnTo>
                    <a:pt x="1633" y="3"/>
                  </a:lnTo>
                  <a:close/>
                  <a:moveTo>
                    <a:pt x="1655" y="136"/>
                  </a:moveTo>
                  <a:cubicBezTo>
                    <a:pt x="1668" y="136"/>
                    <a:pt x="1668" y="136"/>
                    <a:pt x="1668" y="136"/>
                  </a:cubicBezTo>
                  <a:cubicBezTo>
                    <a:pt x="1695" y="135"/>
                    <a:pt x="1711" y="125"/>
                    <a:pt x="1711" y="78"/>
                  </a:cubicBezTo>
                  <a:cubicBezTo>
                    <a:pt x="1711" y="30"/>
                    <a:pt x="1695" y="20"/>
                    <a:pt x="1668" y="20"/>
                  </a:cubicBezTo>
                  <a:cubicBezTo>
                    <a:pt x="1655" y="20"/>
                    <a:pt x="1655" y="20"/>
                    <a:pt x="1655" y="20"/>
                  </a:cubicBezTo>
                  <a:lnTo>
                    <a:pt x="1655" y="136"/>
                  </a:lnTo>
                  <a:close/>
                  <a:moveTo>
                    <a:pt x="1829" y="152"/>
                  </a:moveTo>
                  <a:cubicBezTo>
                    <a:pt x="1820" y="154"/>
                    <a:pt x="1814" y="155"/>
                    <a:pt x="1803" y="155"/>
                  </a:cubicBezTo>
                  <a:cubicBezTo>
                    <a:pt x="1771" y="155"/>
                    <a:pt x="1751" y="137"/>
                    <a:pt x="1751" y="96"/>
                  </a:cubicBezTo>
                  <a:cubicBezTo>
                    <a:pt x="1751" y="52"/>
                    <a:pt x="1780" y="47"/>
                    <a:pt x="1794" y="47"/>
                  </a:cubicBezTo>
                  <a:cubicBezTo>
                    <a:pt x="1819" y="47"/>
                    <a:pt x="1831" y="64"/>
                    <a:pt x="1831" y="88"/>
                  </a:cubicBezTo>
                  <a:cubicBezTo>
                    <a:pt x="1831" y="93"/>
                    <a:pt x="1831" y="93"/>
                    <a:pt x="1831" y="93"/>
                  </a:cubicBezTo>
                  <a:cubicBezTo>
                    <a:pt x="1771" y="93"/>
                    <a:pt x="1771" y="93"/>
                    <a:pt x="1771" y="93"/>
                  </a:cubicBezTo>
                  <a:cubicBezTo>
                    <a:pt x="1771" y="113"/>
                    <a:pt x="1781" y="140"/>
                    <a:pt x="1809" y="140"/>
                  </a:cubicBezTo>
                  <a:cubicBezTo>
                    <a:pt x="1818" y="140"/>
                    <a:pt x="1824" y="138"/>
                    <a:pt x="1829" y="136"/>
                  </a:cubicBezTo>
                  <a:lnTo>
                    <a:pt x="1829" y="152"/>
                  </a:lnTo>
                  <a:close/>
                  <a:moveTo>
                    <a:pt x="1811" y="80"/>
                  </a:moveTo>
                  <a:cubicBezTo>
                    <a:pt x="1811" y="74"/>
                    <a:pt x="1808" y="62"/>
                    <a:pt x="1792" y="62"/>
                  </a:cubicBezTo>
                  <a:cubicBezTo>
                    <a:pt x="1776" y="62"/>
                    <a:pt x="1772" y="76"/>
                    <a:pt x="1772" y="80"/>
                  </a:cubicBezTo>
                  <a:lnTo>
                    <a:pt x="1811" y="80"/>
                  </a:lnTo>
                  <a:close/>
                  <a:moveTo>
                    <a:pt x="1851" y="3"/>
                  </a:moveTo>
                  <a:cubicBezTo>
                    <a:pt x="1871" y="3"/>
                    <a:pt x="1871" y="3"/>
                    <a:pt x="1871" y="3"/>
                  </a:cubicBezTo>
                  <a:cubicBezTo>
                    <a:pt x="1871" y="153"/>
                    <a:pt x="1871" y="153"/>
                    <a:pt x="1871" y="153"/>
                  </a:cubicBezTo>
                  <a:cubicBezTo>
                    <a:pt x="1851" y="153"/>
                    <a:pt x="1851" y="153"/>
                    <a:pt x="1851" y="153"/>
                  </a:cubicBezTo>
                  <a:lnTo>
                    <a:pt x="1851" y="3"/>
                  </a:lnTo>
                  <a:close/>
                  <a:moveTo>
                    <a:pt x="1897" y="3"/>
                  </a:moveTo>
                  <a:cubicBezTo>
                    <a:pt x="1920" y="3"/>
                    <a:pt x="1920" y="3"/>
                    <a:pt x="1920" y="3"/>
                  </a:cubicBezTo>
                  <a:cubicBezTo>
                    <a:pt x="1920" y="25"/>
                    <a:pt x="1920" y="25"/>
                    <a:pt x="1920" y="25"/>
                  </a:cubicBezTo>
                  <a:cubicBezTo>
                    <a:pt x="1897" y="25"/>
                    <a:pt x="1897" y="25"/>
                    <a:pt x="1897" y="25"/>
                  </a:cubicBezTo>
                  <a:lnTo>
                    <a:pt x="1897" y="3"/>
                  </a:lnTo>
                  <a:close/>
                  <a:moveTo>
                    <a:pt x="1899" y="49"/>
                  </a:moveTo>
                  <a:cubicBezTo>
                    <a:pt x="1918" y="49"/>
                    <a:pt x="1918" y="49"/>
                    <a:pt x="1918" y="49"/>
                  </a:cubicBezTo>
                  <a:cubicBezTo>
                    <a:pt x="1918" y="153"/>
                    <a:pt x="1918" y="153"/>
                    <a:pt x="1918" y="153"/>
                  </a:cubicBezTo>
                  <a:cubicBezTo>
                    <a:pt x="1899" y="153"/>
                    <a:pt x="1899" y="153"/>
                    <a:pt x="1899" y="153"/>
                  </a:cubicBezTo>
                  <a:lnTo>
                    <a:pt x="1899" y="49"/>
                  </a:lnTo>
                  <a:close/>
                  <a:moveTo>
                    <a:pt x="1934" y="49"/>
                  </a:moveTo>
                  <a:cubicBezTo>
                    <a:pt x="1955" y="49"/>
                    <a:pt x="1955" y="49"/>
                    <a:pt x="1955" y="49"/>
                  </a:cubicBezTo>
                  <a:cubicBezTo>
                    <a:pt x="1982" y="125"/>
                    <a:pt x="1982" y="125"/>
                    <a:pt x="1982" y="125"/>
                  </a:cubicBezTo>
                  <a:cubicBezTo>
                    <a:pt x="1983" y="125"/>
                    <a:pt x="1983" y="125"/>
                    <a:pt x="1983" y="125"/>
                  </a:cubicBezTo>
                  <a:cubicBezTo>
                    <a:pt x="2007" y="49"/>
                    <a:pt x="2007" y="49"/>
                    <a:pt x="2007" y="49"/>
                  </a:cubicBezTo>
                  <a:cubicBezTo>
                    <a:pt x="2029" y="49"/>
                    <a:pt x="2029" y="49"/>
                    <a:pt x="2029" y="49"/>
                  </a:cubicBezTo>
                  <a:cubicBezTo>
                    <a:pt x="1993" y="153"/>
                    <a:pt x="1993" y="153"/>
                    <a:pt x="1993" y="153"/>
                  </a:cubicBezTo>
                  <a:cubicBezTo>
                    <a:pt x="1973" y="153"/>
                    <a:pt x="1973" y="153"/>
                    <a:pt x="1973" y="153"/>
                  </a:cubicBezTo>
                  <a:lnTo>
                    <a:pt x="1934" y="49"/>
                  </a:lnTo>
                  <a:close/>
                  <a:moveTo>
                    <a:pt x="2111" y="152"/>
                  </a:moveTo>
                  <a:cubicBezTo>
                    <a:pt x="2103" y="154"/>
                    <a:pt x="2097" y="155"/>
                    <a:pt x="2085" y="155"/>
                  </a:cubicBezTo>
                  <a:cubicBezTo>
                    <a:pt x="2054" y="155"/>
                    <a:pt x="2034" y="137"/>
                    <a:pt x="2034" y="96"/>
                  </a:cubicBezTo>
                  <a:cubicBezTo>
                    <a:pt x="2034" y="52"/>
                    <a:pt x="2063" y="47"/>
                    <a:pt x="2076" y="47"/>
                  </a:cubicBezTo>
                  <a:cubicBezTo>
                    <a:pt x="2101" y="47"/>
                    <a:pt x="2114" y="64"/>
                    <a:pt x="2114" y="88"/>
                  </a:cubicBezTo>
                  <a:cubicBezTo>
                    <a:pt x="2114" y="93"/>
                    <a:pt x="2114" y="93"/>
                    <a:pt x="2114" y="93"/>
                  </a:cubicBezTo>
                  <a:cubicBezTo>
                    <a:pt x="2053" y="93"/>
                    <a:pt x="2053" y="93"/>
                    <a:pt x="2053" y="93"/>
                  </a:cubicBezTo>
                  <a:cubicBezTo>
                    <a:pt x="2053" y="113"/>
                    <a:pt x="2063" y="140"/>
                    <a:pt x="2092" y="140"/>
                  </a:cubicBezTo>
                  <a:cubicBezTo>
                    <a:pt x="2101" y="140"/>
                    <a:pt x="2107" y="138"/>
                    <a:pt x="2111" y="136"/>
                  </a:cubicBezTo>
                  <a:lnTo>
                    <a:pt x="2111" y="152"/>
                  </a:lnTo>
                  <a:close/>
                  <a:moveTo>
                    <a:pt x="2094" y="80"/>
                  </a:moveTo>
                  <a:cubicBezTo>
                    <a:pt x="2094" y="74"/>
                    <a:pt x="2090" y="62"/>
                    <a:pt x="2075" y="62"/>
                  </a:cubicBezTo>
                  <a:cubicBezTo>
                    <a:pt x="2059" y="62"/>
                    <a:pt x="2054" y="76"/>
                    <a:pt x="2054" y="80"/>
                  </a:cubicBezTo>
                  <a:lnTo>
                    <a:pt x="2094" y="80"/>
                  </a:lnTo>
                  <a:close/>
                  <a:moveTo>
                    <a:pt x="2132" y="49"/>
                  </a:moveTo>
                  <a:cubicBezTo>
                    <a:pt x="2152" y="49"/>
                    <a:pt x="2152" y="49"/>
                    <a:pt x="2152" y="49"/>
                  </a:cubicBezTo>
                  <a:cubicBezTo>
                    <a:pt x="2152" y="70"/>
                    <a:pt x="2152" y="70"/>
                    <a:pt x="2152" y="70"/>
                  </a:cubicBezTo>
                  <a:cubicBezTo>
                    <a:pt x="2152" y="70"/>
                    <a:pt x="2152" y="70"/>
                    <a:pt x="2152" y="70"/>
                  </a:cubicBezTo>
                  <a:cubicBezTo>
                    <a:pt x="2155" y="62"/>
                    <a:pt x="2164" y="47"/>
                    <a:pt x="2185" y="47"/>
                  </a:cubicBezTo>
                  <a:cubicBezTo>
                    <a:pt x="2185" y="68"/>
                    <a:pt x="2185" y="68"/>
                    <a:pt x="2185" y="68"/>
                  </a:cubicBezTo>
                  <a:cubicBezTo>
                    <a:pt x="2167" y="68"/>
                    <a:pt x="2152" y="77"/>
                    <a:pt x="2152" y="109"/>
                  </a:cubicBezTo>
                  <a:cubicBezTo>
                    <a:pt x="2152" y="153"/>
                    <a:pt x="2152" y="153"/>
                    <a:pt x="2152" y="153"/>
                  </a:cubicBezTo>
                  <a:cubicBezTo>
                    <a:pt x="2132" y="153"/>
                    <a:pt x="2132" y="153"/>
                    <a:pt x="2132" y="153"/>
                  </a:cubicBezTo>
                  <a:lnTo>
                    <a:pt x="2132" y="49"/>
                  </a:lnTo>
                  <a:close/>
                  <a:moveTo>
                    <a:pt x="2272" y="152"/>
                  </a:moveTo>
                  <a:cubicBezTo>
                    <a:pt x="2263" y="154"/>
                    <a:pt x="2257" y="155"/>
                    <a:pt x="2246" y="155"/>
                  </a:cubicBezTo>
                  <a:cubicBezTo>
                    <a:pt x="2214" y="155"/>
                    <a:pt x="2194" y="137"/>
                    <a:pt x="2194" y="96"/>
                  </a:cubicBezTo>
                  <a:cubicBezTo>
                    <a:pt x="2194" y="52"/>
                    <a:pt x="2223" y="47"/>
                    <a:pt x="2237" y="47"/>
                  </a:cubicBezTo>
                  <a:cubicBezTo>
                    <a:pt x="2262" y="47"/>
                    <a:pt x="2274" y="64"/>
                    <a:pt x="2274" y="88"/>
                  </a:cubicBezTo>
                  <a:cubicBezTo>
                    <a:pt x="2274" y="93"/>
                    <a:pt x="2274" y="93"/>
                    <a:pt x="2274" y="93"/>
                  </a:cubicBezTo>
                  <a:cubicBezTo>
                    <a:pt x="2214" y="93"/>
                    <a:pt x="2214" y="93"/>
                    <a:pt x="2214" y="93"/>
                  </a:cubicBezTo>
                  <a:cubicBezTo>
                    <a:pt x="2214" y="113"/>
                    <a:pt x="2224" y="140"/>
                    <a:pt x="2252" y="140"/>
                  </a:cubicBezTo>
                  <a:cubicBezTo>
                    <a:pt x="2261" y="140"/>
                    <a:pt x="2267" y="138"/>
                    <a:pt x="2272" y="136"/>
                  </a:cubicBezTo>
                  <a:lnTo>
                    <a:pt x="2272" y="152"/>
                  </a:lnTo>
                  <a:close/>
                  <a:moveTo>
                    <a:pt x="2254" y="80"/>
                  </a:moveTo>
                  <a:cubicBezTo>
                    <a:pt x="2254" y="74"/>
                    <a:pt x="2251" y="62"/>
                    <a:pt x="2236" y="62"/>
                  </a:cubicBezTo>
                  <a:cubicBezTo>
                    <a:pt x="2219" y="62"/>
                    <a:pt x="2215" y="76"/>
                    <a:pt x="2215" y="80"/>
                  </a:cubicBezTo>
                  <a:lnTo>
                    <a:pt x="2254" y="80"/>
                  </a:lnTo>
                  <a:close/>
                  <a:moveTo>
                    <a:pt x="2353" y="137"/>
                  </a:moveTo>
                  <a:cubicBezTo>
                    <a:pt x="2352" y="137"/>
                    <a:pt x="2352" y="137"/>
                    <a:pt x="2352" y="137"/>
                  </a:cubicBezTo>
                  <a:cubicBezTo>
                    <a:pt x="2350" y="143"/>
                    <a:pt x="2342" y="155"/>
                    <a:pt x="2324" y="155"/>
                  </a:cubicBezTo>
                  <a:cubicBezTo>
                    <a:pt x="2298" y="155"/>
                    <a:pt x="2288" y="132"/>
                    <a:pt x="2288" y="103"/>
                  </a:cubicBezTo>
                  <a:cubicBezTo>
                    <a:pt x="2288" y="68"/>
                    <a:pt x="2301" y="47"/>
                    <a:pt x="2325" y="47"/>
                  </a:cubicBezTo>
                  <a:cubicBezTo>
                    <a:pt x="2342" y="47"/>
                    <a:pt x="2350" y="58"/>
                    <a:pt x="2352" y="64"/>
                  </a:cubicBezTo>
                  <a:cubicBezTo>
                    <a:pt x="2353" y="64"/>
                    <a:pt x="2353" y="64"/>
                    <a:pt x="2353" y="64"/>
                  </a:cubicBezTo>
                  <a:cubicBezTo>
                    <a:pt x="2353" y="3"/>
                    <a:pt x="2353" y="3"/>
                    <a:pt x="2353" y="3"/>
                  </a:cubicBezTo>
                  <a:cubicBezTo>
                    <a:pt x="2372" y="3"/>
                    <a:pt x="2372" y="3"/>
                    <a:pt x="2372" y="3"/>
                  </a:cubicBezTo>
                  <a:cubicBezTo>
                    <a:pt x="2372" y="153"/>
                    <a:pt x="2372" y="153"/>
                    <a:pt x="2372" y="153"/>
                  </a:cubicBezTo>
                  <a:cubicBezTo>
                    <a:pt x="2353" y="153"/>
                    <a:pt x="2353" y="153"/>
                    <a:pt x="2353" y="153"/>
                  </a:cubicBezTo>
                  <a:lnTo>
                    <a:pt x="2353" y="137"/>
                  </a:lnTo>
                  <a:close/>
                  <a:moveTo>
                    <a:pt x="2330" y="140"/>
                  </a:moveTo>
                  <a:cubicBezTo>
                    <a:pt x="2346" y="140"/>
                    <a:pt x="2353" y="118"/>
                    <a:pt x="2353" y="101"/>
                  </a:cubicBezTo>
                  <a:cubicBezTo>
                    <a:pt x="2353" y="83"/>
                    <a:pt x="2348" y="62"/>
                    <a:pt x="2330" y="62"/>
                  </a:cubicBezTo>
                  <a:cubicBezTo>
                    <a:pt x="2315" y="62"/>
                    <a:pt x="2310" y="79"/>
                    <a:pt x="2310" y="101"/>
                  </a:cubicBezTo>
                  <a:cubicBezTo>
                    <a:pt x="2310" y="117"/>
                    <a:pt x="2312" y="140"/>
                    <a:pt x="2330" y="140"/>
                  </a:cubicBezTo>
                  <a:close/>
                  <a:moveTo>
                    <a:pt x="2396" y="123"/>
                  </a:moveTo>
                  <a:cubicBezTo>
                    <a:pt x="2426" y="123"/>
                    <a:pt x="2426" y="123"/>
                    <a:pt x="2426" y="123"/>
                  </a:cubicBezTo>
                  <a:cubicBezTo>
                    <a:pt x="2426" y="153"/>
                    <a:pt x="2426" y="153"/>
                    <a:pt x="2426" y="153"/>
                  </a:cubicBezTo>
                  <a:cubicBezTo>
                    <a:pt x="2396" y="153"/>
                    <a:pt x="2396" y="153"/>
                    <a:pt x="2396" y="153"/>
                  </a:cubicBezTo>
                  <a:lnTo>
                    <a:pt x="2396" y="12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grpSp>
      <p:grpSp>
        <p:nvGrpSpPr>
          <p:cNvPr id="36" name="Group 35"/>
          <p:cNvGrpSpPr/>
          <p:nvPr userDrawn="1"/>
        </p:nvGrpSpPr>
        <p:grpSpPr>
          <a:xfrm>
            <a:off x="457200" y="5691188"/>
            <a:ext cx="2427288" cy="698500"/>
            <a:chOff x="457200" y="5691188"/>
            <a:chExt cx="2427288" cy="698500"/>
          </a:xfrm>
        </p:grpSpPr>
        <p:sp>
          <p:nvSpPr>
            <p:cNvPr id="50" name="AutoShape 8"/>
            <p:cNvSpPr>
              <a:spLocks noChangeAspect="1" noChangeArrowheads="1" noTextEdit="1"/>
            </p:cNvSpPr>
            <p:nvPr userDrawn="1"/>
          </p:nvSpPr>
          <p:spPr bwMode="auto">
            <a:xfrm>
              <a:off x="457200" y="5691188"/>
              <a:ext cx="2427288" cy="6985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1" name="Freeform 10"/>
            <p:cNvSpPr>
              <a:spLocks noEditPoints="1"/>
            </p:cNvSpPr>
            <p:nvPr userDrawn="1"/>
          </p:nvSpPr>
          <p:spPr bwMode="auto">
            <a:xfrm>
              <a:off x="457200" y="6057901"/>
              <a:ext cx="247650" cy="330200"/>
            </a:xfrm>
            <a:custGeom>
              <a:avLst/>
              <a:gdLst/>
              <a:ahLst/>
              <a:cxnLst>
                <a:cxn ang="0">
                  <a:pos x="168" y="174"/>
                </a:cxn>
                <a:cxn ang="0">
                  <a:pos x="105" y="264"/>
                </a:cxn>
                <a:cxn ang="0">
                  <a:pos x="68" y="228"/>
                </a:cxn>
                <a:cxn ang="0">
                  <a:pos x="168" y="174"/>
                </a:cxn>
                <a:cxn ang="0">
                  <a:pos x="234" y="306"/>
                </a:cxn>
                <a:cxn ang="0">
                  <a:pos x="234" y="93"/>
                </a:cxn>
                <a:cxn ang="0">
                  <a:pos x="126" y="0"/>
                </a:cxn>
                <a:cxn ang="0">
                  <a:pos x="12" y="95"/>
                </a:cxn>
                <a:cxn ang="0">
                  <a:pos x="80" y="95"/>
                </a:cxn>
                <a:cxn ang="0">
                  <a:pos x="126" y="49"/>
                </a:cxn>
                <a:cxn ang="0">
                  <a:pos x="168" y="103"/>
                </a:cxn>
                <a:cxn ang="0">
                  <a:pos x="168" y="133"/>
                </a:cxn>
                <a:cxn ang="0">
                  <a:pos x="0" y="234"/>
                </a:cxn>
                <a:cxn ang="0">
                  <a:pos x="88" y="313"/>
                </a:cxn>
                <a:cxn ang="0">
                  <a:pos x="166" y="272"/>
                </a:cxn>
                <a:cxn ang="0">
                  <a:pos x="168" y="272"/>
                </a:cxn>
                <a:cxn ang="0">
                  <a:pos x="168" y="306"/>
                </a:cxn>
                <a:cxn ang="0">
                  <a:pos x="234" y="306"/>
                </a:cxn>
              </a:cxnLst>
              <a:rect l="0" t="0" r="r" b="b"/>
              <a:pathLst>
                <a:path w="234" h="313">
                  <a:moveTo>
                    <a:pt x="168" y="174"/>
                  </a:moveTo>
                  <a:cubicBezTo>
                    <a:pt x="168" y="212"/>
                    <a:pt x="152" y="264"/>
                    <a:pt x="105" y="264"/>
                  </a:cubicBezTo>
                  <a:cubicBezTo>
                    <a:pt x="82" y="264"/>
                    <a:pt x="68" y="252"/>
                    <a:pt x="68" y="228"/>
                  </a:cubicBezTo>
                  <a:cubicBezTo>
                    <a:pt x="68" y="183"/>
                    <a:pt x="134" y="174"/>
                    <a:pt x="168" y="174"/>
                  </a:cubicBezTo>
                  <a:close/>
                  <a:moveTo>
                    <a:pt x="234" y="306"/>
                  </a:moveTo>
                  <a:cubicBezTo>
                    <a:pt x="234" y="93"/>
                    <a:pt x="234" y="93"/>
                    <a:pt x="234" y="93"/>
                  </a:cubicBezTo>
                  <a:cubicBezTo>
                    <a:pt x="234" y="24"/>
                    <a:pt x="189" y="0"/>
                    <a:pt x="126" y="0"/>
                  </a:cubicBezTo>
                  <a:cubicBezTo>
                    <a:pt x="63" y="0"/>
                    <a:pt x="12" y="26"/>
                    <a:pt x="12" y="95"/>
                  </a:cubicBezTo>
                  <a:cubicBezTo>
                    <a:pt x="80" y="95"/>
                    <a:pt x="80" y="95"/>
                    <a:pt x="80" y="95"/>
                  </a:cubicBezTo>
                  <a:cubicBezTo>
                    <a:pt x="80" y="65"/>
                    <a:pt x="95" y="49"/>
                    <a:pt x="126" y="49"/>
                  </a:cubicBezTo>
                  <a:cubicBezTo>
                    <a:pt x="160" y="49"/>
                    <a:pt x="168" y="74"/>
                    <a:pt x="168" y="103"/>
                  </a:cubicBezTo>
                  <a:cubicBezTo>
                    <a:pt x="168" y="133"/>
                    <a:pt x="168" y="133"/>
                    <a:pt x="168" y="133"/>
                  </a:cubicBezTo>
                  <a:cubicBezTo>
                    <a:pt x="100" y="135"/>
                    <a:pt x="0" y="144"/>
                    <a:pt x="0" y="234"/>
                  </a:cubicBezTo>
                  <a:cubicBezTo>
                    <a:pt x="0" y="285"/>
                    <a:pt x="41" y="313"/>
                    <a:pt x="88" y="313"/>
                  </a:cubicBezTo>
                  <a:cubicBezTo>
                    <a:pt x="121" y="313"/>
                    <a:pt x="151" y="302"/>
                    <a:pt x="166" y="272"/>
                  </a:cubicBezTo>
                  <a:cubicBezTo>
                    <a:pt x="168" y="272"/>
                    <a:pt x="168" y="272"/>
                    <a:pt x="168" y="272"/>
                  </a:cubicBezTo>
                  <a:cubicBezTo>
                    <a:pt x="168" y="306"/>
                    <a:pt x="168" y="306"/>
                    <a:pt x="168" y="306"/>
                  </a:cubicBezTo>
                  <a:lnTo>
                    <a:pt x="234" y="30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2" name="Freeform 11"/>
            <p:cNvSpPr>
              <a:spLocks/>
            </p:cNvSpPr>
            <p:nvPr userDrawn="1"/>
          </p:nvSpPr>
          <p:spPr bwMode="auto">
            <a:xfrm>
              <a:off x="736600" y="6057901"/>
              <a:ext cx="265113" cy="330200"/>
            </a:xfrm>
            <a:custGeom>
              <a:avLst/>
              <a:gdLst/>
              <a:ahLst/>
              <a:cxnLst>
                <a:cxn ang="0">
                  <a:pos x="177" y="109"/>
                </a:cxn>
                <a:cxn ang="0">
                  <a:pos x="131" y="49"/>
                </a:cxn>
                <a:cxn ang="0">
                  <a:pos x="74" y="131"/>
                </a:cxn>
                <a:cxn ang="0">
                  <a:pos x="197" y="264"/>
                </a:cxn>
                <a:cxn ang="0">
                  <a:pos x="248" y="256"/>
                </a:cxn>
                <a:cxn ang="0">
                  <a:pos x="248" y="299"/>
                </a:cxn>
                <a:cxn ang="0">
                  <a:pos x="160" y="313"/>
                </a:cxn>
                <a:cxn ang="0">
                  <a:pos x="0" y="143"/>
                </a:cxn>
                <a:cxn ang="0">
                  <a:pos x="137" y="0"/>
                </a:cxn>
                <a:cxn ang="0">
                  <a:pos x="251" y="109"/>
                </a:cxn>
                <a:cxn ang="0">
                  <a:pos x="177" y="109"/>
                </a:cxn>
              </a:cxnLst>
              <a:rect l="0" t="0" r="r" b="b"/>
              <a:pathLst>
                <a:path w="251" h="313">
                  <a:moveTo>
                    <a:pt x="177" y="109"/>
                  </a:moveTo>
                  <a:cubicBezTo>
                    <a:pt x="177" y="78"/>
                    <a:pt x="168" y="49"/>
                    <a:pt x="131" y="49"/>
                  </a:cubicBezTo>
                  <a:cubicBezTo>
                    <a:pt x="87" y="49"/>
                    <a:pt x="74" y="95"/>
                    <a:pt x="74" y="131"/>
                  </a:cubicBezTo>
                  <a:cubicBezTo>
                    <a:pt x="74" y="206"/>
                    <a:pt x="118" y="264"/>
                    <a:pt x="197" y="264"/>
                  </a:cubicBezTo>
                  <a:cubicBezTo>
                    <a:pt x="214" y="264"/>
                    <a:pt x="231" y="262"/>
                    <a:pt x="248" y="256"/>
                  </a:cubicBezTo>
                  <a:cubicBezTo>
                    <a:pt x="248" y="299"/>
                    <a:pt x="248" y="299"/>
                    <a:pt x="248" y="299"/>
                  </a:cubicBezTo>
                  <a:cubicBezTo>
                    <a:pt x="219" y="308"/>
                    <a:pt x="190" y="313"/>
                    <a:pt x="160" y="313"/>
                  </a:cubicBezTo>
                  <a:cubicBezTo>
                    <a:pt x="53" y="313"/>
                    <a:pt x="0" y="248"/>
                    <a:pt x="0" y="143"/>
                  </a:cubicBezTo>
                  <a:cubicBezTo>
                    <a:pt x="0" y="56"/>
                    <a:pt x="47" y="0"/>
                    <a:pt x="137" y="0"/>
                  </a:cubicBezTo>
                  <a:cubicBezTo>
                    <a:pt x="210" y="0"/>
                    <a:pt x="251" y="36"/>
                    <a:pt x="251" y="109"/>
                  </a:cubicBezTo>
                  <a:lnTo>
                    <a:pt x="177" y="1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3" name="Freeform 12"/>
            <p:cNvSpPr>
              <a:spLocks/>
            </p:cNvSpPr>
            <p:nvPr userDrawn="1"/>
          </p:nvSpPr>
          <p:spPr bwMode="auto">
            <a:xfrm>
              <a:off x="1019175" y="6057901"/>
              <a:ext cx="265113" cy="330200"/>
            </a:xfrm>
            <a:custGeom>
              <a:avLst/>
              <a:gdLst/>
              <a:ahLst/>
              <a:cxnLst>
                <a:cxn ang="0">
                  <a:pos x="177" y="109"/>
                </a:cxn>
                <a:cxn ang="0">
                  <a:pos x="132" y="49"/>
                </a:cxn>
                <a:cxn ang="0">
                  <a:pos x="74" y="131"/>
                </a:cxn>
                <a:cxn ang="0">
                  <a:pos x="198" y="264"/>
                </a:cxn>
                <a:cxn ang="0">
                  <a:pos x="248" y="256"/>
                </a:cxn>
                <a:cxn ang="0">
                  <a:pos x="248" y="299"/>
                </a:cxn>
                <a:cxn ang="0">
                  <a:pos x="161" y="313"/>
                </a:cxn>
                <a:cxn ang="0">
                  <a:pos x="0" y="143"/>
                </a:cxn>
                <a:cxn ang="0">
                  <a:pos x="137" y="0"/>
                </a:cxn>
                <a:cxn ang="0">
                  <a:pos x="251" y="109"/>
                </a:cxn>
                <a:cxn ang="0">
                  <a:pos x="177" y="109"/>
                </a:cxn>
              </a:cxnLst>
              <a:rect l="0" t="0" r="r" b="b"/>
              <a:pathLst>
                <a:path w="251" h="313">
                  <a:moveTo>
                    <a:pt x="177" y="109"/>
                  </a:moveTo>
                  <a:cubicBezTo>
                    <a:pt x="177" y="78"/>
                    <a:pt x="168" y="49"/>
                    <a:pt x="132" y="49"/>
                  </a:cubicBezTo>
                  <a:cubicBezTo>
                    <a:pt x="88" y="49"/>
                    <a:pt x="74" y="95"/>
                    <a:pt x="74" y="131"/>
                  </a:cubicBezTo>
                  <a:cubicBezTo>
                    <a:pt x="74" y="206"/>
                    <a:pt x="118" y="264"/>
                    <a:pt x="198" y="264"/>
                  </a:cubicBezTo>
                  <a:cubicBezTo>
                    <a:pt x="215" y="264"/>
                    <a:pt x="232" y="262"/>
                    <a:pt x="248" y="256"/>
                  </a:cubicBezTo>
                  <a:cubicBezTo>
                    <a:pt x="248" y="299"/>
                    <a:pt x="248" y="299"/>
                    <a:pt x="248" y="299"/>
                  </a:cubicBezTo>
                  <a:cubicBezTo>
                    <a:pt x="220" y="308"/>
                    <a:pt x="190" y="313"/>
                    <a:pt x="161" y="313"/>
                  </a:cubicBezTo>
                  <a:cubicBezTo>
                    <a:pt x="54" y="313"/>
                    <a:pt x="0" y="248"/>
                    <a:pt x="0" y="143"/>
                  </a:cubicBezTo>
                  <a:cubicBezTo>
                    <a:pt x="0" y="56"/>
                    <a:pt x="47" y="0"/>
                    <a:pt x="137" y="0"/>
                  </a:cubicBezTo>
                  <a:cubicBezTo>
                    <a:pt x="210" y="0"/>
                    <a:pt x="251" y="36"/>
                    <a:pt x="251" y="109"/>
                  </a:cubicBezTo>
                  <a:lnTo>
                    <a:pt x="177" y="1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4" name="Freeform 13"/>
            <p:cNvSpPr>
              <a:spLocks noEditPoints="1"/>
            </p:cNvSpPr>
            <p:nvPr userDrawn="1"/>
          </p:nvSpPr>
          <p:spPr bwMode="auto">
            <a:xfrm>
              <a:off x="1308100" y="6057901"/>
              <a:ext cx="257175" cy="330200"/>
            </a:xfrm>
            <a:custGeom>
              <a:avLst/>
              <a:gdLst/>
              <a:ahLst/>
              <a:cxnLst>
                <a:cxn ang="0">
                  <a:pos x="177" y="96"/>
                </a:cxn>
                <a:cxn ang="0">
                  <a:pos x="67" y="96"/>
                </a:cxn>
                <a:cxn ang="0">
                  <a:pos x="124" y="44"/>
                </a:cxn>
                <a:cxn ang="0">
                  <a:pos x="177" y="96"/>
                </a:cxn>
                <a:cxn ang="0">
                  <a:pos x="243" y="138"/>
                </a:cxn>
                <a:cxn ang="0">
                  <a:pos x="243" y="121"/>
                </a:cxn>
                <a:cxn ang="0">
                  <a:pos x="129" y="0"/>
                </a:cxn>
                <a:cxn ang="0">
                  <a:pos x="0" y="141"/>
                </a:cxn>
                <a:cxn ang="0">
                  <a:pos x="151" y="313"/>
                </a:cxn>
                <a:cxn ang="0">
                  <a:pos x="235" y="301"/>
                </a:cxn>
                <a:cxn ang="0">
                  <a:pos x="235" y="253"/>
                </a:cxn>
                <a:cxn ang="0">
                  <a:pos x="178" y="264"/>
                </a:cxn>
                <a:cxn ang="0">
                  <a:pos x="65" y="138"/>
                </a:cxn>
                <a:cxn ang="0">
                  <a:pos x="243" y="138"/>
                </a:cxn>
              </a:cxnLst>
              <a:rect l="0" t="0" r="r" b="b"/>
              <a:pathLst>
                <a:path w="243" h="313">
                  <a:moveTo>
                    <a:pt x="177" y="96"/>
                  </a:moveTo>
                  <a:cubicBezTo>
                    <a:pt x="67" y="96"/>
                    <a:pt x="67" y="96"/>
                    <a:pt x="67" y="96"/>
                  </a:cubicBezTo>
                  <a:cubicBezTo>
                    <a:pt x="70" y="66"/>
                    <a:pt x="94" y="44"/>
                    <a:pt x="124" y="44"/>
                  </a:cubicBezTo>
                  <a:cubicBezTo>
                    <a:pt x="156" y="44"/>
                    <a:pt x="177" y="64"/>
                    <a:pt x="177" y="96"/>
                  </a:cubicBezTo>
                  <a:close/>
                  <a:moveTo>
                    <a:pt x="243" y="138"/>
                  </a:moveTo>
                  <a:cubicBezTo>
                    <a:pt x="243" y="121"/>
                    <a:pt x="243" y="121"/>
                    <a:pt x="243" y="121"/>
                  </a:cubicBezTo>
                  <a:cubicBezTo>
                    <a:pt x="243" y="48"/>
                    <a:pt x="205" y="0"/>
                    <a:pt x="129" y="0"/>
                  </a:cubicBezTo>
                  <a:cubicBezTo>
                    <a:pt x="39" y="0"/>
                    <a:pt x="0" y="56"/>
                    <a:pt x="0" y="141"/>
                  </a:cubicBezTo>
                  <a:cubicBezTo>
                    <a:pt x="0" y="239"/>
                    <a:pt x="45" y="313"/>
                    <a:pt x="151" y="313"/>
                  </a:cubicBezTo>
                  <a:cubicBezTo>
                    <a:pt x="180" y="313"/>
                    <a:pt x="208" y="310"/>
                    <a:pt x="235" y="301"/>
                  </a:cubicBezTo>
                  <a:cubicBezTo>
                    <a:pt x="235" y="253"/>
                    <a:pt x="235" y="253"/>
                    <a:pt x="235" y="253"/>
                  </a:cubicBezTo>
                  <a:cubicBezTo>
                    <a:pt x="218" y="259"/>
                    <a:pt x="197" y="264"/>
                    <a:pt x="178" y="264"/>
                  </a:cubicBezTo>
                  <a:cubicBezTo>
                    <a:pt x="110" y="264"/>
                    <a:pt x="65" y="202"/>
                    <a:pt x="65" y="138"/>
                  </a:cubicBezTo>
                  <a:lnTo>
                    <a:pt x="243" y="13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5" name="Freeform 14"/>
            <p:cNvSpPr>
              <a:spLocks/>
            </p:cNvSpPr>
            <p:nvPr userDrawn="1"/>
          </p:nvSpPr>
          <p:spPr bwMode="auto">
            <a:xfrm>
              <a:off x="1603375" y="6057901"/>
              <a:ext cx="254000" cy="323850"/>
            </a:xfrm>
            <a:custGeom>
              <a:avLst/>
              <a:gdLst/>
              <a:ahLst/>
              <a:cxnLst>
                <a:cxn ang="0">
                  <a:pos x="171" y="306"/>
                </a:cxn>
                <a:cxn ang="0">
                  <a:pos x="171" y="135"/>
                </a:cxn>
                <a:cxn ang="0">
                  <a:pos x="160" y="71"/>
                </a:cxn>
                <a:cxn ang="0">
                  <a:pos x="140" y="65"/>
                </a:cxn>
                <a:cxn ang="0">
                  <a:pos x="69" y="177"/>
                </a:cxn>
                <a:cxn ang="0">
                  <a:pos x="69" y="306"/>
                </a:cxn>
                <a:cxn ang="0">
                  <a:pos x="0" y="306"/>
                </a:cxn>
                <a:cxn ang="0">
                  <a:pos x="0" y="7"/>
                </a:cxn>
                <a:cxn ang="0">
                  <a:pos x="69" y="7"/>
                </a:cxn>
                <a:cxn ang="0">
                  <a:pos x="69" y="63"/>
                </a:cxn>
                <a:cxn ang="0">
                  <a:pos x="71" y="63"/>
                </a:cxn>
                <a:cxn ang="0">
                  <a:pos x="159" y="0"/>
                </a:cxn>
                <a:cxn ang="0">
                  <a:pos x="241" y="98"/>
                </a:cxn>
                <a:cxn ang="0">
                  <a:pos x="241" y="306"/>
                </a:cxn>
                <a:cxn ang="0">
                  <a:pos x="171" y="306"/>
                </a:cxn>
              </a:cxnLst>
              <a:rect l="0" t="0" r="r" b="b"/>
              <a:pathLst>
                <a:path w="241" h="306">
                  <a:moveTo>
                    <a:pt x="171" y="306"/>
                  </a:moveTo>
                  <a:cubicBezTo>
                    <a:pt x="171" y="135"/>
                    <a:pt x="171" y="135"/>
                    <a:pt x="171" y="135"/>
                  </a:cubicBezTo>
                  <a:cubicBezTo>
                    <a:pt x="171" y="120"/>
                    <a:pt x="172" y="82"/>
                    <a:pt x="160" y="71"/>
                  </a:cubicBezTo>
                  <a:cubicBezTo>
                    <a:pt x="155" y="66"/>
                    <a:pt x="147" y="65"/>
                    <a:pt x="140" y="65"/>
                  </a:cubicBezTo>
                  <a:cubicBezTo>
                    <a:pt x="90" y="65"/>
                    <a:pt x="69" y="136"/>
                    <a:pt x="69" y="177"/>
                  </a:cubicBezTo>
                  <a:cubicBezTo>
                    <a:pt x="69" y="306"/>
                    <a:pt x="69" y="306"/>
                    <a:pt x="69" y="306"/>
                  </a:cubicBezTo>
                  <a:cubicBezTo>
                    <a:pt x="0" y="306"/>
                    <a:pt x="0" y="306"/>
                    <a:pt x="0" y="306"/>
                  </a:cubicBezTo>
                  <a:cubicBezTo>
                    <a:pt x="0" y="7"/>
                    <a:pt x="0" y="7"/>
                    <a:pt x="0" y="7"/>
                  </a:cubicBezTo>
                  <a:cubicBezTo>
                    <a:pt x="69" y="7"/>
                    <a:pt x="69" y="7"/>
                    <a:pt x="69" y="7"/>
                  </a:cubicBezTo>
                  <a:cubicBezTo>
                    <a:pt x="69" y="63"/>
                    <a:pt x="69" y="63"/>
                    <a:pt x="69" y="63"/>
                  </a:cubicBezTo>
                  <a:cubicBezTo>
                    <a:pt x="71" y="63"/>
                    <a:pt x="71" y="63"/>
                    <a:pt x="71" y="63"/>
                  </a:cubicBezTo>
                  <a:cubicBezTo>
                    <a:pt x="86" y="24"/>
                    <a:pt x="117" y="0"/>
                    <a:pt x="159" y="0"/>
                  </a:cubicBezTo>
                  <a:cubicBezTo>
                    <a:pt x="217" y="0"/>
                    <a:pt x="241" y="47"/>
                    <a:pt x="241" y="98"/>
                  </a:cubicBezTo>
                  <a:cubicBezTo>
                    <a:pt x="241" y="306"/>
                    <a:pt x="241" y="306"/>
                    <a:pt x="241" y="306"/>
                  </a:cubicBezTo>
                  <a:lnTo>
                    <a:pt x="171" y="30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6" name="Freeform 15"/>
            <p:cNvSpPr>
              <a:spLocks/>
            </p:cNvSpPr>
            <p:nvPr userDrawn="1"/>
          </p:nvSpPr>
          <p:spPr bwMode="auto">
            <a:xfrm>
              <a:off x="1874838" y="5959476"/>
              <a:ext cx="228600" cy="428625"/>
            </a:xfrm>
            <a:custGeom>
              <a:avLst/>
              <a:gdLst/>
              <a:ahLst/>
              <a:cxnLst>
                <a:cxn ang="0">
                  <a:pos x="128" y="148"/>
                </a:cxn>
                <a:cxn ang="0">
                  <a:pos x="128" y="290"/>
                </a:cxn>
                <a:cxn ang="0">
                  <a:pos x="175" y="357"/>
                </a:cxn>
                <a:cxn ang="0">
                  <a:pos x="207" y="352"/>
                </a:cxn>
                <a:cxn ang="0">
                  <a:pos x="207" y="401"/>
                </a:cxn>
                <a:cxn ang="0">
                  <a:pos x="150" y="406"/>
                </a:cxn>
                <a:cxn ang="0">
                  <a:pos x="58" y="324"/>
                </a:cxn>
                <a:cxn ang="0">
                  <a:pos x="58" y="148"/>
                </a:cxn>
                <a:cxn ang="0">
                  <a:pos x="0" y="148"/>
                </a:cxn>
                <a:cxn ang="0">
                  <a:pos x="0" y="100"/>
                </a:cxn>
                <a:cxn ang="0">
                  <a:pos x="58" y="100"/>
                </a:cxn>
                <a:cxn ang="0">
                  <a:pos x="58" y="28"/>
                </a:cxn>
                <a:cxn ang="0">
                  <a:pos x="128" y="0"/>
                </a:cxn>
                <a:cxn ang="0">
                  <a:pos x="128" y="100"/>
                </a:cxn>
                <a:cxn ang="0">
                  <a:pos x="217" y="100"/>
                </a:cxn>
                <a:cxn ang="0">
                  <a:pos x="217" y="148"/>
                </a:cxn>
                <a:cxn ang="0">
                  <a:pos x="128" y="148"/>
                </a:cxn>
              </a:cxnLst>
              <a:rect l="0" t="0" r="r" b="b"/>
              <a:pathLst>
                <a:path w="217" h="406">
                  <a:moveTo>
                    <a:pt x="128" y="148"/>
                  </a:moveTo>
                  <a:cubicBezTo>
                    <a:pt x="128" y="290"/>
                    <a:pt x="128" y="290"/>
                    <a:pt x="128" y="290"/>
                  </a:cubicBezTo>
                  <a:cubicBezTo>
                    <a:pt x="128" y="325"/>
                    <a:pt x="132" y="357"/>
                    <a:pt x="175" y="357"/>
                  </a:cubicBezTo>
                  <a:cubicBezTo>
                    <a:pt x="186" y="357"/>
                    <a:pt x="197" y="354"/>
                    <a:pt x="207" y="352"/>
                  </a:cubicBezTo>
                  <a:cubicBezTo>
                    <a:pt x="207" y="401"/>
                    <a:pt x="207" y="401"/>
                    <a:pt x="207" y="401"/>
                  </a:cubicBezTo>
                  <a:cubicBezTo>
                    <a:pt x="188" y="404"/>
                    <a:pt x="169" y="406"/>
                    <a:pt x="150" y="406"/>
                  </a:cubicBezTo>
                  <a:cubicBezTo>
                    <a:pt x="89" y="406"/>
                    <a:pt x="58" y="386"/>
                    <a:pt x="58" y="324"/>
                  </a:cubicBezTo>
                  <a:cubicBezTo>
                    <a:pt x="58" y="148"/>
                    <a:pt x="58" y="148"/>
                    <a:pt x="58" y="148"/>
                  </a:cubicBezTo>
                  <a:cubicBezTo>
                    <a:pt x="0" y="148"/>
                    <a:pt x="0" y="148"/>
                    <a:pt x="0" y="148"/>
                  </a:cubicBezTo>
                  <a:cubicBezTo>
                    <a:pt x="0" y="100"/>
                    <a:pt x="0" y="100"/>
                    <a:pt x="0" y="100"/>
                  </a:cubicBezTo>
                  <a:cubicBezTo>
                    <a:pt x="58" y="100"/>
                    <a:pt x="58" y="100"/>
                    <a:pt x="58" y="100"/>
                  </a:cubicBezTo>
                  <a:cubicBezTo>
                    <a:pt x="58" y="28"/>
                    <a:pt x="58" y="28"/>
                    <a:pt x="58" y="28"/>
                  </a:cubicBezTo>
                  <a:cubicBezTo>
                    <a:pt x="128" y="0"/>
                    <a:pt x="128" y="0"/>
                    <a:pt x="128" y="0"/>
                  </a:cubicBezTo>
                  <a:cubicBezTo>
                    <a:pt x="128" y="100"/>
                    <a:pt x="128" y="100"/>
                    <a:pt x="128" y="100"/>
                  </a:cubicBezTo>
                  <a:cubicBezTo>
                    <a:pt x="217" y="100"/>
                    <a:pt x="217" y="100"/>
                    <a:pt x="217" y="100"/>
                  </a:cubicBezTo>
                  <a:cubicBezTo>
                    <a:pt x="217" y="148"/>
                    <a:pt x="217" y="148"/>
                    <a:pt x="217" y="148"/>
                  </a:cubicBezTo>
                  <a:lnTo>
                    <a:pt x="128" y="14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7" name="Freeform 16"/>
            <p:cNvSpPr>
              <a:spLocks/>
            </p:cNvSpPr>
            <p:nvPr userDrawn="1"/>
          </p:nvSpPr>
          <p:spPr bwMode="auto">
            <a:xfrm>
              <a:off x="2136775" y="6064251"/>
              <a:ext cx="254000" cy="323850"/>
            </a:xfrm>
            <a:custGeom>
              <a:avLst/>
              <a:gdLst/>
              <a:ahLst/>
              <a:cxnLst>
                <a:cxn ang="0">
                  <a:pos x="171" y="299"/>
                </a:cxn>
                <a:cxn ang="0">
                  <a:pos x="171" y="243"/>
                </a:cxn>
                <a:cxn ang="0">
                  <a:pos x="170" y="243"/>
                </a:cxn>
                <a:cxn ang="0">
                  <a:pos x="81" y="306"/>
                </a:cxn>
                <a:cxn ang="0">
                  <a:pos x="0" y="207"/>
                </a:cxn>
                <a:cxn ang="0">
                  <a:pos x="0" y="0"/>
                </a:cxn>
                <a:cxn ang="0">
                  <a:pos x="70" y="0"/>
                </a:cxn>
                <a:cxn ang="0">
                  <a:pos x="70" y="171"/>
                </a:cxn>
                <a:cxn ang="0">
                  <a:pos x="80" y="235"/>
                </a:cxn>
                <a:cxn ang="0">
                  <a:pos x="100" y="241"/>
                </a:cxn>
                <a:cxn ang="0">
                  <a:pos x="171" y="129"/>
                </a:cxn>
                <a:cxn ang="0">
                  <a:pos x="171" y="0"/>
                </a:cxn>
                <a:cxn ang="0">
                  <a:pos x="241" y="0"/>
                </a:cxn>
                <a:cxn ang="0">
                  <a:pos x="241" y="299"/>
                </a:cxn>
                <a:cxn ang="0">
                  <a:pos x="171" y="299"/>
                </a:cxn>
              </a:cxnLst>
              <a:rect l="0" t="0" r="r" b="b"/>
              <a:pathLst>
                <a:path w="241" h="306">
                  <a:moveTo>
                    <a:pt x="171" y="299"/>
                  </a:moveTo>
                  <a:cubicBezTo>
                    <a:pt x="171" y="243"/>
                    <a:pt x="171" y="243"/>
                    <a:pt x="171" y="243"/>
                  </a:cubicBezTo>
                  <a:cubicBezTo>
                    <a:pt x="170" y="243"/>
                    <a:pt x="170" y="243"/>
                    <a:pt x="170" y="243"/>
                  </a:cubicBezTo>
                  <a:cubicBezTo>
                    <a:pt x="154" y="281"/>
                    <a:pt x="123" y="306"/>
                    <a:pt x="81" y="306"/>
                  </a:cubicBezTo>
                  <a:cubicBezTo>
                    <a:pt x="24" y="306"/>
                    <a:pt x="0" y="259"/>
                    <a:pt x="0" y="207"/>
                  </a:cubicBezTo>
                  <a:cubicBezTo>
                    <a:pt x="0" y="0"/>
                    <a:pt x="0" y="0"/>
                    <a:pt x="0" y="0"/>
                  </a:cubicBezTo>
                  <a:cubicBezTo>
                    <a:pt x="70" y="0"/>
                    <a:pt x="70" y="0"/>
                    <a:pt x="70" y="0"/>
                  </a:cubicBezTo>
                  <a:cubicBezTo>
                    <a:pt x="70" y="171"/>
                    <a:pt x="70" y="171"/>
                    <a:pt x="70" y="171"/>
                  </a:cubicBezTo>
                  <a:cubicBezTo>
                    <a:pt x="70" y="185"/>
                    <a:pt x="68" y="224"/>
                    <a:pt x="80" y="235"/>
                  </a:cubicBezTo>
                  <a:cubicBezTo>
                    <a:pt x="85" y="240"/>
                    <a:pt x="94" y="241"/>
                    <a:pt x="100" y="241"/>
                  </a:cubicBezTo>
                  <a:cubicBezTo>
                    <a:pt x="151" y="241"/>
                    <a:pt x="171" y="170"/>
                    <a:pt x="171" y="129"/>
                  </a:cubicBezTo>
                  <a:cubicBezTo>
                    <a:pt x="171" y="0"/>
                    <a:pt x="171" y="0"/>
                    <a:pt x="171" y="0"/>
                  </a:cubicBezTo>
                  <a:cubicBezTo>
                    <a:pt x="241" y="0"/>
                    <a:pt x="241" y="0"/>
                    <a:pt x="241" y="0"/>
                  </a:cubicBezTo>
                  <a:cubicBezTo>
                    <a:pt x="241" y="299"/>
                    <a:pt x="241" y="299"/>
                    <a:pt x="241" y="299"/>
                  </a:cubicBezTo>
                  <a:lnTo>
                    <a:pt x="171" y="29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8" name="Freeform 17"/>
            <p:cNvSpPr>
              <a:spLocks/>
            </p:cNvSpPr>
            <p:nvPr userDrawn="1"/>
          </p:nvSpPr>
          <p:spPr bwMode="auto">
            <a:xfrm>
              <a:off x="2436813" y="6057901"/>
              <a:ext cx="177800" cy="323850"/>
            </a:xfrm>
            <a:custGeom>
              <a:avLst/>
              <a:gdLst/>
              <a:ahLst/>
              <a:cxnLst>
                <a:cxn ang="0">
                  <a:pos x="70" y="175"/>
                </a:cxn>
                <a:cxn ang="0">
                  <a:pos x="70" y="306"/>
                </a:cxn>
                <a:cxn ang="0">
                  <a:pos x="0" y="306"/>
                </a:cxn>
                <a:cxn ang="0">
                  <a:pos x="0" y="7"/>
                </a:cxn>
                <a:cxn ang="0">
                  <a:pos x="70" y="7"/>
                </a:cxn>
                <a:cxn ang="0">
                  <a:pos x="70" y="62"/>
                </a:cxn>
                <a:cxn ang="0">
                  <a:pos x="71" y="62"/>
                </a:cxn>
                <a:cxn ang="0">
                  <a:pos x="168" y="0"/>
                </a:cxn>
                <a:cxn ang="0">
                  <a:pos x="168" y="73"/>
                </a:cxn>
                <a:cxn ang="0">
                  <a:pos x="70" y="175"/>
                </a:cxn>
              </a:cxnLst>
              <a:rect l="0" t="0" r="r" b="b"/>
              <a:pathLst>
                <a:path w="168" h="306">
                  <a:moveTo>
                    <a:pt x="70" y="175"/>
                  </a:moveTo>
                  <a:cubicBezTo>
                    <a:pt x="70" y="306"/>
                    <a:pt x="70" y="306"/>
                    <a:pt x="70" y="306"/>
                  </a:cubicBezTo>
                  <a:cubicBezTo>
                    <a:pt x="0" y="306"/>
                    <a:pt x="0" y="306"/>
                    <a:pt x="0" y="306"/>
                  </a:cubicBezTo>
                  <a:cubicBezTo>
                    <a:pt x="0" y="7"/>
                    <a:pt x="0" y="7"/>
                    <a:pt x="0" y="7"/>
                  </a:cubicBezTo>
                  <a:cubicBezTo>
                    <a:pt x="70" y="7"/>
                    <a:pt x="70" y="7"/>
                    <a:pt x="70" y="7"/>
                  </a:cubicBezTo>
                  <a:cubicBezTo>
                    <a:pt x="70" y="62"/>
                    <a:pt x="70" y="62"/>
                    <a:pt x="70" y="62"/>
                  </a:cubicBezTo>
                  <a:cubicBezTo>
                    <a:pt x="71" y="62"/>
                    <a:pt x="71" y="62"/>
                    <a:pt x="71" y="62"/>
                  </a:cubicBezTo>
                  <a:cubicBezTo>
                    <a:pt x="94" y="20"/>
                    <a:pt x="118" y="0"/>
                    <a:pt x="168" y="0"/>
                  </a:cubicBezTo>
                  <a:cubicBezTo>
                    <a:pt x="168" y="73"/>
                    <a:pt x="168" y="73"/>
                    <a:pt x="168" y="73"/>
                  </a:cubicBezTo>
                  <a:cubicBezTo>
                    <a:pt x="96" y="73"/>
                    <a:pt x="70" y="104"/>
                    <a:pt x="70" y="17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9" name="Freeform 18"/>
            <p:cNvSpPr>
              <a:spLocks noEditPoints="1"/>
            </p:cNvSpPr>
            <p:nvPr userDrawn="1"/>
          </p:nvSpPr>
          <p:spPr bwMode="auto">
            <a:xfrm>
              <a:off x="2628900" y="6057901"/>
              <a:ext cx="255588" cy="330200"/>
            </a:xfrm>
            <a:custGeom>
              <a:avLst/>
              <a:gdLst/>
              <a:ahLst/>
              <a:cxnLst>
                <a:cxn ang="0">
                  <a:pos x="176" y="96"/>
                </a:cxn>
                <a:cxn ang="0">
                  <a:pos x="67" y="96"/>
                </a:cxn>
                <a:cxn ang="0">
                  <a:pos x="123" y="44"/>
                </a:cxn>
                <a:cxn ang="0">
                  <a:pos x="176" y="96"/>
                </a:cxn>
                <a:cxn ang="0">
                  <a:pos x="242" y="138"/>
                </a:cxn>
                <a:cxn ang="0">
                  <a:pos x="242" y="121"/>
                </a:cxn>
                <a:cxn ang="0">
                  <a:pos x="128" y="0"/>
                </a:cxn>
                <a:cxn ang="0">
                  <a:pos x="0" y="141"/>
                </a:cxn>
                <a:cxn ang="0">
                  <a:pos x="151" y="313"/>
                </a:cxn>
                <a:cxn ang="0">
                  <a:pos x="235" y="301"/>
                </a:cxn>
                <a:cxn ang="0">
                  <a:pos x="235" y="253"/>
                </a:cxn>
                <a:cxn ang="0">
                  <a:pos x="177" y="264"/>
                </a:cxn>
                <a:cxn ang="0">
                  <a:pos x="65" y="138"/>
                </a:cxn>
                <a:cxn ang="0">
                  <a:pos x="242" y="138"/>
                </a:cxn>
              </a:cxnLst>
              <a:rect l="0" t="0" r="r" b="b"/>
              <a:pathLst>
                <a:path w="242" h="313">
                  <a:moveTo>
                    <a:pt x="176" y="96"/>
                  </a:moveTo>
                  <a:cubicBezTo>
                    <a:pt x="67" y="96"/>
                    <a:pt x="67" y="96"/>
                    <a:pt x="67" y="96"/>
                  </a:cubicBezTo>
                  <a:cubicBezTo>
                    <a:pt x="70" y="66"/>
                    <a:pt x="93" y="44"/>
                    <a:pt x="123" y="44"/>
                  </a:cubicBezTo>
                  <a:cubicBezTo>
                    <a:pt x="155" y="44"/>
                    <a:pt x="176" y="64"/>
                    <a:pt x="176" y="96"/>
                  </a:cubicBezTo>
                  <a:close/>
                  <a:moveTo>
                    <a:pt x="242" y="138"/>
                  </a:moveTo>
                  <a:cubicBezTo>
                    <a:pt x="242" y="121"/>
                    <a:pt x="242" y="121"/>
                    <a:pt x="242" y="121"/>
                  </a:cubicBezTo>
                  <a:cubicBezTo>
                    <a:pt x="242" y="48"/>
                    <a:pt x="204" y="0"/>
                    <a:pt x="128" y="0"/>
                  </a:cubicBezTo>
                  <a:cubicBezTo>
                    <a:pt x="39" y="0"/>
                    <a:pt x="0" y="56"/>
                    <a:pt x="0" y="141"/>
                  </a:cubicBezTo>
                  <a:cubicBezTo>
                    <a:pt x="0" y="239"/>
                    <a:pt x="45" y="313"/>
                    <a:pt x="151" y="313"/>
                  </a:cubicBezTo>
                  <a:cubicBezTo>
                    <a:pt x="179" y="313"/>
                    <a:pt x="208" y="310"/>
                    <a:pt x="235" y="301"/>
                  </a:cubicBezTo>
                  <a:cubicBezTo>
                    <a:pt x="235" y="253"/>
                    <a:pt x="235" y="253"/>
                    <a:pt x="235" y="253"/>
                  </a:cubicBezTo>
                  <a:cubicBezTo>
                    <a:pt x="217" y="259"/>
                    <a:pt x="196" y="264"/>
                    <a:pt x="177" y="264"/>
                  </a:cubicBezTo>
                  <a:cubicBezTo>
                    <a:pt x="109" y="264"/>
                    <a:pt x="65" y="202"/>
                    <a:pt x="65" y="138"/>
                  </a:cubicBezTo>
                  <a:lnTo>
                    <a:pt x="242" y="13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60" name="Freeform 19"/>
            <p:cNvSpPr>
              <a:spLocks/>
            </p:cNvSpPr>
            <p:nvPr userDrawn="1"/>
          </p:nvSpPr>
          <p:spPr bwMode="auto">
            <a:xfrm>
              <a:off x="1874838" y="5692776"/>
              <a:ext cx="228600" cy="234950"/>
            </a:xfrm>
            <a:custGeom>
              <a:avLst/>
              <a:gdLst/>
              <a:ahLst/>
              <a:cxnLst>
                <a:cxn ang="0">
                  <a:pos x="0" y="0"/>
                </a:cxn>
                <a:cxn ang="0">
                  <a:pos x="0" y="7"/>
                </a:cxn>
                <a:cxn ang="0">
                  <a:pos x="0" y="49"/>
                </a:cxn>
                <a:cxn ang="0">
                  <a:pos x="159" y="111"/>
                </a:cxn>
                <a:cxn ang="0">
                  <a:pos x="0" y="173"/>
                </a:cxn>
                <a:cxn ang="0">
                  <a:pos x="0" y="222"/>
                </a:cxn>
                <a:cxn ang="0">
                  <a:pos x="217" y="134"/>
                </a:cxn>
                <a:cxn ang="0">
                  <a:pos x="217" y="88"/>
                </a:cxn>
                <a:cxn ang="0">
                  <a:pos x="0" y="0"/>
                </a:cxn>
              </a:cxnLst>
              <a:rect l="0" t="0" r="r" b="b"/>
              <a:pathLst>
                <a:path w="217" h="222">
                  <a:moveTo>
                    <a:pt x="0" y="0"/>
                  </a:moveTo>
                  <a:cubicBezTo>
                    <a:pt x="0" y="7"/>
                    <a:pt x="0" y="7"/>
                    <a:pt x="0" y="7"/>
                  </a:cubicBezTo>
                  <a:cubicBezTo>
                    <a:pt x="0" y="49"/>
                    <a:pt x="0" y="49"/>
                    <a:pt x="0" y="49"/>
                  </a:cubicBezTo>
                  <a:cubicBezTo>
                    <a:pt x="0" y="49"/>
                    <a:pt x="139" y="103"/>
                    <a:pt x="159" y="111"/>
                  </a:cubicBezTo>
                  <a:cubicBezTo>
                    <a:pt x="139" y="119"/>
                    <a:pt x="0" y="173"/>
                    <a:pt x="0" y="173"/>
                  </a:cubicBezTo>
                  <a:cubicBezTo>
                    <a:pt x="0" y="222"/>
                    <a:pt x="0" y="222"/>
                    <a:pt x="0" y="222"/>
                  </a:cubicBezTo>
                  <a:cubicBezTo>
                    <a:pt x="217" y="134"/>
                    <a:pt x="217" y="134"/>
                    <a:pt x="217" y="134"/>
                  </a:cubicBezTo>
                  <a:cubicBezTo>
                    <a:pt x="217" y="88"/>
                    <a:pt x="217" y="88"/>
                    <a:pt x="217" y="88"/>
                  </a:cubicBezTo>
                  <a:lnTo>
                    <a:pt x="0" y="0"/>
                  </a:lnTo>
                  <a:close/>
                </a:path>
              </a:pathLst>
            </a:custGeom>
            <a:solidFill>
              <a:srgbClr val="AA1133"/>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grpSp>
      <p:pic>
        <p:nvPicPr>
          <p:cNvPr id="23" name="Picture 22" descr="Acc_StrategyLine_English_wht_RGB.png"/>
          <p:cNvPicPr>
            <a:picLocks noChangeAspect="1"/>
          </p:cNvPicPr>
          <p:nvPr userDrawn="1"/>
        </p:nvPicPr>
        <p:blipFill>
          <a:blip r:embed="rId3" cstate="print"/>
          <a:stretch>
            <a:fillRect/>
          </a:stretch>
        </p:blipFill>
        <p:spPr>
          <a:xfrm>
            <a:off x="6190046" y="6276459"/>
            <a:ext cx="2523744" cy="178096"/>
          </a:xfrm>
          <a:prstGeom prst="rect">
            <a:avLst/>
          </a:prstGeom>
        </p:spPr>
      </p:pic>
    </p:spTree>
    <p:extLst>
      <p:ext uri="{BB962C8B-B14F-4D97-AF65-F5344CB8AC3E}">
        <p14:creationId xmlns:p14="http://schemas.microsoft.com/office/powerpoint/2010/main" val="136695795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itle and Text Slide">
    <p:spTree>
      <p:nvGrpSpPr>
        <p:cNvPr id="1" name=""/>
        <p:cNvGrpSpPr/>
        <p:nvPr/>
      </p:nvGrpSpPr>
      <p:grpSpPr>
        <a:xfrm>
          <a:off x="0" y="0"/>
          <a:ext cx="0" cy="0"/>
          <a:chOff x="0" y="0"/>
          <a:chExt cx="0" cy="0"/>
        </a:xfrm>
      </p:grpSpPr>
      <p:cxnSp>
        <p:nvCxnSpPr>
          <p:cNvPr id="17" name="Straight Connector 16"/>
          <p:cNvCxnSpPr/>
          <p:nvPr userDrawn="1"/>
        </p:nvCxnSpPr>
        <p:spPr>
          <a:xfrm>
            <a:off x="444627" y="1017588"/>
            <a:ext cx="869461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
        <p:nvSpPr>
          <p:cNvPr id="5" name="Rectangle 7"/>
          <p:cNvSpPr txBox="1">
            <a:spLocks noChangeArrowheads="1"/>
          </p:cNvSpPr>
          <p:nvPr userDrawn="1"/>
        </p:nvSpPr>
        <p:spPr>
          <a:xfrm>
            <a:off x="7444154" y="6597651"/>
            <a:ext cx="1693985" cy="269875"/>
          </a:xfrm>
          <a:prstGeom prst="rect">
            <a:avLst/>
          </a:prstGeom>
          <a:ln/>
        </p:spPr>
        <p:txBody>
          <a:bodyPr/>
          <a:lstStyle>
            <a:defPPr>
              <a:defRPr lang="en-US"/>
            </a:defPPr>
            <a:lvl1pPr algn="r" rtl="0" fontAlgn="base">
              <a:spcBef>
                <a:spcPct val="0"/>
              </a:spcBef>
              <a:spcAft>
                <a:spcPct val="0"/>
              </a:spcAft>
              <a:defRPr sz="10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defRPr/>
            </a:pPr>
            <a:fld id="{F46C8E8C-1F1A-46DA-8413-ADD73B8B95FA}" type="slidenum">
              <a:rPr lang="en-US" smtClean="0">
                <a:solidFill>
                  <a:prstClr val="black"/>
                </a:solidFill>
              </a:rPr>
              <a:pPr>
                <a:defRPr/>
              </a:pPr>
              <a:t>‹#›</a:t>
            </a:fld>
            <a:endParaRPr lang="en-US">
              <a:solidFill>
                <a:prstClr val="black"/>
              </a:solidFill>
            </a:endParaRPr>
          </a:p>
        </p:txBody>
      </p:sp>
      <p:sp>
        <p:nvSpPr>
          <p:cNvPr id="6" name="TextBox 5"/>
          <p:cNvSpPr txBox="1"/>
          <p:nvPr userDrawn="1"/>
        </p:nvSpPr>
        <p:spPr>
          <a:xfrm>
            <a:off x="448515" y="6571942"/>
            <a:ext cx="2626681" cy="230832"/>
          </a:xfrm>
          <a:prstGeom prst="rect">
            <a:avLst/>
          </a:prstGeom>
          <a:noFill/>
        </p:spPr>
        <p:txBody>
          <a:bodyPr wrap="none" lIns="0">
            <a:spAutoFit/>
          </a:bodyPr>
          <a:lstStyle/>
          <a:p>
            <a:pPr algn="ctr">
              <a:defRPr/>
            </a:pPr>
            <a:r>
              <a:rPr lang="en-US" sz="900" dirty="0">
                <a:solidFill>
                  <a:srgbClr val="000000"/>
                </a:solidFill>
              </a:rPr>
              <a:t>Copyright © </a:t>
            </a:r>
            <a:r>
              <a:rPr lang="en-US" sz="900" dirty="0" smtClean="0">
                <a:solidFill>
                  <a:srgbClr val="000000"/>
                </a:solidFill>
              </a:rPr>
              <a:t>2012 </a:t>
            </a:r>
            <a:r>
              <a:rPr lang="en-US" sz="900" dirty="0">
                <a:solidFill>
                  <a:srgbClr val="000000"/>
                </a:solidFill>
              </a:rPr>
              <a:t>Accenture  All rights reserved.</a:t>
            </a:r>
          </a:p>
        </p:txBody>
      </p:sp>
    </p:spTree>
    <p:extLst>
      <p:ext uri="{BB962C8B-B14F-4D97-AF65-F5344CB8AC3E}">
        <p14:creationId xmlns:p14="http://schemas.microsoft.com/office/powerpoint/2010/main" val="151918545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47330" y="113919"/>
            <a:ext cx="8229600" cy="783654"/>
          </a:xfrm>
          <a:prstGeom prst="rect">
            <a:avLst/>
          </a:prstGeom>
        </p:spPr>
        <p:txBody>
          <a:bodyPr lIns="0" bIns="0" anchor="b" anchorCtr="0"/>
          <a:lstStyle>
            <a:lvl1pPr>
              <a:lnSpc>
                <a:spcPts val="2600"/>
              </a:lnSpc>
              <a:defRPr sz="2600" spc="-100" baseline="0">
                <a:solidFill>
                  <a:srgbClr val="003344"/>
                </a:solidFill>
              </a:defRPr>
            </a:lvl1pPr>
          </a:lstStyle>
          <a:p>
            <a:r>
              <a:rPr lang="en-US" dirty="0" smtClean="0"/>
              <a:t>Click to edit Master text styles</a:t>
            </a:r>
            <a:endParaRPr lang="en-US" dirty="0"/>
          </a:p>
        </p:txBody>
      </p:sp>
      <p:cxnSp>
        <p:nvCxnSpPr>
          <p:cNvPr id="11" name="Straight Connector 10"/>
          <p:cNvCxnSpPr/>
          <p:nvPr userDrawn="1"/>
        </p:nvCxnSpPr>
        <p:spPr>
          <a:xfrm>
            <a:off x="444627" y="1017588"/>
            <a:ext cx="86946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p:nvPr>
        </p:nvSpPr>
        <p:spPr>
          <a:xfrm>
            <a:off x="444501" y="1127125"/>
            <a:ext cx="8251824" cy="435345"/>
          </a:xfrm>
          <a:prstGeom prst="rect">
            <a:avLst/>
          </a:prstGeom>
        </p:spPr>
        <p:txBody>
          <a:bodyPr lIns="0"/>
          <a:lstStyle>
            <a:lvl1pPr>
              <a:defRPr sz="2600">
                <a:solidFill>
                  <a:srgbClr val="88DD00"/>
                </a:solidFill>
              </a:defRPr>
            </a:lvl1pPr>
            <a:lvl2pPr>
              <a:defRPr sz="2600"/>
            </a:lvl2pPr>
            <a:lvl3pPr>
              <a:defRPr sz="2400"/>
            </a:lvl3pPr>
            <a:lvl4pPr>
              <a:defRPr sz="2200"/>
            </a:lvl4pPr>
            <a:lvl5pPr>
              <a:defRPr sz="2000"/>
            </a:lvl5pPr>
          </a:lstStyle>
          <a:p>
            <a:pPr lvl="0"/>
            <a:r>
              <a:rPr lang="en-US" smtClean="0"/>
              <a:t>Click to edit Master text styles</a:t>
            </a:r>
          </a:p>
        </p:txBody>
      </p:sp>
      <p:sp>
        <p:nvSpPr>
          <p:cNvPr id="22" name="Content Placeholder 21"/>
          <p:cNvSpPr>
            <a:spLocks noGrp="1"/>
          </p:cNvSpPr>
          <p:nvPr>
            <p:ph sz="quarter" idx="11"/>
          </p:nvPr>
        </p:nvSpPr>
        <p:spPr>
          <a:xfrm>
            <a:off x="444627" y="1569910"/>
            <a:ext cx="8251698" cy="4856290"/>
          </a:xfrm>
          <a:prstGeom prst="rect">
            <a:avLst/>
          </a:prstGeom>
        </p:spPr>
        <p:txBody>
          <a:bodyPr lIns="0"/>
          <a:lstStyle>
            <a:lvl1pPr marL="266700" indent="-266700">
              <a:buFont typeface="Arial" pitchFamily="34" charset="0"/>
              <a:buChar char="•"/>
              <a:defRPr sz="2600">
                <a:solidFill>
                  <a:srgbClr val="778888"/>
                </a:solidFill>
              </a:defRPr>
            </a:lvl1pPr>
            <a:lvl2pPr marL="266700" indent="-266700">
              <a:buFont typeface="Arial" pitchFamily="34" charset="0"/>
              <a:buChar char="−"/>
              <a:defRPr sz="2400">
                <a:solidFill>
                  <a:srgbClr val="778888"/>
                </a:solidFill>
              </a:defRPr>
            </a:lvl2pPr>
            <a:lvl3pPr marL="266700" indent="-266700">
              <a:buFont typeface="Arial" pitchFamily="34" charset="0"/>
              <a:buChar char="•"/>
              <a:defRPr sz="2200"/>
            </a:lvl3pPr>
            <a:lvl4pPr marL="266700" indent="-266700">
              <a:buFont typeface="Arial" pitchFamily="34" charset="0"/>
              <a:buChar char="−"/>
              <a:defRPr sz="2000"/>
            </a:lvl4pPr>
            <a:lvl5pPr>
              <a:defRPr sz="2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3" name="Slide Number Placeholder 4"/>
          <p:cNvSpPr>
            <a:spLocks noGrp="1"/>
          </p:cNvSpPr>
          <p:nvPr>
            <p:ph type="sldNum" sz="quarter" idx="4"/>
          </p:nvPr>
        </p:nvSpPr>
        <p:spPr>
          <a:xfrm>
            <a:off x="8159750" y="6571942"/>
            <a:ext cx="536575" cy="246062"/>
          </a:xfrm>
          <a:prstGeom prst="rect">
            <a:avLst/>
          </a:prstGeom>
        </p:spPr>
        <p:txBody>
          <a:bodyPr vert="horz" wrap="square" lIns="91440" tIns="45720" rIns="0" bIns="45720" numCol="1" anchor="ctr" anchorCtr="0" compatLnSpc="1">
            <a:prstTxWarp prst="textNoShape">
              <a:avLst/>
            </a:prstTxWarp>
          </a:bodyPr>
          <a:lstStyle>
            <a:lvl1pPr algn="r">
              <a:defRPr sz="900"/>
            </a:lvl1p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882688958"/>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and Text Slide">
    <p:spTree>
      <p:nvGrpSpPr>
        <p:cNvPr id="1" name=""/>
        <p:cNvGrpSpPr/>
        <p:nvPr/>
      </p:nvGrpSpPr>
      <p:grpSpPr>
        <a:xfrm>
          <a:off x="0" y="0"/>
          <a:ext cx="0" cy="0"/>
          <a:chOff x="0" y="0"/>
          <a:chExt cx="0" cy="0"/>
        </a:xfrm>
      </p:grpSpPr>
      <p:cxnSp>
        <p:nvCxnSpPr>
          <p:cNvPr id="14" name="Straight Connector 13"/>
          <p:cNvCxnSpPr/>
          <p:nvPr userDrawn="1"/>
        </p:nvCxnSpPr>
        <p:spPr>
          <a:xfrm>
            <a:off x="444627" y="1017588"/>
            <a:ext cx="869461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
        <p:nvSpPr>
          <p:cNvPr id="5" name="Rectangle 7"/>
          <p:cNvSpPr txBox="1">
            <a:spLocks noChangeArrowheads="1"/>
          </p:cNvSpPr>
          <p:nvPr userDrawn="1"/>
        </p:nvSpPr>
        <p:spPr>
          <a:xfrm>
            <a:off x="7444154" y="6597651"/>
            <a:ext cx="1693985" cy="269875"/>
          </a:xfrm>
          <a:prstGeom prst="rect">
            <a:avLst/>
          </a:prstGeom>
          <a:ln/>
        </p:spPr>
        <p:txBody>
          <a:bodyPr/>
          <a:lstStyle>
            <a:defPPr>
              <a:defRPr lang="en-US"/>
            </a:defPPr>
            <a:lvl1pPr algn="r" rtl="0" fontAlgn="base">
              <a:spcBef>
                <a:spcPct val="0"/>
              </a:spcBef>
              <a:spcAft>
                <a:spcPct val="0"/>
              </a:spcAft>
              <a:defRPr sz="10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defRPr/>
            </a:pPr>
            <a:fld id="{F46C8E8C-1F1A-46DA-8413-ADD73B8B95FA}" type="slidenum">
              <a:rPr lang="en-US" smtClean="0">
                <a:solidFill>
                  <a:prstClr val="black"/>
                </a:solidFill>
              </a:rPr>
              <a:pPr>
                <a:defRPr/>
              </a:pPr>
              <a:t>‹#›</a:t>
            </a:fld>
            <a:endParaRPr lang="en-US">
              <a:solidFill>
                <a:prstClr val="black"/>
              </a:solidFill>
            </a:endParaRPr>
          </a:p>
        </p:txBody>
      </p:sp>
      <p:sp>
        <p:nvSpPr>
          <p:cNvPr id="6" name="TextBox 5"/>
          <p:cNvSpPr txBox="1"/>
          <p:nvPr userDrawn="1"/>
        </p:nvSpPr>
        <p:spPr>
          <a:xfrm>
            <a:off x="448515" y="6571942"/>
            <a:ext cx="2626681" cy="230832"/>
          </a:xfrm>
          <a:prstGeom prst="rect">
            <a:avLst/>
          </a:prstGeom>
          <a:noFill/>
        </p:spPr>
        <p:txBody>
          <a:bodyPr wrap="none" lIns="0">
            <a:spAutoFit/>
          </a:bodyPr>
          <a:lstStyle/>
          <a:p>
            <a:pPr algn="ctr">
              <a:defRPr/>
            </a:pPr>
            <a:r>
              <a:rPr lang="en-US" sz="900" dirty="0">
                <a:solidFill>
                  <a:srgbClr val="000000"/>
                </a:solidFill>
              </a:rPr>
              <a:t>Copyright © </a:t>
            </a:r>
            <a:r>
              <a:rPr lang="en-US" sz="900" dirty="0" smtClean="0">
                <a:solidFill>
                  <a:srgbClr val="000000"/>
                </a:solidFill>
              </a:rPr>
              <a:t>2012 </a:t>
            </a:r>
            <a:r>
              <a:rPr lang="en-US" sz="900" dirty="0">
                <a:solidFill>
                  <a:srgbClr val="000000"/>
                </a:solidFill>
              </a:rPr>
              <a:t>Accenture  All rights reserved.</a:t>
            </a:r>
          </a:p>
        </p:txBody>
      </p:sp>
    </p:spTree>
    <p:extLst>
      <p:ext uri="{BB962C8B-B14F-4D97-AF65-F5344CB8AC3E}">
        <p14:creationId xmlns:p14="http://schemas.microsoft.com/office/powerpoint/2010/main" val="390220753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Rectangle 7"/>
          <p:cNvSpPr>
            <a:spLocks noGrp="1" noChangeArrowheads="1"/>
          </p:cNvSpPr>
          <p:nvPr>
            <p:ph type="sldNum" sz="quarter" idx="11"/>
          </p:nvPr>
        </p:nvSpPr>
        <p:spPr>
          <a:xfrm>
            <a:off x="7444154" y="6597651"/>
            <a:ext cx="1693985" cy="269875"/>
          </a:xfrm>
          <a:prstGeom prst="rect">
            <a:avLst/>
          </a:prstGeom>
          <a:ln/>
        </p:spPr>
        <p:txBody>
          <a:bodyPr/>
          <a:lstStyle>
            <a:lvl1pPr>
              <a:defRPr/>
            </a:lvl1pPr>
          </a:lstStyle>
          <a:p>
            <a:pPr>
              <a:defRPr/>
            </a:pPr>
            <a:fld id="{F46C8E8C-1F1A-46DA-8413-ADD73B8B95FA}"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8964432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7328034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_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47330" y="113919"/>
            <a:ext cx="8229600" cy="783654"/>
          </a:xfrm>
          <a:prstGeom prst="rect">
            <a:avLst/>
          </a:prstGeom>
        </p:spPr>
        <p:txBody>
          <a:bodyPr lIns="0" bIns="0" anchor="b" anchorCtr="0"/>
          <a:lstStyle>
            <a:lvl1pPr>
              <a:lnSpc>
                <a:spcPts val="2600"/>
              </a:lnSpc>
              <a:defRPr sz="2600" spc="-100" baseline="0">
                <a:solidFill>
                  <a:srgbClr val="992222"/>
                </a:solidFill>
              </a:defRPr>
            </a:lvl1pPr>
          </a:lstStyle>
          <a:p>
            <a:r>
              <a:rPr lang="en-US" dirty="0" smtClean="0"/>
              <a:t>Click to edit Master text styles</a:t>
            </a:r>
            <a:endParaRPr lang="en-US" dirty="0"/>
          </a:p>
        </p:txBody>
      </p:sp>
      <p:cxnSp>
        <p:nvCxnSpPr>
          <p:cNvPr id="11" name="Straight Connector 10"/>
          <p:cNvCxnSpPr/>
          <p:nvPr userDrawn="1"/>
        </p:nvCxnSpPr>
        <p:spPr>
          <a:xfrm>
            <a:off x="444627" y="1017588"/>
            <a:ext cx="86946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Slide Number Placeholder 4"/>
          <p:cNvSpPr>
            <a:spLocks noGrp="1"/>
          </p:cNvSpPr>
          <p:nvPr>
            <p:ph type="sldNum" sz="quarter" idx="4"/>
          </p:nvPr>
        </p:nvSpPr>
        <p:spPr>
          <a:xfrm>
            <a:off x="8159750" y="6571942"/>
            <a:ext cx="536575" cy="246062"/>
          </a:xfrm>
          <a:prstGeom prst="rect">
            <a:avLst/>
          </a:prstGeom>
        </p:spPr>
        <p:txBody>
          <a:bodyPr vert="horz" wrap="square" lIns="91440" tIns="45720" rIns="0" bIns="45720" numCol="1" anchor="ctr" anchorCtr="0" compatLnSpc="1">
            <a:prstTxWarp prst="textNoShape">
              <a:avLst/>
            </a:prstTxWarp>
          </a:bodyPr>
          <a:lstStyle>
            <a:lvl1pPr algn="r">
              <a:defRPr sz="900"/>
            </a:lvl1pPr>
          </a:lstStyle>
          <a:p>
            <a:pPr>
              <a:defRPr/>
            </a:pPr>
            <a:fld id="{90CBDC3A-D49F-4631-A8C7-55D59B33E5FA}" type="slidenum">
              <a:rPr lang="en-US" smtClean="0">
                <a:solidFill>
                  <a:prstClr val="black"/>
                </a:solidFill>
              </a:rPr>
              <a:pPr>
                <a:defRPr/>
              </a:pPr>
              <a:t>‹#›</a:t>
            </a:fld>
            <a:endParaRPr lang="en-US" dirty="0">
              <a:solidFill>
                <a:prstClr val="black"/>
              </a:solidFill>
            </a:endParaRPr>
          </a:p>
        </p:txBody>
      </p:sp>
      <p:sp>
        <p:nvSpPr>
          <p:cNvPr id="24" name="TextBox 23"/>
          <p:cNvSpPr txBox="1"/>
          <p:nvPr userDrawn="1"/>
        </p:nvSpPr>
        <p:spPr>
          <a:xfrm>
            <a:off x="447675" y="6571942"/>
            <a:ext cx="2562560" cy="230832"/>
          </a:xfrm>
          <a:prstGeom prst="rect">
            <a:avLst/>
          </a:prstGeom>
          <a:noFill/>
        </p:spPr>
        <p:txBody>
          <a:bodyPr wrap="none" lIns="0">
            <a:spAutoFit/>
          </a:bodyPr>
          <a:lstStyle/>
          <a:p>
            <a:pPr algn="ctr">
              <a:defRPr/>
            </a:pPr>
            <a:r>
              <a:rPr lang="en-US" sz="900" dirty="0">
                <a:solidFill>
                  <a:srgbClr val="000000"/>
                </a:solidFill>
              </a:rPr>
              <a:t>Copyright © </a:t>
            </a:r>
            <a:r>
              <a:rPr lang="en-US" sz="900" dirty="0" smtClean="0">
                <a:solidFill>
                  <a:srgbClr val="000000"/>
                </a:solidFill>
              </a:rPr>
              <a:t>2012 </a:t>
            </a:r>
            <a:r>
              <a:rPr lang="en-US" sz="900" dirty="0">
                <a:solidFill>
                  <a:srgbClr val="000000"/>
                </a:solidFill>
              </a:rPr>
              <a:t>Accenture  All rights reserved.</a:t>
            </a:r>
          </a:p>
        </p:txBody>
      </p:sp>
    </p:spTree>
    <p:extLst>
      <p:ext uri="{BB962C8B-B14F-4D97-AF65-F5344CB8AC3E}">
        <p14:creationId xmlns:p14="http://schemas.microsoft.com/office/powerpoint/2010/main" val="3772726898"/>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6_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47330" y="113919"/>
            <a:ext cx="8229600" cy="783654"/>
          </a:xfrm>
          <a:prstGeom prst="rect">
            <a:avLst/>
          </a:prstGeom>
        </p:spPr>
        <p:txBody>
          <a:bodyPr lIns="0" bIns="0" anchor="b" anchorCtr="0"/>
          <a:lstStyle>
            <a:lvl1pPr>
              <a:lnSpc>
                <a:spcPts val="2600"/>
              </a:lnSpc>
              <a:defRPr sz="2600" spc="-100" baseline="0">
                <a:solidFill>
                  <a:srgbClr val="003344"/>
                </a:solidFill>
              </a:defRPr>
            </a:lvl1pPr>
          </a:lstStyle>
          <a:p>
            <a:r>
              <a:rPr lang="en-US" dirty="0" smtClean="0"/>
              <a:t>Click to edit Master text styles</a:t>
            </a:r>
            <a:endParaRPr lang="en-US" dirty="0"/>
          </a:p>
        </p:txBody>
      </p:sp>
      <p:cxnSp>
        <p:nvCxnSpPr>
          <p:cNvPr id="11" name="Straight Connector 10"/>
          <p:cNvCxnSpPr/>
          <p:nvPr userDrawn="1"/>
        </p:nvCxnSpPr>
        <p:spPr>
          <a:xfrm>
            <a:off x="444627" y="1017588"/>
            <a:ext cx="86946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60"/>
          <p:cNvSpPr>
            <a:spLocks noGrp="1" noChangeArrowheads="1"/>
          </p:cNvSpPr>
          <p:nvPr>
            <p:ph type="sldNum" sz="quarter" idx="10"/>
          </p:nvPr>
        </p:nvSpPr>
        <p:spPr>
          <a:xfrm>
            <a:off x="6651625" y="6534150"/>
            <a:ext cx="2492375" cy="352425"/>
          </a:xfrm>
          <a:ln/>
        </p:spPr>
        <p:txBody>
          <a:bodyPr/>
          <a:lstStyle>
            <a:lvl1pPr>
              <a:defRPr/>
            </a:lvl1pPr>
          </a:lstStyle>
          <a:p>
            <a:pPr>
              <a:defRPr/>
            </a:pPr>
            <a:fld id="{0185D5F9-D3A1-4A0D-AD4D-4A06DCCC02CE}" type="slidenum">
              <a:rPr lang="en-US">
                <a:solidFill>
                  <a:prstClr val="black"/>
                </a:solidFill>
              </a:rPr>
              <a:pPr>
                <a:defRPr/>
              </a:pPr>
              <a:t>‹#›</a:t>
            </a:fld>
            <a:endParaRPr lang="en-US" dirty="0">
              <a:solidFill>
                <a:prstClr val="black"/>
              </a:solidFill>
            </a:endParaRPr>
          </a:p>
        </p:txBody>
      </p:sp>
      <p:sp>
        <p:nvSpPr>
          <p:cNvPr id="7" name="TextBox 6"/>
          <p:cNvSpPr txBox="1"/>
          <p:nvPr userDrawn="1"/>
        </p:nvSpPr>
        <p:spPr>
          <a:xfrm>
            <a:off x="438913" y="6501384"/>
            <a:ext cx="2301271" cy="338554"/>
          </a:xfrm>
          <a:prstGeom prst="rect">
            <a:avLst/>
          </a:prstGeom>
          <a:noFill/>
        </p:spPr>
        <p:txBody>
          <a:bodyPr wrap="none" lIns="0">
            <a:spAutoFit/>
          </a:bodyPr>
          <a:lstStyle/>
          <a:p>
            <a:pPr>
              <a:defRPr/>
            </a:pPr>
            <a:r>
              <a:rPr lang="en-US" sz="800" dirty="0" smtClean="0">
                <a:solidFill>
                  <a:srgbClr val="EEECE1"/>
                </a:solidFill>
              </a:rPr>
              <a:t>For internal use only.</a:t>
            </a:r>
          </a:p>
          <a:p>
            <a:pPr>
              <a:defRPr/>
            </a:pPr>
            <a:r>
              <a:rPr lang="en-US" sz="800" dirty="0" smtClean="0">
                <a:solidFill>
                  <a:srgbClr val="EEECE1"/>
                </a:solidFill>
              </a:rPr>
              <a:t>Copyright </a:t>
            </a:r>
            <a:r>
              <a:rPr lang="en-US" sz="800" dirty="0">
                <a:solidFill>
                  <a:srgbClr val="EEECE1"/>
                </a:solidFill>
              </a:rPr>
              <a:t>© </a:t>
            </a:r>
            <a:r>
              <a:rPr lang="en-US" sz="800" dirty="0" smtClean="0">
                <a:solidFill>
                  <a:srgbClr val="EEECE1"/>
                </a:solidFill>
              </a:rPr>
              <a:t>2013 </a:t>
            </a:r>
            <a:r>
              <a:rPr lang="en-US" sz="800" dirty="0">
                <a:solidFill>
                  <a:srgbClr val="EEECE1"/>
                </a:solidFill>
              </a:rPr>
              <a:t>Accenture  All rights reserved.</a:t>
            </a:r>
          </a:p>
        </p:txBody>
      </p:sp>
    </p:spTree>
    <p:extLst>
      <p:ext uri="{BB962C8B-B14F-4D97-AF65-F5344CB8AC3E}">
        <p14:creationId xmlns:p14="http://schemas.microsoft.com/office/powerpoint/2010/main" val="15071552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4_Title and Text Slide">
    <p:spTree>
      <p:nvGrpSpPr>
        <p:cNvPr id="1" name=""/>
        <p:cNvGrpSpPr/>
        <p:nvPr/>
      </p:nvGrpSpPr>
      <p:grpSpPr>
        <a:xfrm>
          <a:off x="0" y="0"/>
          <a:ext cx="0" cy="0"/>
          <a:chOff x="0" y="0"/>
          <a:chExt cx="0" cy="0"/>
        </a:xfrm>
      </p:grpSpPr>
      <p:sp>
        <p:nvSpPr>
          <p:cNvPr id="6" name="Slide Number Placeholder 22"/>
          <p:cNvSpPr>
            <a:spLocks noGrp="1"/>
          </p:cNvSpPr>
          <p:nvPr>
            <p:ph type="sldNum" sz="quarter" idx="12"/>
          </p:nvPr>
        </p:nvSpPr>
        <p:spPr>
          <a:xfrm>
            <a:off x="8257032" y="6501384"/>
            <a:ext cx="536575" cy="246062"/>
          </a:xfrm>
          <a:prstGeom prst="rect">
            <a:avLst/>
          </a:prstGeom>
        </p:spPr>
        <p:txBody>
          <a:bodyPr/>
          <a:lstStyle>
            <a:lvl1pPr>
              <a:defRPr>
                <a:solidFill>
                  <a:schemeClr val="tx1"/>
                </a:solidFill>
              </a:defRPr>
            </a:lvl1pPr>
          </a:lstStyle>
          <a:p>
            <a:pPr>
              <a:defRPr/>
            </a:pPr>
            <a:fld id="{27211545-335C-4898-B08B-87E1B7A5789B}" type="slidenum">
              <a:rPr lang="en-US" smtClean="0">
                <a:solidFill>
                  <a:prstClr val="black"/>
                </a:solidFill>
              </a:rPr>
              <a:pPr>
                <a:defRPr/>
              </a:pPr>
              <a:t>‹#›</a:t>
            </a:fld>
            <a:endParaRPr lang="en-US" dirty="0">
              <a:solidFill>
                <a:prstClr val="black"/>
              </a:solidFill>
            </a:endParaRPr>
          </a:p>
        </p:txBody>
      </p:sp>
      <p:sp>
        <p:nvSpPr>
          <p:cNvPr id="9" name="Title 8"/>
          <p:cNvSpPr>
            <a:spLocks noGrp="1"/>
          </p:cNvSpPr>
          <p:nvPr>
            <p:ph type="title"/>
          </p:nvPr>
        </p:nvSpPr>
        <p:spPr/>
        <p:txBody>
          <a:bodyPr/>
          <a:lstStyle>
            <a:lvl1pPr>
              <a:defRPr>
                <a:solidFill>
                  <a:schemeClr val="accent1"/>
                </a:solidFill>
              </a:defRPr>
            </a:lvl1pPr>
          </a:lstStyle>
          <a:p>
            <a:r>
              <a:rPr lang="en-US" smtClean="0"/>
              <a:t>Click to edit Master title style</a:t>
            </a:r>
            <a:endParaRPr lang="en-US" dirty="0"/>
          </a:p>
        </p:txBody>
      </p:sp>
      <p:cxnSp>
        <p:nvCxnSpPr>
          <p:cNvPr id="7" name="Straight Connector 6"/>
          <p:cNvCxnSpPr/>
          <p:nvPr userDrawn="1"/>
        </p:nvCxnSpPr>
        <p:spPr>
          <a:xfrm>
            <a:off x="444627" y="1017588"/>
            <a:ext cx="86946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Tree>
    <p:extLst>
      <p:ext uri="{BB962C8B-B14F-4D97-AF65-F5344CB8AC3E}">
        <p14:creationId xmlns:p14="http://schemas.microsoft.com/office/powerpoint/2010/main" val="31520098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5_Title and Text Slide">
    <p:spTree>
      <p:nvGrpSpPr>
        <p:cNvPr id="1" name=""/>
        <p:cNvGrpSpPr/>
        <p:nvPr/>
      </p:nvGrpSpPr>
      <p:grpSpPr>
        <a:xfrm>
          <a:off x="0" y="0"/>
          <a:ext cx="0" cy="0"/>
          <a:chOff x="0" y="0"/>
          <a:chExt cx="0" cy="0"/>
        </a:xfrm>
      </p:grpSpPr>
      <p:sp>
        <p:nvSpPr>
          <p:cNvPr id="6" name="Slide Number Placeholder 22"/>
          <p:cNvSpPr>
            <a:spLocks noGrp="1"/>
          </p:cNvSpPr>
          <p:nvPr>
            <p:ph type="sldNum" sz="quarter" idx="12"/>
          </p:nvPr>
        </p:nvSpPr>
        <p:spPr>
          <a:xfrm>
            <a:off x="8257032" y="6501384"/>
            <a:ext cx="536575" cy="246062"/>
          </a:xfrm>
          <a:prstGeom prst="rect">
            <a:avLst/>
          </a:prstGeom>
        </p:spPr>
        <p:txBody>
          <a:bodyPr/>
          <a:lstStyle>
            <a:lvl1pPr>
              <a:defRPr>
                <a:solidFill>
                  <a:schemeClr val="tx1"/>
                </a:solidFill>
              </a:defRPr>
            </a:lvl1pPr>
          </a:lstStyle>
          <a:p>
            <a:pPr>
              <a:defRPr/>
            </a:pPr>
            <a:fld id="{27211545-335C-4898-B08B-87E1B7A5789B}" type="slidenum">
              <a:rPr lang="en-US" smtClean="0">
                <a:solidFill>
                  <a:prstClr val="black"/>
                </a:solidFill>
              </a:rPr>
              <a:pPr>
                <a:defRPr/>
              </a:pPr>
              <a:t>‹#›</a:t>
            </a:fld>
            <a:endParaRPr lang="en-US" dirty="0">
              <a:solidFill>
                <a:prstClr val="black"/>
              </a:solidFill>
            </a:endParaRPr>
          </a:p>
        </p:txBody>
      </p:sp>
      <p:sp>
        <p:nvSpPr>
          <p:cNvPr id="9" name="Title 8"/>
          <p:cNvSpPr>
            <a:spLocks noGrp="1"/>
          </p:cNvSpPr>
          <p:nvPr>
            <p:ph type="title"/>
          </p:nvPr>
        </p:nvSpPr>
        <p:spPr/>
        <p:txBody>
          <a:bodyPr/>
          <a:lstStyle>
            <a:lvl1pPr>
              <a:defRPr>
                <a:solidFill>
                  <a:schemeClr val="accent1"/>
                </a:solidFill>
              </a:defRPr>
            </a:lvl1pPr>
          </a:lstStyle>
          <a:p>
            <a:r>
              <a:rPr lang="en-US" smtClean="0"/>
              <a:t>Click to edit Master title style</a:t>
            </a:r>
            <a:endParaRPr lang="en-US" dirty="0"/>
          </a:p>
        </p:txBody>
      </p:sp>
      <p:cxnSp>
        <p:nvCxnSpPr>
          <p:cNvPr id="7" name="Straight Connector 6"/>
          <p:cNvCxnSpPr/>
          <p:nvPr userDrawn="1"/>
        </p:nvCxnSpPr>
        <p:spPr>
          <a:xfrm>
            <a:off x="444627" y="1017588"/>
            <a:ext cx="86946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Tree>
    <p:extLst>
      <p:ext uri="{BB962C8B-B14F-4D97-AF65-F5344CB8AC3E}">
        <p14:creationId xmlns:p14="http://schemas.microsoft.com/office/powerpoint/2010/main" val="13472936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8_Title and Text Slide">
    <p:spTree>
      <p:nvGrpSpPr>
        <p:cNvPr id="1" name=""/>
        <p:cNvGrpSpPr/>
        <p:nvPr/>
      </p:nvGrpSpPr>
      <p:grpSpPr>
        <a:xfrm>
          <a:off x="0" y="0"/>
          <a:ext cx="0" cy="0"/>
          <a:chOff x="0" y="0"/>
          <a:chExt cx="0" cy="0"/>
        </a:xfrm>
      </p:grpSpPr>
      <p:sp>
        <p:nvSpPr>
          <p:cNvPr id="6" name="Slide Number Placeholder 22"/>
          <p:cNvSpPr>
            <a:spLocks noGrp="1"/>
          </p:cNvSpPr>
          <p:nvPr>
            <p:ph type="sldNum" sz="quarter" idx="12"/>
          </p:nvPr>
        </p:nvSpPr>
        <p:spPr>
          <a:xfrm>
            <a:off x="8257032" y="6501384"/>
            <a:ext cx="536575" cy="246062"/>
          </a:xfrm>
          <a:prstGeom prst="rect">
            <a:avLst/>
          </a:prstGeom>
        </p:spPr>
        <p:txBody>
          <a:bodyPr/>
          <a:lstStyle>
            <a:lvl1pPr>
              <a:defRPr>
                <a:solidFill>
                  <a:schemeClr val="tx1"/>
                </a:solidFill>
              </a:defRPr>
            </a:lvl1pPr>
          </a:lstStyle>
          <a:p>
            <a:pPr>
              <a:defRPr/>
            </a:pPr>
            <a:fld id="{27211545-335C-4898-B08B-87E1B7A5789B}" type="slidenum">
              <a:rPr lang="en-US" smtClean="0">
                <a:solidFill>
                  <a:prstClr val="black"/>
                </a:solidFill>
              </a:rPr>
              <a:pPr>
                <a:defRPr/>
              </a:pPr>
              <a:t>‹#›</a:t>
            </a:fld>
            <a:endParaRPr lang="en-US" dirty="0">
              <a:solidFill>
                <a:prstClr val="black"/>
              </a:solidFill>
            </a:endParaRPr>
          </a:p>
        </p:txBody>
      </p:sp>
      <p:sp>
        <p:nvSpPr>
          <p:cNvPr id="8" name="Text Placeholder 18"/>
          <p:cNvSpPr>
            <a:spLocks noGrp="1"/>
          </p:cNvSpPr>
          <p:nvPr>
            <p:ph type="body" sz="quarter" idx="11"/>
          </p:nvPr>
        </p:nvSpPr>
        <p:spPr>
          <a:xfrm>
            <a:off x="444627" y="1016871"/>
            <a:ext cx="8229600" cy="356616"/>
          </a:xfrm>
          <a:prstGeom prst="rect">
            <a:avLst/>
          </a:prstGeom>
        </p:spPr>
        <p:txBody>
          <a:bodyPr lIns="0">
            <a:noAutofit/>
          </a:bodyPr>
          <a:lstStyle>
            <a:lvl1pPr marL="0">
              <a:lnSpc>
                <a:spcPct val="100000"/>
              </a:lnSpc>
              <a:spcBef>
                <a:spcPts val="0"/>
              </a:spcBef>
              <a:spcAft>
                <a:spcPts val="0"/>
              </a:spcAft>
              <a:buNone/>
              <a:defRPr sz="2000" spc="-100" baseline="0">
                <a:solidFill>
                  <a:schemeClr val="accent2"/>
                </a:solidFill>
              </a:defRPr>
            </a:lvl1pPr>
          </a:lstStyle>
          <a:p>
            <a:pPr lvl="0"/>
            <a:r>
              <a:rPr lang="en-US" dirty="0" smtClean="0"/>
              <a:t>Click to edit Master text styles</a:t>
            </a:r>
          </a:p>
        </p:txBody>
      </p:sp>
      <p:sp>
        <p:nvSpPr>
          <p:cNvPr id="9" name="Title 8"/>
          <p:cNvSpPr>
            <a:spLocks noGrp="1"/>
          </p:cNvSpPr>
          <p:nvPr>
            <p:ph type="title"/>
          </p:nvPr>
        </p:nvSpPr>
        <p:spPr/>
        <p:txBody>
          <a:bodyPr/>
          <a:lstStyle>
            <a:lvl1pPr>
              <a:defRPr>
                <a:solidFill>
                  <a:schemeClr val="accent1"/>
                </a:solidFill>
              </a:defRPr>
            </a:lvl1pPr>
          </a:lstStyle>
          <a:p>
            <a:r>
              <a:rPr lang="en-US" smtClean="0"/>
              <a:t>Click to edit Master title style</a:t>
            </a:r>
            <a:endParaRPr lang="en-US"/>
          </a:p>
        </p:txBody>
      </p:sp>
      <p:sp>
        <p:nvSpPr>
          <p:cNvPr id="10" name="Text Placeholder 9"/>
          <p:cNvSpPr>
            <a:spLocks noGrp="1"/>
          </p:cNvSpPr>
          <p:nvPr>
            <p:ph type="body" sz="quarter" idx="13"/>
          </p:nvPr>
        </p:nvSpPr>
        <p:spPr>
          <a:xfrm>
            <a:off x="404582" y="1710324"/>
            <a:ext cx="6926262" cy="3322638"/>
          </a:xfrm>
        </p:spPr>
        <p:txBody>
          <a:bodyPr>
            <a:normAutofit/>
          </a:bodyPr>
          <a:lstStyle>
            <a:lvl1pPr>
              <a:spcAft>
                <a:spcPts val="600"/>
              </a:spcAft>
              <a:defRPr sz="2400">
                <a:solidFill>
                  <a:schemeClr val="tx1">
                    <a:lumMod val="50000"/>
                  </a:schemeClr>
                </a:solidFill>
              </a:defRPr>
            </a:lvl1pPr>
            <a:lvl2pPr>
              <a:spcAft>
                <a:spcPts val="600"/>
              </a:spcAft>
              <a:defRPr sz="2400">
                <a:solidFill>
                  <a:schemeClr val="tx1">
                    <a:lumMod val="50000"/>
                  </a:schemeClr>
                </a:solidFill>
              </a:defRPr>
            </a:lvl2pPr>
            <a:lvl3pPr>
              <a:spcAft>
                <a:spcPts val="600"/>
              </a:spcAft>
              <a:defRPr sz="2400">
                <a:solidFill>
                  <a:schemeClr val="tx1">
                    <a:lumMod val="50000"/>
                  </a:schemeClr>
                </a:solidFill>
              </a:defRPr>
            </a:lvl3pPr>
            <a:lvl4pPr>
              <a:spcAft>
                <a:spcPts val="600"/>
              </a:spcAft>
              <a:defRPr sz="2400">
                <a:solidFill>
                  <a:schemeClr val="tx1">
                    <a:lumMod val="50000"/>
                  </a:schemeClr>
                </a:solidFill>
              </a:defRPr>
            </a:lvl4pPr>
            <a:lvl5pPr>
              <a:spcAft>
                <a:spcPts val="600"/>
              </a:spcAft>
              <a:defRPr sz="2400">
                <a:solidFill>
                  <a:schemeClr val="tx1">
                    <a:lumMod val="5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1" name="Straight Connector 10"/>
          <p:cNvCxnSpPr/>
          <p:nvPr userDrawn="1"/>
        </p:nvCxnSpPr>
        <p:spPr>
          <a:xfrm>
            <a:off x="444627" y="1017588"/>
            <a:ext cx="86946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Tree>
    <p:extLst>
      <p:ext uri="{BB962C8B-B14F-4D97-AF65-F5344CB8AC3E}">
        <p14:creationId xmlns:p14="http://schemas.microsoft.com/office/powerpoint/2010/main" val="10482952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9_Title and Text Slide">
    <p:spTree>
      <p:nvGrpSpPr>
        <p:cNvPr id="1" name=""/>
        <p:cNvGrpSpPr/>
        <p:nvPr/>
      </p:nvGrpSpPr>
      <p:grpSpPr>
        <a:xfrm>
          <a:off x="0" y="0"/>
          <a:ext cx="0" cy="0"/>
          <a:chOff x="0" y="0"/>
          <a:chExt cx="0" cy="0"/>
        </a:xfrm>
      </p:grpSpPr>
      <p:sp>
        <p:nvSpPr>
          <p:cNvPr id="6" name="Slide Number Placeholder 22"/>
          <p:cNvSpPr>
            <a:spLocks noGrp="1"/>
          </p:cNvSpPr>
          <p:nvPr>
            <p:ph type="sldNum" sz="quarter" idx="12"/>
          </p:nvPr>
        </p:nvSpPr>
        <p:spPr>
          <a:xfrm>
            <a:off x="8257032" y="6501384"/>
            <a:ext cx="536575" cy="246062"/>
          </a:xfrm>
          <a:prstGeom prst="rect">
            <a:avLst/>
          </a:prstGeom>
        </p:spPr>
        <p:txBody>
          <a:bodyPr/>
          <a:lstStyle>
            <a:lvl1pPr>
              <a:defRPr>
                <a:solidFill>
                  <a:schemeClr val="tx1"/>
                </a:solidFill>
              </a:defRPr>
            </a:lvl1pPr>
          </a:lstStyle>
          <a:p>
            <a:pPr>
              <a:defRPr/>
            </a:pPr>
            <a:fld id="{27211545-335C-4898-B08B-87E1B7A5789B}" type="slidenum">
              <a:rPr lang="en-US" smtClean="0">
                <a:solidFill>
                  <a:prstClr val="black"/>
                </a:solidFill>
              </a:rPr>
              <a:pPr>
                <a:defRPr/>
              </a:pPr>
              <a:t>‹#›</a:t>
            </a:fld>
            <a:endParaRPr lang="en-US" dirty="0">
              <a:solidFill>
                <a:prstClr val="black"/>
              </a:solidFill>
            </a:endParaRPr>
          </a:p>
        </p:txBody>
      </p:sp>
      <p:sp>
        <p:nvSpPr>
          <p:cNvPr id="8" name="Text Placeholder 18"/>
          <p:cNvSpPr>
            <a:spLocks noGrp="1"/>
          </p:cNvSpPr>
          <p:nvPr>
            <p:ph type="body" sz="quarter" idx="11"/>
          </p:nvPr>
        </p:nvSpPr>
        <p:spPr>
          <a:xfrm>
            <a:off x="444627" y="1016871"/>
            <a:ext cx="8229600" cy="356616"/>
          </a:xfrm>
          <a:prstGeom prst="rect">
            <a:avLst/>
          </a:prstGeom>
        </p:spPr>
        <p:txBody>
          <a:bodyPr lIns="0">
            <a:noAutofit/>
          </a:bodyPr>
          <a:lstStyle>
            <a:lvl1pPr marL="0">
              <a:lnSpc>
                <a:spcPct val="100000"/>
              </a:lnSpc>
              <a:spcBef>
                <a:spcPts val="0"/>
              </a:spcBef>
              <a:spcAft>
                <a:spcPts val="0"/>
              </a:spcAft>
              <a:buNone/>
              <a:defRPr sz="2000" spc="-100" baseline="0">
                <a:solidFill>
                  <a:schemeClr val="accent2"/>
                </a:solidFill>
              </a:defRPr>
            </a:lvl1pPr>
          </a:lstStyle>
          <a:p>
            <a:pPr lvl="0"/>
            <a:r>
              <a:rPr lang="en-US" dirty="0" smtClean="0"/>
              <a:t>Click to edit Master text styles</a:t>
            </a:r>
          </a:p>
        </p:txBody>
      </p:sp>
      <p:sp>
        <p:nvSpPr>
          <p:cNvPr id="9" name="Title 8"/>
          <p:cNvSpPr>
            <a:spLocks noGrp="1"/>
          </p:cNvSpPr>
          <p:nvPr>
            <p:ph type="title"/>
          </p:nvPr>
        </p:nvSpPr>
        <p:spPr/>
        <p:txBody>
          <a:bodyPr/>
          <a:lstStyle>
            <a:lvl1pPr>
              <a:defRPr>
                <a:solidFill>
                  <a:schemeClr val="accent1"/>
                </a:solidFill>
              </a:defRPr>
            </a:lvl1pPr>
          </a:lstStyle>
          <a:p>
            <a:r>
              <a:rPr lang="en-US" smtClean="0"/>
              <a:t>Click to edit Master title style</a:t>
            </a:r>
            <a:endParaRPr lang="en-US"/>
          </a:p>
        </p:txBody>
      </p:sp>
      <p:sp>
        <p:nvSpPr>
          <p:cNvPr id="10" name="Text Placeholder 9"/>
          <p:cNvSpPr>
            <a:spLocks noGrp="1"/>
          </p:cNvSpPr>
          <p:nvPr>
            <p:ph type="body" sz="quarter" idx="13"/>
          </p:nvPr>
        </p:nvSpPr>
        <p:spPr>
          <a:xfrm>
            <a:off x="404582" y="1710324"/>
            <a:ext cx="6926262" cy="3322638"/>
          </a:xfrm>
        </p:spPr>
        <p:txBody>
          <a:bodyPr>
            <a:normAutofit/>
          </a:bodyPr>
          <a:lstStyle>
            <a:lvl1pPr>
              <a:spcAft>
                <a:spcPts val="600"/>
              </a:spcAft>
              <a:defRPr sz="2400">
                <a:solidFill>
                  <a:schemeClr val="tx1">
                    <a:lumMod val="50000"/>
                  </a:schemeClr>
                </a:solidFill>
              </a:defRPr>
            </a:lvl1pPr>
            <a:lvl2pPr>
              <a:spcAft>
                <a:spcPts val="600"/>
              </a:spcAft>
              <a:defRPr sz="2400">
                <a:solidFill>
                  <a:schemeClr val="tx1">
                    <a:lumMod val="50000"/>
                  </a:schemeClr>
                </a:solidFill>
              </a:defRPr>
            </a:lvl2pPr>
            <a:lvl3pPr>
              <a:spcAft>
                <a:spcPts val="600"/>
              </a:spcAft>
              <a:defRPr sz="2400">
                <a:solidFill>
                  <a:schemeClr val="tx1">
                    <a:lumMod val="50000"/>
                  </a:schemeClr>
                </a:solidFill>
              </a:defRPr>
            </a:lvl3pPr>
            <a:lvl4pPr>
              <a:spcAft>
                <a:spcPts val="600"/>
              </a:spcAft>
              <a:defRPr sz="2400">
                <a:solidFill>
                  <a:schemeClr val="tx1">
                    <a:lumMod val="50000"/>
                  </a:schemeClr>
                </a:solidFill>
              </a:defRPr>
            </a:lvl4pPr>
            <a:lvl5pPr>
              <a:spcAft>
                <a:spcPts val="600"/>
              </a:spcAft>
              <a:defRPr sz="2400">
                <a:solidFill>
                  <a:schemeClr val="tx1">
                    <a:lumMod val="5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1" name="Straight Connector 10"/>
          <p:cNvCxnSpPr/>
          <p:nvPr userDrawn="1"/>
        </p:nvCxnSpPr>
        <p:spPr>
          <a:xfrm>
            <a:off x="444627" y="1017588"/>
            <a:ext cx="869461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Tree>
    <p:extLst>
      <p:ext uri="{BB962C8B-B14F-4D97-AF65-F5344CB8AC3E}">
        <p14:creationId xmlns:p14="http://schemas.microsoft.com/office/powerpoint/2010/main" val="41724252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liennummernplatzhalter 5"/>
          <p:cNvSpPr>
            <a:spLocks noGrp="1"/>
          </p:cNvSpPr>
          <p:nvPr>
            <p:ph type="sldNum" sz="quarter" idx="11"/>
          </p:nvPr>
        </p:nvSpPr>
        <p:spPr/>
        <p:txBody>
          <a:bodyPr/>
          <a:lstStyle>
            <a:lvl1pPr>
              <a:defRPr/>
            </a:lvl1pPr>
          </a:lstStyle>
          <a:p>
            <a:pPr>
              <a:defRPr/>
            </a:pPr>
            <a:fld id="{5E603A49-80E3-4B68-843B-BEA45142439F}" type="slidenum">
              <a:rPr lang="de-DE">
                <a:solidFill>
                  <a:prstClr val="black"/>
                </a:solidFill>
              </a:rPr>
              <a:pPr>
                <a:defRPr/>
              </a:pPr>
              <a:t>‹#›</a:t>
            </a:fld>
            <a:endParaRPr lang="de-DE" dirty="0">
              <a:solidFill>
                <a:prstClr val="black"/>
              </a:solidFill>
            </a:endParaRPr>
          </a:p>
        </p:txBody>
      </p:sp>
    </p:spTree>
    <p:extLst>
      <p:ext uri="{BB962C8B-B14F-4D97-AF65-F5344CB8AC3E}">
        <p14:creationId xmlns:p14="http://schemas.microsoft.com/office/powerpoint/2010/main" val="2181740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and Text Slide">
    <p:spTree>
      <p:nvGrpSpPr>
        <p:cNvPr id="1" name=""/>
        <p:cNvGrpSpPr/>
        <p:nvPr/>
      </p:nvGrpSpPr>
      <p:grpSpPr>
        <a:xfrm>
          <a:off x="0" y="0"/>
          <a:ext cx="0" cy="0"/>
          <a:chOff x="0" y="0"/>
          <a:chExt cx="0" cy="0"/>
        </a:xfrm>
      </p:grpSpPr>
      <p:sp>
        <p:nvSpPr>
          <p:cNvPr id="22" name="Content Placeholder 21"/>
          <p:cNvSpPr>
            <a:spLocks noGrp="1"/>
          </p:cNvSpPr>
          <p:nvPr>
            <p:ph sz="quarter" idx="11"/>
          </p:nvPr>
        </p:nvSpPr>
        <p:spPr>
          <a:xfrm>
            <a:off x="444627" y="618565"/>
            <a:ext cx="8251698" cy="5807635"/>
          </a:xfrm>
          <a:prstGeom prst="rect">
            <a:avLst/>
          </a:prstGeom>
        </p:spPr>
        <p:txBody>
          <a:bodyPr lIns="0"/>
          <a:lstStyle>
            <a:lvl1pPr marL="266700" indent="-266700">
              <a:buFont typeface="Arial" pitchFamily="34" charset="0"/>
              <a:buChar char="•"/>
              <a:defRPr sz="2600">
                <a:solidFill>
                  <a:srgbClr val="778888"/>
                </a:solidFill>
              </a:defRPr>
            </a:lvl1pPr>
            <a:lvl2pPr marL="266700" indent="-266700">
              <a:buFont typeface="Arial" pitchFamily="34" charset="0"/>
              <a:buChar char="−"/>
              <a:defRPr sz="2400">
                <a:solidFill>
                  <a:srgbClr val="778888"/>
                </a:solidFill>
              </a:defRPr>
            </a:lvl2pPr>
            <a:lvl3pPr marL="266700" indent="-266700">
              <a:buFont typeface="Arial" pitchFamily="34" charset="0"/>
              <a:buChar char="•"/>
              <a:defRPr sz="2200"/>
            </a:lvl3pPr>
            <a:lvl4pPr marL="266700" indent="-266700">
              <a:buFont typeface="Arial" pitchFamily="34" charset="0"/>
              <a:buChar char="−"/>
              <a:defRPr sz="2000"/>
            </a:lvl4pPr>
            <a:lvl5pPr>
              <a:defRPr sz="2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3" name="Slide Number Placeholder 4"/>
          <p:cNvSpPr>
            <a:spLocks noGrp="1"/>
          </p:cNvSpPr>
          <p:nvPr>
            <p:ph type="sldNum" sz="quarter" idx="4"/>
          </p:nvPr>
        </p:nvSpPr>
        <p:spPr>
          <a:xfrm>
            <a:off x="8159750" y="6571942"/>
            <a:ext cx="536575" cy="246062"/>
          </a:xfrm>
          <a:prstGeom prst="rect">
            <a:avLst/>
          </a:prstGeom>
        </p:spPr>
        <p:txBody>
          <a:bodyPr vert="horz" wrap="square" lIns="91440" tIns="45720" rIns="0" bIns="45720" numCol="1" anchor="ctr" anchorCtr="0" compatLnSpc="1">
            <a:prstTxWarp prst="textNoShape">
              <a:avLst/>
            </a:prstTxWarp>
          </a:bodyPr>
          <a:lstStyle>
            <a:lvl1pPr algn="r">
              <a:defRPr sz="900"/>
            </a:lvl1p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2560854839"/>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4300" y="0"/>
            <a:ext cx="7597507" cy="1121098"/>
          </a:xfrm>
        </p:spPr>
        <p:txBody>
          <a:bodyPr>
            <a:normAutofit/>
          </a:bodyPr>
          <a:lstStyle>
            <a:lvl1pPr>
              <a:lnSpc>
                <a:spcPts val="2500"/>
              </a:lnSpc>
              <a:defRPr sz="1800"/>
            </a:lvl1pPr>
          </a:lstStyle>
          <a:p>
            <a:r>
              <a:rPr lang="en-US" dirty="0" smtClean="0"/>
              <a:t>Click to edit Master title style</a:t>
            </a:r>
            <a:endParaRPr lang="en-US" dirty="0"/>
          </a:p>
        </p:txBody>
      </p:sp>
      <p:sp>
        <p:nvSpPr>
          <p:cNvPr id="4" name="Footer Placeholder 3"/>
          <p:cNvSpPr>
            <a:spLocks noGrp="1"/>
          </p:cNvSpPr>
          <p:nvPr>
            <p:ph type="ftr" sz="quarter" idx="10"/>
          </p:nvPr>
        </p:nvSpPr>
        <p:spPr>
          <a:xfrm>
            <a:off x="34925" y="6646863"/>
            <a:ext cx="2286000" cy="166687"/>
          </a:xfrm>
          <a:prstGeom prst="rect">
            <a:avLst/>
          </a:prstGeom>
        </p:spPr>
        <p:txBody>
          <a:bodyPr/>
          <a:lstStyle/>
          <a:p>
            <a:r>
              <a:rPr lang="en-US" sz="1200" dirty="0" smtClean="0">
                <a:solidFill>
                  <a:prstClr val="black"/>
                </a:solidFill>
              </a:rPr>
              <a:t>Copyright (c) 2012 Accenture. All rights reserved.</a:t>
            </a:r>
            <a:endParaRPr lang="en-US" sz="1200" dirty="0">
              <a:solidFill>
                <a:prstClr val="black"/>
              </a:solidFill>
            </a:endParaRPr>
          </a:p>
        </p:txBody>
      </p:sp>
      <p:sp>
        <p:nvSpPr>
          <p:cNvPr id="5" name="Slide Number Placeholder 4"/>
          <p:cNvSpPr>
            <a:spLocks noGrp="1"/>
          </p:cNvSpPr>
          <p:nvPr>
            <p:ph type="sldNum" sz="quarter" idx="11"/>
          </p:nvPr>
        </p:nvSpPr>
        <p:spPr/>
        <p:txBody>
          <a:bodyPr/>
          <a:lstStyle/>
          <a:p>
            <a:r>
              <a:rPr lang="en-US" smtClean="0">
                <a:solidFill>
                  <a:prstClr val="black">
                    <a:tint val="75000"/>
                  </a:prstClr>
                </a:solidFill>
              </a:rPr>
              <a:t>- </a:t>
            </a:r>
            <a:fld id="{BBA3D85A-8536-437B-8DC9-15399DEC1BA0}" type="slidenum">
              <a:rPr lang="en-US" smtClean="0">
                <a:solidFill>
                  <a:prstClr val="black">
                    <a:tint val="75000"/>
                  </a:prstClr>
                </a:solidFill>
              </a:rPr>
              <a:pPr/>
              <a:t>‹#›</a:t>
            </a:fld>
            <a:r>
              <a:rPr lang="en-US" smtClean="0">
                <a:solidFill>
                  <a:prstClr val="black">
                    <a:tint val="75000"/>
                  </a:prstClr>
                </a:solidFill>
              </a:rPr>
              <a:t> -</a:t>
            </a:r>
            <a:endParaRPr lang="en-US">
              <a:solidFill>
                <a:prstClr val="black">
                  <a:tint val="75000"/>
                </a:prstClr>
              </a:solidFill>
            </a:endParaRPr>
          </a:p>
        </p:txBody>
      </p:sp>
    </p:spTree>
    <p:extLst>
      <p:ext uri="{BB962C8B-B14F-4D97-AF65-F5344CB8AC3E}">
        <p14:creationId xmlns:p14="http://schemas.microsoft.com/office/powerpoint/2010/main" val="365747236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7_Title and Text Slide">
    <p:spTree>
      <p:nvGrpSpPr>
        <p:cNvPr id="1" name=""/>
        <p:cNvGrpSpPr/>
        <p:nvPr/>
      </p:nvGrpSpPr>
      <p:grpSpPr>
        <a:xfrm>
          <a:off x="0" y="0"/>
          <a:ext cx="0" cy="0"/>
          <a:chOff x="0" y="0"/>
          <a:chExt cx="0" cy="0"/>
        </a:xfrm>
      </p:grpSpPr>
      <p:sp>
        <p:nvSpPr>
          <p:cNvPr id="22" name="Content Placeholder 21"/>
          <p:cNvSpPr>
            <a:spLocks noGrp="1"/>
          </p:cNvSpPr>
          <p:nvPr>
            <p:ph sz="quarter" idx="11"/>
          </p:nvPr>
        </p:nvSpPr>
        <p:spPr>
          <a:xfrm>
            <a:off x="444627" y="618565"/>
            <a:ext cx="8251698" cy="5807635"/>
          </a:xfrm>
          <a:prstGeom prst="rect">
            <a:avLst/>
          </a:prstGeom>
        </p:spPr>
        <p:txBody>
          <a:bodyPr lIns="0"/>
          <a:lstStyle>
            <a:lvl1pPr marL="266700" indent="-266700">
              <a:buFont typeface="Arial" pitchFamily="34" charset="0"/>
              <a:buChar char="•"/>
              <a:defRPr sz="2600">
                <a:solidFill>
                  <a:srgbClr val="778888"/>
                </a:solidFill>
              </a:defRPr>
            </a:lvl1pPr>
            <a:lvl2pPr marL="266700" indent="-266700">
              <a:buFont typeface="Arial" pitchFamily="34" charset="0"/>
              <a:buChar char="−"/>
              <a:defRPr sz="2400">
                <a:solidFill>
                  <a:srgbClr val="778888"/>
                </a:solidFill>
              </a:defRPr>
            </a:lvl2pPr>
            <a:lvl3pPr marL="266700" indent="-266700">
              <a:buFont typeface="Arial" pitchFamily="34" charset="0"/>
              <a:buChar char="•"/>
              <a:defRPr sz="2200"/>
            </a:lvl3pPr>
            <a:lvl4pPr marL="266700" indent="-266700">
              <a:buFont typeface="Arial" pitchFamily="34" charset="0"/>
              <a:buChar char="−"/>
              <a:defRPr sz="2000"/>
            </a:lvl4pPr>
            <a:lvl5pPr>
              <a:defRPr sz="2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3" name="Slide Number Placeholder 4"/>
          <p:cNvSpPr>
            <a:spLocks noGrp="1"/>
          </p:cNvSpPr>
          <p:nvPr>
            <p:ph type="sldNum" sz="quarter" idx="4"/>
          </p:nvPr>
        </p:nvSpPr>
        <p:spPr>
          <a:xfrm>
            <a:off x="8159750" y="6571942"/>
            <a:ext cx="536575" cy="246062"/>
          </a:xfrm>
          <a:prstGeom prst="rect">
            <a:avLst/>
          </a:prstGeom>
        </p:spPr>
        <p:txBody>
          <a:bodyPr vert="horz" wrap="square" lIns="91440" tIns="45720" rIns="0" bIns="45720" numCol="1" anchor="ctr" anchorCtr="0" compatLnSpc="1">
            <a:prstTxWarp prst="textNoShape">
              <a:avLst/>
            </a:prstTxWarp>
          </a:bodyPr>
          <a:lstStyle>
            <a:lvl1pPr algn="r">
              <a:defRPr sz="900"/>
            </a:lvl1p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3951611291"/>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0" descr="SigHPD_2x_large_gry.png"/>
          <p:cNvPicPr>
            <a:picLocks noChangeAspect="1"/>
          </p:cNvPicPr>
          <p:nvPr userDrawn="1"/>
        </p:nvPicPr>
        <p:blipFill>
          <a:blip r:embed="rId2" cstate="print"/>
          <a:stretch>
            <a:fillRect/>
          </a:stretch>
        </p:blipFill>
        <p:spPr>
          <a:xfrm>
            <a:off x="494323" y="2169807"/>
            <a:ext cx="3498276" cy="1830907"/>
          </a:xfrm>
          <a:prstGeom prst="rect">
            <a:avLst/>
          </a:prstGeom>
        </p:spPr>
      </p:pic>
      <p:cxnSp>
        <p:nvCxnSpPr>
          <p:cNvPr id="12" name="Straight Connector 11"/>
          <p:cNvCxnSpPr>
            <a:cxnSpLocks noChangeShapeType="1"/>
          </p:cNvCxnSpPr>
          <p:nvPr userDrawn="1"/>
        </p:nvCxnSpPr>
        <p:spPr bwMode="auto">
          <a:xfrm>
            <a:off x="0" y="3432175"/>
            <a:ext cx="9144000" cy="1588"/>
          </a:xfrm>
          <a:prstGeom prst="line">
            <a:avLst/>
          </a:prstGeom>
          <a:noFill/>
          <a:ln w="25400" algn="ctr">
            <a:solidFill>
              <a:srgbClr val="FF0000"/>
            </a:solidFill>
            <a:round/>
            <a:headEnd/>
            <a:tailEnd/>
          </a:ln>
        </p:spPr>
      </p:cxnSp>
      <p:sp>
        <p:nvSpPr>
          <p:cNvPr id="232455" name="Rectangle 3"/>
          <p:cNvSpPr>
            <a:spLocks noGrp="1" noChangeArrowheads="1"/>
          </p:cNvSpPr>
          <p:nvPr>
            <p:ph type="ctrTitle"/>
          </p:nvPr>
        </p:nvSpPr>
        <p:spPr>
          <a:xfrm>
            <a:off x="527538" y="610426"/>
            <a:ext cx="7772400" cy="1470025"/>
          </a:xfrm>
        </p:spPr>
        <p:txBody>
          <a:bodyPr/>
          <a:lstStyle>
            <a:lvl1pPr>
              <a:defRPr sz="3200"/>
            </a:lvl1pPr>
          </a:lstStyle>
          <a:p>
            <a:r>
              <a:rPr lang="en-US"/>
              <a:t>Click to edit Master title style</a:t>
            </a:r>
          </a:p>
        </p:txBody>
      </p:sp>
      <p:pic>
        <p:nvPicPr>
          <p:cNvPr id="13" name="Picture 4"/>
          <p:cNvPicPr>
            <a:picLocks noChangeAspect="1" noChangeArrowheads="1"/>
          </p:cNvPicPr>
          <p:nvPr userDrawn="1"/>
        </p:nvPicPr>
        <p:blipFill>
          <a:blip r:embed="rId3" cstate="print"/>
          <a:srcRect/>
          <a:stretch>
            <a:fillRect/>
          </a:stretch>
        </p:blipFill>
        <p:spPr bwMode="gray">
          <a:xfrm>
            <a:off x="0" y="3466211"/>
            <a:ext cx="9144000" cy="3115340"/>
          </a:xfrm>
          <a:prstGeom prst="rect">
            <a:avLst/>
          </a:prstGeom>
          <a:noFill/>
          <a:ln w="9525" algn="ctr">
            <a:noFill/>
            <a:miter lim="800000"/>
            <a:headEnd/>
            <a:tailEnd/>
          </a:ln>
          <a:effectLst/>
        </p:spPr>
      </p:pic>
      <p:sp>
        <p:nvSpPr>
          <p:cNvPr id="8" name="Rectangle 66"/>
          <p:cNvSpPr txBox="1">
            <a:spLocks noChangeArrowheads="1"/>
          </p:cNvSpPr>
          <p:nvPr userDrawn="1"/>
        </p:nvSpPr>
        <p:spPr bwMode="gray">
          <a:xfrm>
            <a:off x="3331740" y="6646864"/>
            <a:ext cx="2110154" cy="166687"/>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l">
              <a:spcBef>
                <a:spcPct val="0"/>
              </a:spcBef>
              <a:buSzTx/>
              <a:buFontTx/>
              <a:buNone/>
              <a:defRPr sz="1000" b="0"/>
            </a:lvl1pPr>
          </a:lstStyle>
          <a:p>
            <a:pPr eaLnBrk="0" hangingPunct="0">
              <a:defRPr/>
            </a:pPr>
            <a:r>
              <a:rPr lang="en-US" sz="800" dirty="0" smtClean="0">
                <a:solidFill>
                  <a:srgbClr val="000066"/>
                </a:solidFill>
                <a:cs typeface="+mn-cs"/>
              </a:rPr>
              <a:t>Copyright © 2012 Accenture All Rights Reserved.</a:t>
            </a:r>
            <a:endParaRPr lang="en-US" sz="800" dirty="0">
              <a:solidFill>
                <a:srgbClr val="000066"/>
              </a:solidFill>
              <a:cs typeface="+mn-cs"/>
            </a:endParaRPr>
          </a:p>
        </p:txBody>
      </p:sp>
    </p:spTree>
    <p:extLst>
      <p:ext uri="{BB962C8B-B14F-4D97-AF65-F5344CB8AC3E}">
        <p14:creationId xmlns:p14="http://schemas.microsoft.com/office/powerpoint/2010/main" val="370118028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12200822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163534426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95654" y="1752600"/>
            <a:ext cx="3817327"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353659" y="1752600"/>
            <a:ext cx="3818792"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338182290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270"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70"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30984348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142486540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273817537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435"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538" y="273051"/>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1"/>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265563764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3865" y="230454"/>
            <a:ext cx="8229600" cy="758952"/>
          </a:xfrm>
          <a:prstGeom prst="rect">
            <a:avLst/>
          </a:prstGeom>
        </p:spPr>
        <p:txBody>
          <a:bodyPr/>
          <a:lstStyle>
            <a:lvl1pPr>
              <a:defRPr>
                <a:solidFill>
                  <a:schemeClr val="accent1"/>
                </a:solidFill>
              </a:defRPr>
            </a:lvl1pPr>
          </a:lstStyle>
          <a:p>
            <a:r>
              <a:rPr lang="en-US" smtClean="0"/>
              <a:t>Click to edit Master title style</a:t>
            </a:r>
            <a:endParaRPr lang="en-US"/>
          </a:p>
        </p:txBody>
      </p:sp>
      <p:sp>
        <p:nvSpPr>
          <p:cNvPr id="3" name="Content Placeholder 2"/>
          <p:cNvSpPr>
            <a:spLocks noGrp="1"/>
          </p:cNvSpPr>
          <p:nvPr>
            <p:ph idx="1"/>
          </p:nvPr>
        </p:nvSpPr>
        <p:spPr>
          <a:xfrm>
            <a:off x="434975" y="1716088"/>
            <a:ext cx="8302625" cy="4999037"/>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7"/>
          <p:cNvSpPr txBox="1">
            <a:spLocks noChangeArrowheads="1"/>
          </p:cNvSpPr>
          <p:nvPr userDrawn="1"/>
        </p:nvSpPr>
        <p:spPr>
          <a:xfrm>
            <a:off x="7444154" y="6597651"/>
            <a:ext cx="1693985" cy="269875"/>
          </a:xfrm>
          <a:prstGeom prst="rect">
            <a:avLst/>
          </a:prstGeom>
          <a:ln/>
        </p:spPr>
        <p:txBody>
          <a:bodyPr/>
          <a:lstStyle>
            <a:defPPr>
              <a:defRPr lang="en-US"/>
            </a:defPPr>
            <a:lvl1pPr algn="r" rtl="0" fontAlgn="base">
              <a:spcBef>
                <a:spcPct val="0"/>
              </a:spcBef>
              <a:spcAft>
                <a:spcPct val="0"/>
              </a:spcAft>
              <a:defRPr sz="10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defRPr/>
            </a:pPr>
            <a:fld id="{F46C8E8C-1F1A-46DA-8413-ADD73B8B95FA}"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41377454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49268242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412565949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29351" y="355600"/>
            <a:ext cx="1943100" cy="54356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95654" y="355600"/>
            <a:ext cx="5693020" cy="5435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53818896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95654" y="355600"/>
            <a:ext cx="6693877" cy="10080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5654" y="1752600"/>
            <a:ext cx="7776797" cy="4038600"/>
          </a:xfrm>
        </p:spPr>
        <p:txBody>
          <a:bodyPr/>
          <a:lstStyle/>
          <a:p>
            <a:pPr lvl="0"/>
            <a:endParaRPr lang="en-US" noProof="0" dirty="0"/>
          </a:p>
        </p:txBody>
      </p:sp>
      <p:sp>
        <p:nvSpPr>
          <p:cNvPr id="4" name="Rectangle 9"/>
          <p:cNvSpPr>
            <a:spLocks noGrp="1" noChangeArrowheads="1"/>
          </p:cNvSpPr>
          <p:nvPr>
            <p:ph type="dt" sz="half" idx="10"/>
          </p:nvPr>
        </p:nvSpPr>
        <p:spPr>
          <a:ln/>
        </p:spPr>
        <p:txBody>
          <a:bodyPr/>
          <a:lstStyle>
            <a:lvl1pPr>
              <a:defRPr/>
            </a:lvl1pPr>
          </a:lstStyle>
          <a:p>
            <a:pPr>
              <a:defRPr/>
            </a:pPr>
            <a:endParaRPr lang="en-US" dirty="0">
              <a:solidFill>
                <a:srgbClr val="000066"/>
              </a:solidFill>
            </a:endParaRPr>
          </a:p>
        </p:txBody>
      </p:sp>
    </p:spTree>
    <p:extLst>
      <p:ext uri="{BB962C8B-B14F-4D97-AF65-F5344CB8AC3E}">
        <p14:creationId xmlns:p14="http://schemas.microsoft.com/office/powerpoint/2010/main" val="3021876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35" name="Picture 34" descr="iStock_000014842676LR.jpg"/>
          <p:cNvPicPr>
            <a:picLocks noChangeAspect="1"/>
          </p:cNvPicPr>
          <p:nvPr userDrawn="1"/>
        </p:nvPicPr>
        <p:blipFill>
          <a:blip r:embed="rId2" cstate="print"/>
          <a:stretch>
            <a:fillRect/>
          </a:stretch>
        </p:blipFill>
        <p:spPr>
          <a:xfrm>
            <a:off x="0" y="0"/>
            <a:ext cx="9144000" cy="6858000"/>
          </a:xfrm>
          <a:prstGeom prst="rect">
            <a:avLst/>
          </a:prstGeom>
        </p:spPr>
      </p:pic>
      <p:sp>
        <p:nvSpPr>
          <p:cNvPr id="24" name="Rectangle 3"/>
          <p:cNvSpPr>
            <a:spLocks noGrp="1" noChangeArrowheads="1"/>
          </p:cNvSpPr>
          <p:nvPr>
            <p:ph type="subTitle" idx="1"/>
          </p:nvPr>
        </p:nvSpPr>
        <p:spPr>
          <a:xfrm>
            <a:off x="365358" y="2176230"/>
            <a:ext cx="4793940" cy="669925"/>
          </a:xfrm>
          <a:prstGeom prst="rect">
            <a:avLst/>
          </a:prstGeom>
          <a:ln w="12700"/>
        </p:spPr>
        <p:txBody>
          <a:bodyPr lIns="90488" tIns="44450" rIns="90488" bIns="44450"/>
          <a:lstStyle>
            <a:lvl1pPr marL="0" indent="0">
              <a:buFontTx/>
              <a:buNone/>
              <a:defRPr sz="2000">
                <a:solidFill>
                  <a:srgbClr val="FFFFFF"/>
                </a:solidFill>
              </a:defRPr>
            </a:lvl1pPr>
          </a:lstStyle>
          <a:p>
            <a:r>
              <a:rPr lang="en-US" smtClean="0"/>
              <a:t>Click to edit Master subtitle style</a:t>
            </a:r>
            <a:endParaRPr lang="en-US" dirty="0"/>
          </a:p>
        </p:txBody>
      </p:sp>
      <p:sp>
        <p:nvSpPr>
          <p:cNvPr id="32" name="Rectangle 4"/>
          <p:cNvSpPr>
            <a:spLocks noGrp="1" noChangeArrowheads="1"/>
          </p:cNvSpPr>
          <p:nvPr>
            <p:ph type="ctrTitle"/>
          </p:nvPr>
        </p:nvSpPr>
        <p:spPr>
          <a:xfrm>
            <a:off x="365358" y="1008525"/>
            <a:ext cx="4459191" cy="1023937"/>
          </a:xfrm>
        </p:spPr>
        <p:txBody>
          <a:bodyPr lIns="90488" tIns="44450" rIns="90488" bIns="44450" anchor="t"/>
          <a:lstStyle>
            <a:lvl1pPr>
              <a:lnSpc>
                <a:spcPct val="100000"/>
              </a:lnSpc>
              <a:defRPr sz="3600">
                <a:solidFill>
                  <a:schemeClr val="bg1"/>
                </a:solidFill>
              </a:defRPr>
            </a:lvl1pPr>
          </a:lstStyle>
          <a:p>
            <a:r>
              <a:rPr lang="en-US" smtClean="0"/>
              <a:t>Click to edit Master title style</a:t>
            </a:r>
            <a:endParaRPr lang="en-US" dirty="0"/>
          </a:p>
        </p:txBody>
      </p:sp>
      <p:sp>
        <p:nvSpPr>
          <p:cNvPr id="26" name="AutoShape 16"/>
          <p:cNvSpPr>
            <a:spLocks noChangeAspect="1" noChangeArrowheads="1" noTextEdit="1"/>
          </p:cNvSpPr>
          <p:nvPr userDrawn="1"/>
        </p:nvSpPr>
        <p:spPr bwMode="auto">
          <a:xfrm>
            <a:off x="5218113" y="955102"/>
            <a:ext cx="3944937" cy="30051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cxnSp>
        <p:nvCxnSpPr>
          <p:cNvPr id="31" name="Straight Connector 9"/>
          <p:cNvCxnSpPr>
            <a:cxnSpLocks noChangeShapeType="1"/>
          </p:cNvCxnSpPr>
          <p:nvPr userDrawn="1"/>
        </p:nvCxnSpPr>
        <p:spPr bwMode="auto">
          <a:xfrm>
            <a:off x="452437" y="6570028"/>
            <a:ext cx="8691563" cy="0"/>
          </a:xfrm>
          <a:prstGeom prst="line">
            <a:avLst/>
          </a:prstGeom>
          <a:noFill/>
          <a:ln w="12700">
            <a:solidFill>
              <a:schemeClr val="bg1"/>
            </a:solidFill>
            <a:round/>
            <a:headEnd/>
            <a:tailEnd/>
          </a:ln>
        </p:spPr>
      </p:cxnSp>
      <p:grpSp>
        <p:nvGrpSpPr>
          <p:cNvPr id="37" name="Group 36"/>
          <p:cNvGrpSpPr/>
          <p:nvPr userDrawn="1"/>
        </p:nvGrpSpPr>
        <p:grpSpPr>
          <a:xfrm>
            <a:off x="5679688" y="1655542"/>
            <a:ext cx="3096399" cy="2079625"/>
            <a:chOff x="5679688" y="1655542"/>
            <a:chExt cx="3096399" cy="2079625"/>
          </a:xfrm>
        </p:grpSpPr>
        <p:sp>
          <p:nvSpPr>
            <p:cNvPr id="33" name="Freeform 18"/>
            <p:cNvSpPr>
              <a:spLocks/>
            </p:cNvSpPr>
            <p:nvPr userDrawn="1"/>
          </p:nvSpPr>
          <p:spPr bwMode="auto">
            <a:xfrm>
              <a:off x="6142038" y="1655542"/>
              <a:ext cx="2036762" cy="2079625"/>
            </a:xfrm>
            <a:custGeom>
              <a:avLst/>
              <a:gdLst/>
              <a:ahLst/>
              <a:cxnLst>
                <a:cxn ang="0">
                  <a:pos x="0" y="0"/>
                </a:cxn>
                <a:cxn ang="0">
                  <a:pos x="0" y="368"/>
                </a:cxn>
                <a:cxn ang="0">
                  <a:pos x="1193" y="831"/>
                </a:cxn>
                <a:cxn ang="0">
                  <a:pos x="0" y="1291"/>
                </a:cxn>
                <a:cxn ang="0">
                  <a:pos x="0" y="1658"/>
                </a:cxn>
                <a:cxn ang="0">
                  <a:pos x="1625" y="998"/>
                </a:cxn>
                <a:cxn ang="0">
                  <a:pos x="1625" y="661"/>
                </a:cxn>
                <a:cxn ang="0">
                  <a:pos x="0" y="0"/>
                </a:cxn>
              </a:cxnLst>
              <a:rect l="0" t="0" r="r" b="b"/>
              <a:pathLst>
                <a:path w="1625" h="1658">
                  <a:moveTo>
                    <a:pt x="0" y="0"/>
                  </a:moveTo>
                  <a:cubicBezTo>
                    <a:pt x="0" y="368"/>
                    <a:pt x="0" y="368"/>
                    <a:pt x="0" y="368"/>
                  </a:cubicBezTo>
                  <a:cubicBezTo>
                    <a:pt x="0" y="368"/>
                    <a:pt x="1044" y="773"/>
                    <a:pt x="1193" y="831"/>
                  </a:cubicBezTo>
                  <a:cubicBezTo>
                    <a:pt x="1044" y="888"/>
                    <a:pt x="0" y="1291"/>
                    <a:pt x="0" y="1291"/>
                  </a:cubicBezTo>
                  <a:cubicBezTo>
                    <a:pt x="0" y="1658"/>
                    <a:pt x="0" y="1658"/>
                    <a:pt x="0" y="1658"/>
                  </a:cubicBezTo>
                  <a:cubicBezTo>
                    <a:pt x="1625" y="998"/>
                    <a:pt x="1625" y="998"/>
                    <a:pt x="1625" y="998"/>
                  </a:cubicBezTo>
                  <a:cubicBezTo>
                    <a:pt x="1625" y="661"/>
                    <a:pt x="1625" y="661"/>
                    <a:pt x="1625" y="661"/>
                  </a:cubicBezTo>
                  <a:cubicBezTo>
                    <a:pt x="0" y="0"/>
                    <a:pt x="0" y="0"/>
                    <a:pt x="0" y="0"/>
                  </a:cubicBezTo>
                </a:path>
              </a:pathLst>
            </a:custGeom>
            <a:solidFill>
              <a:srgbClr val="AA1133"/>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srgbClr val="AA1133"/>
                </a:solidFill>
              </a:endParaRPr>
            </a:p>
          </p:txBody>
        </p:sp>
        <p:sp>
          <p:nvSpPr>
            <p:cNvPr id="38" name="Freeform 6"/>
            <p:cNvSpPr>
              <a:spLocks noEditPoints="1"/>
            </p:cNvSpPr>
            <p:nvPr userDrawn="1"/>
          </p:nvSpPr>
          <p:spPr bwMode="auto">
            <a:xfrm>
              <a:off x="5679688" y="2494192"/>
              <a:ext cx="3096399" cy="255416"/>
            </a:xfrm>
            <a:custGeom>
              <a:avLst/>
              <a:gdLst/>
              <a:ahLst/>
              <a:cxnLst>
                <a:cxn ang="0">
                  <a:pos x="103" y="3"/>
                </a:cxn>
                <a:cxn ang="0">
                  <a:pos x="0" y="153"/>
                </a:cxn>
                <a:cxn ang="0">
                  <a:pos x="129" y="3"/>
                </a:cxn>
                <a:cxn ang="0">
                  <a:pos x="256" y="157"/>
                </a:cxn>
                <a:cxn ang="0">
                  <a:pos x="236" y="135"/>
                </a:cxn>
                <a:cxn ang="0">
                  <a:pos x="236" y="64"/>
                </a:cxn>
                <a:cxn ang="0">
                  <a:pos x="214" y="62"/>
                </a:cxn>
                <a:cxn ang="0">
                  <a:pos x="302" y="71"/>
                </a:cxn>
                <a:cxn ang="0">
                  <a:pos x="329" y="66"/>
                </a:cxn>
                <a:cxn ang="0">
                  <a:pos x="468" y="49"/>
                </a:cxn>
                <a:cxn ang="0">
                  <a:pos x="468" y="139"/>
                </a:cxn>
                <a:cxn ang="0">
                  <a:pos x="511" y="101"/>
                </a:cxn>
                <a:cxn ang="0">
                  <a:pos x="546" y="96"/>
                </a:cxn>
                <a:cxn ang="0">
                  <a:pos x="624" y="136"/>
                </a:cxn>
                <a:cxn ang="0">
                  <a:pos x="645" y="49"/>
                </a:cxn>
                <a:cxn ang="0">
                  <a:pos x="665" y="109"/>
                </a:cxn>
                <a:cxn ang="0">
                  <a:pos x="710" y="49"/>
                </a:cxn>
                <a:cxn ang="0">
                  <a:pos x="768" y="15"/>
                </a:cxn>
                <a:cxn ang="0">
                  <a:pos x="748" y="153"/>
                </a:cxn>
                <a:cxn ang="0">
                  <a:pos x="832" y="155"/>
                </a:cxn>
                <a:cxn ang="0">
                  <a:pos x="832" y="140"/>
                </a:cxn>
                <a:cxn ang="0">
                  <a:pos x="950" y="68"/>
                </a:cxn>
                <a:cxn ang="0">
                  <a:pos x="986" y="49"/>
                </a:cxn>
                <a:cxn ang="0">
                  <a:pos x="1071" y="47"/>
                </a:cxn>
                <a:cxn ang="0">
                  <a:pos x="1042" y="103"/>
                </a:cxn>
                <a:cxn ang="0">
                  <a:pos x="986" y="153"/>
                </a:cxn>
                <a:cxn ang="0">
                  <a:pos x="1119" y="127"/>
                </a:cxn>
                <a:cxn ang="0">
                  <a:pos x="1161" y="47"/>
                </a:cxn>
                <a:cxn ang="0">
                  <a:pos x="1141" y="127"/>
                </a:cxn>
                <a:cxn ang="0">
                  <a:pos x="1241" y="49"/>
                </a:cxn>
                <a:cxn ang="0">
                  <a:pos x="1282" y="153"/>
                </a:cxn>
                <a:cxn ang="0">
                  <a:pos x="1221" y="49"/>
                </a:cxn>
                <a:cxn ang="0">
                  <a:pos x="1381" y="83"/>
                </a:cxn>
                <a:cxn ang="0">
                  <a:pos x="1494" y="152"/>
                </a:cxn>
                <a:cxn ang="0">
                  <a:pos x="1437" y="93"/>
                </a:cxn>
                <a:cxn ang="0">
                  <a:pos x="1438" y="80"/>
                </a:cxn>
                <a:cxn ang="0">
                  <a:pos x="1518" y="123"/>
                </a:cxn>
                <a:cxn ang="0">
                  <a:pos x="1633" y="3"/>
                </a:cxn>
                <a:cxn ang="0">
                  <a:pos x="1655" y="136"/>
                </a:cxn>
                <a:cxn ang="0">
                  <a:pos x="1831" y="93"/>
                </a:cxn>
                <a:cxn ang="0">
                  <a:pos x="1792" y="62"/>
                </a:cxn>
                <a:cxn ang="0">
                  <a:pos x="1851" y="153"/>
                </a:cxn>
                <a:cxn ang="0">
                  <a:pos x="1897" y="3"/>
                </a:cxn>
                <a:cxn ang="0">
                  <a:pos x="1934" y="49"/>
                </a:cxn>
                <a:cxn ang="0">
                  <a:pos x="1993" y="153"/>
                </a:cxn>
                <a:cxn ang="0">
                  <a:pos x="2076" y="47"/>
                </a:cxn>
                <a:cxn ang="0">
                  <a:pos x="2111" y="152"/>
                </a:cxn>
                <a:cxn ang="0">
                  <a:pos x="2152" y="49"/>
                </a:cxn>
                <a:cxn ang="0">
                  <a:pos x="2152" y="153"/>
                </a:cxn>
                <a:cxn ang="0">
                  <a:pos x="2237" y="47"/>
                </a:cxn>
                <a:cxn ang="0">
                  <a:pos x="2272" y="152"/>
                </a:cxn>
                <a:cxn ang="0">
                  <a:pos x="2352" y="137"/>
                </a:cxn>
                <a:cxn ang="0">
                  <a:pos x="2353" y="3"/>
                </a:cxn>
                <a:cxn ang="0">
                  <a:pos x="2353" y="101"/>
                </a:cxn>
                <a:cxn ang="0">
                  <a:pos x="2426" y="153"/>
                </a:cxn>
              </a:cxnLst>
              <a:rect l="0" t="0" r="r" b="b"/>
              <a:pathLst>
                <a:path w="2426" h="200">
                  <a:moveTo>
                    <a:pt x="0" y="3"/>
                  </a:moveTo>
                  <a:cubicBezTo>
                    <a:pt x="22" y="3"/>
                    <a:pt x="22" y="3"/>
                    <a:pt x="22" y="3"/>
                  </a:cubicBezTo>
                  <a:cubicBezTo>
                    <a:pt x="22" y="66"/>
                    <a:pt x="22" y="66"/>
                    <a:pt x="22" y="66"/>
                  </a:cubicBezTo>
                  <a:cubicBezTo>
                    <a:pt x="81" y="66"/>
                    <a:pt x="81" y="66"/>
                    <a:pt x="81" y="66"/>
                  </a:cubicBezTo>
                  <a:cubicBezTo>
                    <a:pt x="81" y="3"/>
                    <a:pt x="81" y="3"/>
                    <a:pt x="81" y="3"/>
                  </a:cubicBezTo>
                  <a:cubicBezTo>
                    <a:pt x="103" y="3"/>
                    <a:pt x="103" y="3"/>
                    <a:pt x="103" y="3"/>
                  </a:cubicBezTo>
                  <a:cubicBezTo>
                    <a:pt x="103" y="153"/>
                    <a:pt x="103" y="153"/>
                    <a:pt x="103" y="153"/>
                  </a:cubicBezTo>
                  <a:cubicBezTo>
                    <a:pt x="81" y="153"/>
                    <a:pt x="81" y="153"/>
                    <a:pt x="81" y="153"/>
                  </a:cubicBezTo>
                  <a:cubicBezTo>
                    <a:pt x="81" y="83"/>
                    <a:pt x="81" y="83"/>
                    <a:pt x="81" y="83"/>
                  </a:cubicBezTo>
                  <a:cubicBezTo>
                    <a:pt x="22" y="83"/>
                    <a:pt x="22" y="83"/>
                    <a:pt x="22" y="83"/>
                  </a:cubicBezTo>
                  <a:cubicBezTo>
                    <a:pt x="22" y="153"/>
                    <a:pt x="22" y="153"/>
                    <a:pt x="22" y="153"/>
                  </a:cubicBezTo>
                  <a:cubicBezTo>
                    <a:pt x="0" y="153"/>
                    <a:pt x="0" y="153"/>
                    <a:pt x="0" y="153"/>
                  </a:cubicBezTo>
                  <a:lnTo>
                    <a:pt x="0" y="3"/>
                  </a:lnTo>
                  <a:close/>
                  <a:moveTo>
                    <a:pt x="129" y="3"/>
                  </a:moveTo>
                  <a:cubicBezTo>
                    <a:pt x="153" y="3"/>
                    <a:pt x="153" y="3"/>
                    <a:pt x="153" y="3"/>
                  </a:cubicBezTo>
                  <a:cubicBezTo>
                    <a:pt x="153" y="25"/>
                    <a:pt x="153" y="25"/>
                    <a:pt x="153" y="25"/>
                  </a:cubicBezTo>
                  <a:cubicBezTo>
                    <a:pt x="129" y="25"/>
                    <a:pt x="129" y="25"/>
                    <a:pt x="129" y="25"/>
                  </a:cubicBezTo>
                  <a:lnTo>
                    <a:pt x="129" y="3"/>
                  </a:lnTo>
                  <a:close/>
                  <a:moveTo>
                    <a:pt x="131" y="49"/>
                  </a:moveTo>
                  <a:cubicBezTo>
                    <a:pt x="151" y="49"/>
                    <a:pt x="151" y="49"/>
                    <a:pt x="151" y="49"/>
                  </a:cubicBezTo>
                  <a:cubicBezTo>
                    <a:pt x="151" y="153"/>
                    <a:pt x="151" y="153"/>
                    <a:pt x="151" y="153"/>
                  </a:cubicBezTo>
                  <a:cubicBezTo>
                    <a:pt x="131" y="153"/>
                    <a:pt x="131" y="153"/>
                    <a:pt x="131" y="153"/>
                  </a:cubicBezTo>
                  <a:lnTo>
                    <a:pt x="131" y="49"/>
                  </a:lnTo>
                  <a:close/>
                  <a:moveTo>
                    <a:pt x="256" y="157"/>
                  </a:moveTo>
                  <a:cubicBezTo>
                    <a:pt x="256" y="187"/>
                    <a:pt x="239" y="200"/>
                    <a:pt x="208" y="200"/>
                  </a:cubicBezTo>
                  <a:cubicBezTo>
                    <a:pt x="192" y="200"/>
                    <a:pt x="181" y="197"/>
                    <a:pt x="176" y="196"/>
                  </a:cubicBezTo>
                  <a:cubicBezTo>
                    <a:pt x="176" y="176"/>
                    <a:pt x="176" y="176"/>
                    <a:pt x="176" y="176"/>
                  </a:cubicBezTo>
                  <a:cubicBezTo>
                    <a:pt x="183" y="179"/>
                    <a:pt x="193" y="184"/>
                    <a:pt x="206" y="184"/>
                  </a:cubicBezTo>
                  <a:cubicBezTo>
                    <a:pt x="236" y="184"/>
                    <a:pt x="236" y="163"/>
                    <a:pt x="236" y="151"/>
                  </a:cubicBezTo>
                  <a:cubicBezTo>
                    <a:pt x="236" y="135"/>
                    <a:pt x="236" y="135"/>
                    <a:pt x="236" y="135"/>
                  </a:cubicBezTo>
                  <a:cubicBezTo>
                    <a:pt x="236" y="135"/>
                    <a:pt x="236" y="135"/>
                    <a:pt x="236" y="135"/>
                  </a:cubicBezTo>
                  <a:cubicBezTo>
                    <a:pt x="234" y="141"/>
                    <a:pt x="225" y="153"/>
                    <a:pt x="207" y="153"/>
                  </a:cubicBezTo>
                  <a:cubicBezTo>
                    <a:pt x="180" y="153"/>
                    <a:pt x="172" y="128"/>
                    <a:pt x="172" y="101"/>
                  </a:cubicBezTo>
                  <a:cubicBezTo>
                    <a:pt x="172" y="72"/>
                    <a:pt x="182" y="47"/>
                    <a:pt x="209" y="47"/>
                  </a:cubicBezTo>
                  <a:cubicBezTo>
                    <a:pt x="225" y="47"/>
                    <a:pt x="234" y="58"/>
                    <a:pt x="236" y="64"/>
                  </a:cubicBezTo>
                  <a:cubicBezTo>
                    <a:pt x="236" y="64"/>
                    <a:pt x="236" y="64"/>
                    <a:pt x="236" y="64"/>
                  </a:cubicBezTo>
                  <a:cubicBezTo>
                    <a:pt x="236" y="49"/>
                    <a:pt x="236" y="49"/>
                    <a:pt x="236" y="49"/>
                  </a:cubicBezTo>
                  <a:cubicBezTo>
                    <a:pt x="256" y="49"/>
                    <a:pt x="256" y="49"/>
                    <a:pt x="256" y="49"/>
                  </a:cubicBezTo>
                  <a:lnTo>
                    <a:pt x="256" y="157"/>
                  </a:lnTo>
                  <a:close/>
                  <a:moveTo>
                    <a:pt x="214" y="138"/>
                  </a:moveTo>
                  <a:cubicBezTo>
                    <a:pt x="230" y="138"/>
                    <a:pt x="236" y="115"/>
                    <a:pt x="236" y="99"/>
                  </a:cubicBezTo>
                  <a:cubicBezTo>
                    <a:pt x="236" y="83"/>
                    <a:pt x="231" y="62"/>
                    <a:pt x="214" y="62"/>
                  </a:cubicBezTo>
                  <a:cubicBezTo>
                    <a:pt x="197" y="62"/>
                    <a:pt x="193" y="85"/>
                    <a:pt x="193" y="101"/>
                  </a:cubicBezTo>
                  <a:cubicBezTo>
                    <a:pt x="193" y="114"/>
                    <a:pt x="196" y="138"/>
                    <a:pt x="214" y="138"/>
                  </a:cubicBezTo>
                  <a:close/>
                  <a:moveTo>
                    <a:pt x="282" y="3"/>
                  </a:moveTo>
                  <a:cubicBezTo>
                    <a:pt x="301" y="3"/>
                    <a:pt x="301" y="3"/>
                    <a:pt x="301" y="3"/>
                  </a:cubicBezTo>
                  <a:cubicBezTo>
                    <a:pt x="301" y="71"/>
                    <a:pt x="301" y="71"/>
                    <a:pt x="301" y="71"/>
                  </a:cubicBezTo>
                  <a:cubicBezTo>
                    <a:pt x="302" y="71"/>
                    <a:pt x="302" y="71"/>
                    <a:pt x="302" y="71"/>
                  </a:cubicBezTo>
                  <a:cubicBezTo>
                    <a:pt x="305" y="63"/>
                    <a:pt x="314" y="47"/>
                    <a:pt x="335" y="47"/>
                  </a:cubicBezTo>
                  <a:cubicBezTo>
                    <a:pt x="359" y="47"/>
                    <a:pt x="363" y="68"/>
                    <a:pt x="363" y="81"/>
                  </a:cubicBezTo>
                  <a:cubicBezTo>
                    <a:pt x="363" y="153"/>
                    <a:pt x="363" y="153"/>
                    <a:pt x="363" y="153"/>
                  </a:cubicBezTo>
                  <a:cubicBezTo>
                    <a:pt x="343" y="153"/>
                    <a:pt x="343" y="153"/>
                    <a:pt x="343" y="153"/>
                  </a:cubicBezTo>
                  <a:cubicBezTo>
                    <a:pt x="343" y="96"/>
                    <a:pt x="343" y="96"/>
                    <a:pt x="343" y="96"/>
                  </a:cubicBezTo>
                  <a:cubicBezTo>
                    <a:pt x="343" y="77"/>
                    <a:pt x="343" y="66"/>
                    <a:pt x="329" y="66"/>
                  </a:cubicBezTo>
                  <a:cubicBezTo>
                    <a:pt x="313" y="66"/>
                    <a:pt x="301" y="88"/>
                    <a:pt x="301" y="109"/>
                  </a:cubicBezTo>
                  <a:cubicBezTo>
                    <a:pt x="301" y="153"/>
                    <a:pt x="301" y="153"/>
                    <a:pt x="301" y="153"/>
                  </a:cubicBezTo>
                  <a:cubicBezTo>
                    <a:pt x="282" y="153"/>
                    <a:pt x="282" y="153"/>
                    <a:pt x="282" y="153"/>
                  </a:cubicBezTo>
                  <a:lnTo>
                    <a:pt x="282" y="3"/>
                  </a:lnTo>
                  <a:close/>
                  <a:moveTo>
                    <a:pt x="448" y="49"/>
                  </a:moveTo>
                  <a:cubicBezTo>
                    <a:pt x="468" y="49"/>
                    <a:pt x="468" y="49"/>
                    <a:pt x="468" y="49"/>
                  </a:cubicBezTo>
                  <a:cubicBezTo>
                    <a:pt x="468" y="65"/>
                    <a:pt x="468" y="65"/>
                    <a:pt x="468" y="65"/>
                  </a:cubicBezTo>
                  <a:cubicBezTo>
                    <a:pt x="468" y="65"/>
                    <a:pt x="468" y="65"/>
                    <a:pt x="468" y="65"/>
                  </a:cubicBezTo>
                  <a:cubicBezTo>
                    <a:pt x="471" y="59"/>
                    <a:pt x="480" y="47"/>
                    <a:pt x="497" y="47"/>
                  </a:cubicBezTo>
                  <a:cubicBezTo>
                    <a:pt x="522" y="47"/>
                    <a:pt x="532" y="70"/>
                    <a:pt x="532" y="99"/>
                  </a:cubicBezTo>
                  <a:cubicBezTo>
                    <a:pt x="532" y="134"/>
                    <a:pt x="519" y="155"/>
                    <a:pt x="496" y="155"/>
                  </a:cubicBezTo>
                  <a:cubicBezTo>
                    <a:pt x="479" y="155"/>
                    <a:pt x="471" y="145"/>
                    <a:pt x="468" y="139"/>
                  </a:cubicBezTo>
                  <a:cubicBezTo>
                    <a:pt x="468" y="139"/>
                    <a:pt x="468" y="139"/>
                    <a:pt x="468" y="139"/>
                  </a:cubicBezTo>
                  <a:cubicBezTo>
                    <a:pt x="468" y="200"/>
                    <a:pt x="468" y="200"/>
                    <a:pt x="468" y="200"/>
                  </a:cubicBezTo>
                  <a:cubicBezTo>
                    <a:pt x="448" y="200"/>
                    <a:pt x="448" y="200"/>
                    <a:pt x="448" y="200"/>
                  </a:cubicBezTo>
                  <a:lnTo>
                    <a:pt x="448" y="49"/>
                  </a:lnTo>
                  <a:close/>
                  <a:moveTo>
                    <a:pt x="490" y="140"/>
                  </a:moveTo>
                  <a:cubicBezTo>
                    <a:pt x="506" y="140"/>
                    <a:pt x="511" y="123"/>
                    <a:pt x="511" y="101"/>
                  </a:cubicBezTo>
                  <a:cubicBezTo>
                    <a:pt x="511" y="85"/>
                    <a:pt x="509" y="62"/>
                    <a:pt x="490" y="62"/>
                  </a:cubicBezTo>
                  <a:cubicBezTo>
                    <a:pt x="474" y="62"/>
                    <a:pt x="468" y="84"/>
                    <a:pt x="468" y="101"/>
                  </a:cubicBezTo>
                  <a:cubicBezTo>
                    <a:pt x="468" y="120"/>
                    <a:pt x="473" y="140"/>
                    <a:pt x="490" y="140"/>
                  </a:cubicBezTo>
                  <a:close/>
                  <a:moveTo>
                    <a:pt x="624" y="152"/>
                  </a:moveTo>
                  <a:cubicBezTo>
                    <a:pt x="615" y="154"/>
                    <a:pt x="609" y="155"/>
                    <a:pt x="598" y="155"/>
                  </a:cubicBezTo>
                  <a:cubicBezTo>
                    <a:pt x="567" y="155"/>
                    <a:pt x="546" y="137"/>
                    <a:pt x="546" y="96"/>
                  </a:cubicBezTo>
                  <a:cubicBezTo>
                    <a:pt x="546" y="52"/>
                    <a:pt x="575" y="47"/>
                    <a:pt x="589" y="47"/>
                  </a:cubicBezTo>
                  <a:cubicBezTo>
                    <a:pt x="614" y="47"/>
                    <a:pt x="626" y="64"/>
                    <a:pt x="626" y="88"/>
                  </a:cubicBezTo>
                  <a:cubicBezTo>
                    <a:pt x="626" y="93"/>
                    <a:pt x="626" y="93"/>
                    <a:pt x="626" y="93"/>
                  </a:cubicBezTo>
                  <a:cubicBezTo>
                    <a:pt x="566" y="93"/>
                    <a:pt x="566" y="93"/>
                    <a:pt x="566" y="93"/>
                  </a:cubicBezTo>
                  <a:cubicBezTo>
                    <a:pt x="566" y="113"/>
                    <a:pt x="576" y="140"/>
                    <a:pt x="604" y="140"/>
                  </a:cubicBezTo>
                  <a:cubicBezTo>
                    <a:pt x="613" y="140"/>
                    <a:pt x="619" y="138"/>
                    <a:pt x="624" y="136"/>
                  </a:cubicBezTo>
                  <a:lnTo>
                    <a:pt x="624" y="152"/>
                  </a:lnTo>
                  <a:close/>
                  <a:moveTo>
                    <a:pt x="607" y="80"/>
                  </a:moveTo>
                  <a:cubicBezTo>
                    <a:pt x="607" y="74"/>
                    <a:pt x="603" y="62"/>
                    <a:pt x="588" y="62"/>
                  </a:cubicBezTo>
                  <a:cubicBezTo>
                    <a:pt x="572" y="62"/>
                    <a:pt x="567" y="76"/>
                    <a:pt x="567" y="80"/>
                  </a:cubicBezTo>
                  <a:lnTo>
                    <a:pt x="607" y="80"/>
                  </a:lnTo>
                  <a:close/>
                  <a:moveTo>
                    <a:pt x="645" y="49"/>
                  </a:moveTo>
                  <a:cubicBezTo>
                    <a:pt x="665" y="49"/>
                    <a:pt x="665" y="49"/>
                    <a:pt x="665" y="49"/>
                  </a:cubicBezTo>
                  <a:cubicBezTo>
                    <a:pt x="665" y="70"/>
                    <a:pt x="665" y="70"/>
                    <a:pt x="665" y="70"/>
                  </a:cubicBezTo>
                  <a:cubicBezTo>
                    <a:pt x="665" y="70"/>
                    <a:pt x="665" y="70"/>
                    <a:pt x="665" y="70"/>
                  </a:cubicBezTo>
                  <a:cubicBezTo>
                    <a:pt x="668" y="62"/>
                    <a:pt x="677" y="47"/>
                    <a:pt x="697" y="47"/>
                  </a:cubicBezTo>
                  <a:cubicBezTo>
                    <a:pt x="697" y="68"/>
                    <a:pt x="697" y="68"/>
                    <a:pt x="697" y="68"/>
                  </a:cubicBezTo>
                  <a:cubicBezTo>
                    <a:pt x="679" y="68"/>
                    <a:pt x="665" y="77"/>
                    <a:pt x="665" y="109"/>
                  </a:cubicBezTo>
                  <a:cubicBezTo>
                    <a:pt x="665" y="153"/>
                    <a:pt x="665" y="153"/>
                    <a:pt x="665" y="153"/>
                  </a:cubicBezTo>
                  <a:cubicBezTo>
                    <a:pt x="645" y="153"/>
                    <a:pt x="645" y="153"/>
                    <a:pt x="645" y="153"/>
                  </a:cubicBezTo>
                  <a:lnTo>
                    <a:pt x="645" y="49"/>
                  </a:lnTo>
                  <a:close/>
                  <a:moveTo>
                    <a:pt x="728" y="65"/>
                  </a:moveTo>
                  <a:cubicBezTo>
                    <a:pt x="710" y="65"/>
                    <a:pt x="710" y="65"/>
                    <a:pt x="710" y="65"/>
                  </a:cubicBezTo>
                  <a:cubicBezTo>
                    <a:pt x="710" y="49"/>
                    <a:pt x="710" y="49"/>
                    <a:pt x="710" y="49"/>
                  </a:cubicBezTo>
                  <a:cubicBezTo>
                    <a:pt x="728" y="49"/>
                    <a:pt x="728" y="49"/>
                    <a:pt x="728" y="49"/>
                  </a:cubicBezTo>
                  <a:cubicBezTo>
                    <a:pt x="728" y="37"/>
                    <a:pt x="728" y="37"/>
                    <a:pt x="728" y="37"/>
                  </a:cubicBezTo>
                  <a:cubicBezTo>
                    <a:pt x="728" y="13"/>
                    <a:pt x="741" y="0"/>
                    <a:pt x="768" y="0"/>
                  </a:cubicBezTo>
                  <a:cubicBezTo>
                    <a:pt x="775" y="0"/>
                    <a:pt x="782" y="1"/>
                    <a:pt x="789" y="2"/>
                  </a:cubicBezTo>
                  <a:cubicBezTo>
                    <a:pt x="789" y="19"/>
                    <a:pt x="789" y="19"/>
                    <a:pt x="789" y="19"/>
                  </a:cubicBezTo>
                  <a:cubicBezTo>
                    <a:pt x="783" y="17"/>
                    <a:pt x="777" y="15"/>
                    <a:pt x="768" y="15"/>
                  </a:cubicBezTo>
                  <a:cubicBezTo>
                    <a:pt x="753" y="15"/>
                    <a:pt x="748" y="28"/>
                    <a:pt x="748" y="39"/>
                  </a:cubicBezTo>
                  <a:cubicBezTo>
                    <a:pt x="748" y="49"/>
                    <a:pt x="748" y="49"/>
                    <a:pt x="748" y="49"/>
                  </a:cubicBezTo>
                  <a:cubicBezTo>
                    <a:pt x="779" y="49"/>
                    <a:pt x="779" y="49"/>
                    <a:pt x="779" y="49"/>
                  </a:cubicBezTo>
                  <a:cubicBezTo>
                    <a:pt x="779" y="65"/>
                    <a:pt x="779" y="65"/>
                    <a:pt x="779" y="65"/>
                  </a:cubicBezTo>
                  <a:cubicBezTo>
                    <a:pt x="748" y="65"/>
                    <a:pt x="748" y="65"/>
                    <a:pt x="748" y="65"/>
                  </a:cubicBezTo>
                  <a:cubicBezTo>
                    <a:pt x="748" y="153"/>
                    <a:pt x="748" y="153"/>
                    <a:pt x="748" y="153"/>
                  </a:cubicBezTo>
                  <a:cubicBezTo>
                    <a:pt x="728" y="153"/>
                    <a:pt x="728" y="153"/>
                    <a:pt x="728" y="153"/>
                  </a:cubicBezTo>
                  <a:lnTo>
                    <a:pt x="728" y="65"/>
                  </a:lnTo>
                  <a:close/>
                  <a:moveTo>
                    <a:pt x="786" y="101"/>
                  </a:moveTo>
                  <a:cubicBezTo>
                    <a:pt x="786" y="68"/>
                    <a:pt x="801" y="47"/>
                    <a:pt x="832" y="47"/>
                  </a:cubicBezTo>
                  <a:cubicBezTo>
                    <a:pt x="863" y="47"/>
                    <a:pt x="878" y="68"/>
                    <a:pt x="878" y="101"/>
                  </a:cubicBezTo>
                  <a:cubicBezTo>
                    <a:pt x="878" y="134"/>
                    <a:pt x="863" y="155"/>
                    <a:pt x="832" y="155"/>
                  </a:cubicBezTo>
                  <a:cubicBezTo>
                    <a:pt x="801" y="155"/>
                    <a:pt x="786" y="134"/>
                    <a:pt x="786" y="101"/>
                  </a:cubicBezTo>
                  <a:close/>
                  <a:moveTo>
                    <a:pt x="832" y="140"/>
                  </a:moveTo>
                  <a:cubicBezTo>
                    <a:pt x="853" y="140"/>
                    <a:pt x="856" y="118"/>
                    <a:pt x="856" y="101"/>
                  </a:cubicBezTo>
                  <a:cubicBezTo>
                    <a:pt x="856" y="84"/>
                    <a:pt x="853" y="62"/>
                    <a:pt x="832" y="62"/>
                  </a:cubicBezTo>
                  <a:cubicBezTo>
                    <a:pt x="811" y="62"/>
                    <a:pt x="808" y="84"/>
                    <a:pt x="808" y="101"/>
                  </a:cubicBezTo>
                  <a:cubicBezTo>
                    <a:pt x="808" y="118"/>
                    <a:pt x="811" y="140"/>
                    <a:pt x="832" y="140"/>
                  </a:cubicBezTo>
                  <a:close/>
                  <a:moveTo>
                    <a:pt x="898" y="49"/>
                  </a:moveTo>
                  <a:cubicBezTo>
                    <a:pt x="918" y="49"/>
                    <a:pt x="918" y="49"/>
                    <a:pt x="918" y="49"/>
                  </a:cubicBezTo>
                  <a:cubicBezTo>
                    <a:pt x="918" y="70"/>
                    <a:pt x="918" y="70"/>
                    <a:pt x="918" y="70"/>
                  </a:cubicBezTo>
                  <a:cubicBezTo>
                    <a:pt x="918" y="70"/>
                    <a:pt x="918" y="70"/>
                    <a:pt x="918" y="70"/>
                  </a:cubicBezTo>
                  <a:cubicBezTo>
                    <a:pt x="921" y="62"/>
                    <a:pt x="930" y="47"/>
                    <a:pt x="950" y="47"/>
                  </a:cubicBezTo>
                  <a:cubicBezTo>
                    <a:pt x="950" y="68"/>
                    <a:pt x="950" y="68"/>
                    <a:pt x="950" y="68"/>
                  </a:cubicBezTo>
                  <a:cubicBezTo>
                    <a:pt x="933" y="68"/>
                    <a:pt x="918" y="77"/>
                    <a:pt x="918" y="109"/>
                  </a:cubicBezTo>
                  <a:cubicBezTo>
                    <a:pt x="918" y="153"/>
                    <a:pt x="918" y="153"/>
                    <a:pt x="918" y="153"/>
                  </a:cubicBezTo>
                  <a:cubicBezTo>
                    <a:pt x="898" y="153"/>
                    <a:pt x="898" y="153"/>
                    <a:pt x="898" y="153"/>
                  </a:cubicBezTo>
                  <a:lnTo>
                    <a:pt x="898" y="49"/>
                  </a:lnTo>
                  <a:close/>
                  <a:moveTo>
                    <a:pt x="966" y="49"/>
                  </a:moveTo>
                  <a:cubicBezTo>
                    <a:pt x="986" y="49"/>
                    <a:pt x="986" y="49"/>
                    <a:pt x="986" y="49"/>
                  </a:cubicBezTo>
                  <a:cubicBezTo>
                    <a:pt x="986" y="70"/>
                    <a:pt x="986" y="70"/>
                    <a:pt x="986" y="70"/>
                  </a:cubicBezTo>
                  <a:cubicBezTo>
                    <a:pt x="986" y="70"/>
                    <a:pt x="986" y="70"/>
                    <a:pt x="986" y="70"/>
                  </a:cubicBezTo>
                  <a:cubicBezTo>
                    <a:pt x="989" y="62"/>
                    <a:pt x="997" y="47"/>
                    <a:pt x="1015" y="47"/>
                  </a:cubicBezTo>
                  <a:cubicBezTo>
                    <a:pt x="1033" y="47"/>
                    <a:pt x="1040" y="60"/>
                    <a:pt x="1041" y="69"/>
                  </a:cubicBezTo>
                  <a:cubicBezTo>
                    <a:pt x="1042" y="69"/>
                    <a:pt x="1042" y="69"/>
                    <a:pt x="1042" y="69"/>
                  </a:cubicBezTo>
                  <a:cubicBezTo>
                    <a:pt x="1045" y="60"/>
                    <a:pt x="1054" y="47"/>
                    <a:pt x="1071" y="47"/>
                  </a:cubicBezTo>
                  <a:cubicBezTo>
                    <a:pt x="1096" y="47"/>
                    <a:pt x="1099" y="68"/>
                    <a:pt x="1099" y="81"/>
                  </a:cubicBezTo>
                  <a:cubicBezTo>
                    <a:pt x="1099" y="153"/>
                    <a:pt x="1099" y="153"/>
                    <a:pt x="1099" y="153"/>
                  </a:cubicBezTo>
                  <a:cubicBezTo>
                    <a:pt x="1080" y="153"/>
                    <a:pt x="1080" y="153"/>
                    <a:pt x="1080" y="153"/>
                  </a:cubicBezTo>
                  <a:cubicBezTo>
                    <a:pt x="1080" y="96"/>
                    <a:pt x="1080" y="96"/>
                    <a:pt x="1080" y="96"/>
                  </a:cubicBezTo>
                  <a:cubicBezTo>
                    <a:pt x="1080" y="77"/>
                    <a:pt x="1080" y="66"/>
                    <a:pt x="1065" y="66"/>
                  </a:cubicBezTo>
                  <a:cubicBezTo>
                    <a:pt x="1053" y="66"/>
                    <a:pt x="1042" y="86"/>
                    <a:pt x="1042" y="103"/>
                  </a:cubicBezTo>
                  <a:cubicBezTo>
                    <a:pt x="1042" y="153"/>
                    <a:pt x="1042" y="153"/>
                    <a:pt x="1042" y="153"/>
                  </a:cubicBezTo>
                  <a:cubicBezTo>
                    <a:pt x="1023" y="153"/>
                    <a:pt x="1023" y="153"/>
                    <a:pt x="1023" y="153"/>
                  </a:cubicBezTo>
                  <a:cubicBezTo>
                    <a:pt x="1023" y="96"/>
                    <a:pt x="1023" y="96"/>
                    <a:pt x="1023" y="96"/>
                  </a:cubicBezTo>
                  <a:cubicBezTo>
                    <a:pt x="1023" y="77"/>
                    <a:pt x="1023" y="66"/>
                    <a:pt x="1009" y="66"/>
                  </a:cubicBezTo>
                  <a:cubicBezTo>
                    <a:pt x="995" y="66"/>
                    <a:pt x="986" y="88"/>
                    <a:pt x="986" y="109"/>
                  </a:cubicBezTo>
                  <a:cubicBezTo>
                    <a:pt x="986" y="153"/>
                    <a:pt x="986" y="153"/>
                    <a:pt x="986" y="153"/>
                  </a:cubicBezTo>
                  <a:cubicBezTo>
                    <a:pt x="966" y="153"/>
                    <a:pt x="966" y="153"/>
                    <a:pt x="966" y="153"/>
                  </a:cubicBezTo>
                  <a:lnTo>
                    <a:pt x="966" y="49"/>
                  </a:lnTo>
                  <a:close/>
                  <a:moveTo>
                    <a:pt x="1176" y="140"/>
                  </a:moveTo>
                  <a:cubicBezTo>
                    <a:pt x="1175" y="140"/>
                    <a:pt x="1175" y="140"/>
                    <a:pt x="1175" y="140"/>
                  </a:cubicBezTo>
                  <a:cubicBezTo>
                    <a:pt x="1173" y="146"/>
                    <a:pt x="1164" y="155"/>
                    <a:pt x="1148" y="155"/>
                  </a:cubicBezTo>
                  <a:cubicBezTo>
                    <a:pt x="1129" y="155"/>
                    <a:pt x="1119" y="144"/>
                    <a:pt x="1119" y="127"/>
                  </a:cubicBezTo>
                  <a:cubicBezTo>
                    <a:pt x="1119" y="100"/>
                    <a:pt x="1149" y="93"/>
                    <a:pt x="1176" y="93"/>
                  </a:cubicBezTo>
                  <a:cubicBezTo>
                    <a:pt x="1176" y="75"/>
                    <a:pt x="1176" y="75"/>
                    <a:pt x="1176" y="75"/>
                  </a:cubicBezTo>
                  <a:cubicBezTo>
                    <a:pt x="1174" y="65"/>
                    <a:pt x="1167" y="62"/>
                    <a:pt x="1160" y="62"/>
                  </a:cubicBezTo>
                  <a:cubicBezTo>
                    <a:pt x="1148" y="62"/>
                    <a:pt x="1143" y="70"/>
                    <a:pt x="1143" y="78"/>
                  </a:cubicBezTo>
                  <a:cubicBezTo>
                    <a:pt x="1123" y="78"/>
                    <a:pt x="1123" y="78"/>
                    <a:pt x="1123" y="78"/>
                  </a:cubicBezTo>
                  <a:cubicBezTo>
                    <a:pt x="1123" y="61"/>
                    <a:pt x="1132" y="47"/>
                    <a:pt x="1161" y="47"/>
                  </a:cubicBezTo>
                  <a:cubicBezTo>
                    <a:pt x="1195" y="47"/>
                    <a:pt x="1195" y="72"/>
                    <a:pt x="1195" y="82"/>
                  </a:cubicBezTo>
                  <a:cubicBezTo>
                    <a:pt x="1195" y="153"/>
                    <a:pt x="1195" y="153"/>
                    <a:pt x="1195" y="153"/>
                  </a:cubicBezTo>
                  <a:cubicBezTo>
                    <a:pt x="1176" y="153"/>
                    <a:pt x="1176" y="153"/>
                    <a:pt x="1176" y="153"/>
                  </a:cubicBezTo>
                  <a:lnTo>
                    <a:pt x="1176" y="140"/>
                  </a:lnTo>
                  <a:close/>
                  <a:moveTo>
                    <a:pt x="1172" y="107"/>
                  </a:moveTo>
                  <a:cubicBezTo>
                    <a:pt x="1156" y="107"/>
                    <a:pt x="1141" y="114"/>
                    <a:pt x="1141" y="127"/>
                  </a:cubicBezTo>
                  <a:cubicBezTo>
                    <a:pt x="1141" y="135"/>
                    <a:pt x="1146" y="140"/>
                    <a:pt x="1152" y="140"/>
                  </a:cubicBezTo>
                  <a:cubicBezTo>
                    <a:pt x="1166" y="140"/>
                    <a:pt x="1176" y="125"/>
                    <a:pt x="1176" y="112"/>
                  </a:cubicBezTo>
                  <a:cubicBezTo>
                    <a:pt x="1176" y="107"/>
                    <a:pt x="1176" y="107"/>
                    <a:pt x="1176" y="107"/>
                  </a:cubicBezTo>
                  <a:lnTo>
                    <a:pt x="1172" y="107"/>
                  </a:lnTo>
                  <a:close/>
                  <a:moveTo>
                    <a:pt x="1221" y="49"/>
                  </a:moveTo>
                  <a:cubicBezTo>
                    <a:pt x="1241" y="49"/>
                    <a:pt x="1241" y="49"/>
                    <a:pt x="1241" y="49"/>
                  </a:cubicBezTo>
                  <a:cubicBezTo>
                    <a:pt x="1241" y="71"/>
                    <a:pt x="1241" y="71"/>
                    <a:pt x="1241" y="71"/>
                  </a:cubicBezTo>
                  <a:cubicBezTo>
                    <a:pt x="1241" y="71"/>
                    <a:pt x="1241" y="71"/>
                    <a:pt x="1241" y="71"/>
                  </a:cubicBezTo>
                  <a:cubicBezTo>
                    <a:pt x="1245" y="63"/>
                    <a:pt x="1253" y="47"/>
                    <a:pt x="1274" y="47"/>
                  </a:cubicBezTo>
                  <a:cubicBezTo>
                    <a:pt x="1298" y="47"/>
                    <a:pt x="1302" y="68"/>
                    <a:pt x="1302" y="81"/>
                  </a:cubicBezTo>
                  <a:cubicBezTo>
                    <a:pt x="1302" y="153"/>
                    <a:pt x="1302" y="153"/>
                    <a:pt x="1302" y="153"/>
                  </a:cubicBezTo>
                  <a:cubicBezTo>
                    <a:pt x="1282" y="153"/>
                    <a:pt x="1282" y="153"/>
                    <a:pt x="1282" y="153"/>
                  </a:cubicBezTo>
                  <a:cubicBezTo>
                    <a:pt x="1282" y="96"/>
                    <a:pt x="1282" y="96"/>
                    <a:pt x="1282" y="96"/>
                  </a:cubicBezTo>
                  <a:cubicBezTo>
                    <a:pt x="1282" y="77"/>
                    <a:pt x="1282" y="66"/>
                    <a:pt x="1268" y="66"/>
                  </a:cubicBezTo>
                  <a:cubicBezTo>
                    <a:pt x="1252" y="66"/>
                    <a:pt x="1241" y="88"/>
                    <a:pt x="1241" y="109"/>
                  </a:cubicBezTo>
                  <a:cubicBezTo>
                    <a:pt x="1241" y="153"/>
                    <a:pt x="1241" y="153"/>
                    <a:pt x="1241" y="153"/>
                  </a:cubicBezTo>
                  <a:cubicBezTo>
                    <a:pt x="1221" y="153"/>
                    <a:pt x="1221" y="153"/>
                    <a:pt x="1221" y="153"/>
                  </a:cubicBezTo>
                  <a:lnTo>
                    <a:pt x="1221" y="49"/>
                  </a:lnTo>
                  <a:close/>
                  <a:moveTo>
                    <a:pt x="1401" y="151"/>
                  </a:moveTo>
                  <a:cubicBezTo>
                    <a:pt x="1394" y="154"/>
                    <a:pt x="1385" y="155"/>
                    <a:pt x="1373" y="155"/>
                  </a:cubicBezTo>
                  <a:cubicBezTo>
                    <a:pt x="1333" y="155"/>
                    <a:pt x="1322" y="123"/>
                    <a:pt x="1322" y="97"/>
                  </a:cubicBezTo>
                  <a:cubicBezTo>
                    <a:pt x="1322" y="68"/>
                    <a:pt x="1335" y="47"/>
                    <a:pt x="1366" y="47"/>
                  </a:cubicBezTo>
                  <a:cubicBezTo>
                    <a:pt x="1396" y="47"/>
                    <a:pt x="1403" y="66"/>
                    <a:pt x="1403" y="83"/>
                  </a:cubicBezTo>
                  <a:cubicBezTo>
                    <a:pt x="1381" y="83"/>
                    <a:pt x="1381" y="83"/>
                    <a:pt x="1381" y="83"/>
                  </a:cubicBezTo>
                  <a:cubicBezTo>
                    <a:pt x="1381" y="75"/>
                    <a:pt x="1379" y="62"/>
                    <a:pt x="1365" y="62"/>
                  </a:cubicBezTo>
                  <a:cubicBezTo>
                    <a:pt x="1352" y="62"/>
                    <a:pt x="1344" y="75"/>
                    <a:pt x="1344" y="94"/>
                  </a:cubicBezTo>
                  <a:cubicBezTo>
                    <a:pt x="1344" y="114"/>
                    <a:pt x="1352" y="140"/>
                    <a:pt x="1385" y="140"/>
                  </a:cubicBezTo>
                  <a:cubicBezTo>
                    <a:pt x="1390" y="140"/>
                    <a:pt x="1396" y="140"/>
                    <a:pt x="1401" y="138"/>
                  </a:cubicBezTo>
                  <a:lnTo>
                    <a:pt x="1401" y="151"/>
                  </a:lnTo>
                  <a:close/>
                  <a:moveTo>
                    <a:pt x="1494" y="152"/>
                  </a:moveTo>
                  <a:cubicBezTo>
                    <a:pt x="1486" y="154"/>
                    <a:pt x="1480" y="155"/>
                    <a:pt x="1469" y="155"/>
                  </a:cubicBezTo>
                  <a:cubicBezTo>
                    <a:pt x="1437" y="155"/>
                    <a:pt x="1417" y="137"/>
                    <a:pt x="1417" y="96"/>
                  </a:cubicBezTo>
                  <a:cubicBezTo>
                    <a:pt x="1417" y="52"/>
                    <a:pt x="1446" y="47"/>
                    <a:pt x="1459" y="47"/>
                  </a:cubicBezTo>
                  <a:cubicBezTo>
                    <a:pt x="1485" y="47"/>
                    <a:pt x="1497" y="64"/>
                    <a:pt x="1497" y="88"/>
                  </a:cubicBezTo>
                  <a:cubicBezTo>
                    <a:pt x="1497" y="93"/>
                    <a:pt x="1497" y="93"/>
                    <a:pt x="1497" y="93"/>
                  </a:cubicBezTo>
                  <a:cubicBezTo>
                    <a:pt x="1437" y="93"/>
                    <a:pt x="1437" y="93"/>
                    <a:pt x="1437" y="93"/>
                  </a:cubicBezTo>
                  <a:cubicBezTo>
                    <a:pt x="1437" y="113"/>
                    <a:pt x="1447" y="140"/>
                    <a:pt x="1475" y="140"/>
                  </a:cubicBezTo>
                  <a:cubicBezTo>
                    <a:pt x="1484" y="140"/>
                    <a:pt x="1490" y="138"/>
                    <a:pt x="1494" y="136"/>
                  </a:cubicBezTo>
                  <a:lnTo>
                    <a:pt x="1494" y="152"/>
                  </a:lnTo>
                  <a:close/>
                  <a:moveTo>
                    <a:pt x="1477" y="80"/>
                  </a:moveTo>
                  <a:cubicBezTo>
                    <a:pt x="1477" y="74"/>
                    <a:pt x="1473" y="62"/>
                    <a:pt x="1458" y="62"/>
                  </a:cubicBezTo>
                  <a:cubicBezTo>
                    <a:pt x="1442" y="62"/>
                    <a:pt x="1438" y="76"/>
                    <a:pt x="1438" y="80"/>
                  </a:cubicBezTo>
                  <a:lnTo>
                    <a:pt x="1477" y="80"/>
                  </a:lnTo>
                  <a:close/>
                  <a:moveTo>
                    <a:pt x="1518" y="123"/>
                  </a:moveTo>
                  <a:cubicBezTo>
                    <a:pt x="1548" y="123"/>
                    <a:pt x="1548" y="123"/>
                    <a:pt x="1548" y="123"/>
                  </a:cubicBezTo>
                  <a:cubicBezTo>
                    <a:pt x="1548" y="153"/>
                    <a:pt x="1548" y="153"/>
                    <a:pt x="1548" y="153"/>
                  </a:cubicBezTo>
                  <a:cubicBezTo>
                    <a:pt x="1518" y="153"/>
                    <a:pt x="1518" y="153"/>
                    <a:pt x="1518" y="153"/>
                  </a:cubicBezTo>
                  <a:lnTo>
                    <a:pt x="1518" y="123"/>
                  </a:lnTo>
                  <a:close/>
                  <a:moveTo>
                    <a:pt x="1633" y="3"/>
                  </a:moveTo>
                  <a:cubicBezTo>
                    <a:pt x="1672" y="3"/>
                    <a:pt x="1672" y="3"/>
                    <a:pt x="1672" y="3"/>
                  </a:cubicBezTo>
                  <a:cubicBezTo>
                    <a:pt x="1718" y="3"/>
                    <a:pt x="1735" y="28"/>
                    <a:pt x="1735" y="77"/>
                  </a:cubicBezTo>
                  <a:cubicBezTo>
                    <a:pt x="1735" y="140"/>
                    <a:pt x="1707" y="153"/>
                    <a:pt x="1672" y="153"/>
                  </a:cubicBezTo>
                  <a:cubicBezTo>
                    <a:pt x="1633" y="153"/>
                    <a:pt x="1633" y="153"/>
                    <a:pt x="1633" y="153"/>
                  </a:cubicBezTo>
                  <a:lnTo>
                    <a:pt x="1633" y="3"/>
                  </a:lnTo>
                  <a:close/>
                  <a:moveTo>
                    <a:pt x="1655" y="136"/>
                  </a:moveTo>
                  <a:cubicBezTo>
                    <a:pt x="1668" y="136"/>
                    <a:pt x="1668" y="136"/>
                    <a:pt x="1668" y="136"/>
                  </a:cubicBezTo>
                  <a:cubicBezTo>
                    <a:pt x="1695" y="135"/>
                    <a:pt x="1711" y="125"/>
                    <a:pt x="1711" y="78"/>
                  </a:cubicBezTo>
                  <a:cubicBezTo>
                    <a:pt x="1711" y="30"/>
                    <a:pt x="1695" y="20"/>
                    <a:pt x="1668" y="20"/>
                  </a:cubicBezTo>
                  <a:cubicBezTo>
                    <a:pt x="1655" y="20"/>
                    <a:pt x="1655" y="20"/>
                    <a:pt x="1655" y="20"/>
                  </a:cubicBezTo>
                  <a:lnTo>
                    <a:pt x="1655" y="136"/>
                  </a:lnTo>
                  <a:close/>
                  <a:moveTo>
                    <a:pt x="1829" y="152"/>
                  </a:moveTo>
                  <a:cubicBezTo>
                    <a:pt x="1820" y="154"/>
                    <a:pt x="1814" y="155"/>
                    <a:pt x="1803" y="155"/>
                  </a:cubicBezTo>
                  <a:cubicBezTo>
                    <a:pt x="1771" y="155"/>
                    <a:pt x="1751" y="137"/>
                    <a:pt x="1751" y="96"/>
                  </a:cubicBezTo>
                  <a:cubicBezTo>
                    <a:pt x="1751" y="52"/>
                    <a:pt x="1780" y="47"/>
                    <a:pt x="1794" y="47"/>
                  </a:cubicBezTo>
                  <a:cubicBezTo>
                    <a:pt x="1819" y="47"/>
                    <a:pt x="1831" y="64"/>
                    <a:pt x="1831" y="88"/>
                  </a:cubicBezTo>
                  <a:cubicBezTo>
                    <a:pt x="1831" y="93"/>
                    <a:pt x="1831" y="93"/>
                    <a:pt x="1831" y="93"/>
                  </a:cubicBezTo>
                  <a:cubicBezTo>
                    <a:pt x="1771" y="93"/>
                    <a:pt x="1771" y="93"/>
                    <a:pt x="1771" y="93"/>
                  </a:cubicBezTo>
                  <a:cubicBezTo>
                    <a:pt x="1771" y="113"/>
                    <a:pt x="1781" y="140"/>
                    <a:pt x="1809" y="140"/>
                  </a:cubicBezTo>
                  <a:cubicBezTo>
                    <a:pt x="1818" y="140"/>
                    <a:pt x="1824" y="138"/>
                    <a:pt x="1829" y="136"/>
                  </a:cubicBezTo>
                  <a:lnTo>
                    <a:pt x="1829" y="152"/>
                  </a:lnTo>
                  <a:close/>
                  <a:moveTo>
                    <a:pt x="1811" y="80"/>
                  </a:moveTo>
                  <a:cubicBezTo>
                    <a:pt x="1811" y="74"/>
                    <a:pt x="1808" y="62"/>
                    <a:pt x="1792" y="62"/>
                  </a:cubicBezTo>
                  <a:cubicBezTo>
                    <a:pt x="1776" y="62"/>
                    <a:pt x="1772" y="76"/>
                    <a:pt x="1772" y="80"/>
                  </a:cubicBezTo>
                  <a:lnTo>
                    <a:pt x="1811" y="80"/>
                  </a:lnTo>
                  <a:close/>
                  <a:moveTo>
                    <a:pt x="1851" y="3"/>
                  </a:moveTo>
                  <a:cubicBezTo>
                    <a:pt x="1871" y="3"/>
                    <a:pt x="1871" y="3"/>
                    <a:pt x="1871" y="3"/>
                  </a:cubicBezTo>
                  <a:cubicBezTo>
                    <a:pt x="1871" y="153"/>
                    <a:pt x="1871" y="153"/>
                    <a:pt x="1871" y="153"/>
                  </a:cubicBezTo>
                  <a:cubicBezTo>
                    <a:pt x="1851" y="153"/>
                    <a:pt x="1851" y="153"/>
                    <a:pt x="1851" y="153"/>
                  </a:cubicBezTo>
                  <a:lnTo>
                    <a:pt x="1851" y="3"/>
                  </a:lnTo>
                  <a:close/>
                  <a:moveTo>
                    <a:pt x="1897" y="3"/>
                  </a:moveTo>
                  <a:cubicBezTo>
                    <a:pt x="1920" y="3"/>
                    <a:pt x="1920" y="3"/>
                    <a:pt x="1920" y="3"/>
                  </a:cubicBezTo>
                  <a:cubicBezTo>
                    <a:pt x="1920" y="25"/>
                    <a:pt x="1920" y="25"/>
                    <a:pt x="1920" y="25"/>
                  </a:cubicBezTo>
                  <a:cubicBezTo>
                    <a:pt x="1897" y="25"/>
                    <a:pt x="1897" y="25"/>
                    <a:pt x="1897" y="25"/>
                  </a:cubicBezTo>
                  <a:lnTo>
                    <a:pt x="1897" y="3"/>
                  </a:lnTo>
                  <a:close/>
                  <a:moveTo>
                    <a:pt x="1899" y="49"/>
                  </a:moveTo>
                  <a:cubicBezTo>
                    <a:pt x="1918" y="49"/>
                    <a:pt x="1918" y="49"/>
                    <a:pt x="1918" y="49"/>
                  </a:cubicBezTo>
                  <a:cubicBezTo>
                    <a:pt x="1918" y="153"/>
                    <a:pt x="1918" y="153"/>
                    <a:pt x="1918" y="153"/>
                  </a:cubicBezTo>
                  <a:cubicBezTo>
                    <a:pt x="1899" y="153"/>
                    <a:pt x="1899" y="153"/>
                    <a:pt x="1899" y="153"/>
                  </a:cubicBezTo>
                  <a:lnTo>
                    <a:pt x="1899" y="49"/>
                  </a:lnTo>
                  <a:close/>
                  <a:moveTo>
                    <a:pt x="1934" y="49"/>
                  </a:moveTo>
                  <a:cubicBezTo>
                    <a:pt x="1955" y="49"/>
                    <a:pt x="1955" y="49"/>
                    <a:pt x="1955" y="49"/>
                  </a:cubicBezTo>
                  <a:cubicBezTo>
                    <a:pt x="1982" y="125"/>
                    <a:pt x="1982" y="125"/>
                    <a:pt x="1982" y="125"/>
                  </a:cubicBezTo>
                  <a:cubicBezTo>
                    <a:pt x="1983" y="125"/>
                    <a:pt x="1983" y="125"/>
                    <a:pt x="1983" y="125"/>
                  </a:cubicBezTo>
                  <a:cubicBezTo>
                    <a:pt x="2007" y="49"/>
                    <a:pt x="2007" y="49"/>
                    <a:pt x="2007" y="49"/>
                  </a:cubicBezTo>
                  <a:cubicBezTo>
                    <a:pt x="2029" y="49"/>
                    <a:pt x="2029" y="49"/>
                    <a:pt x="2029" y="49"/>
                  </a:cubicBezTo>
                  <a:cubicBezTo>
                    <a:pt x="1993" y="153"/>
                    <a:pt x="1993" y="153"/>
                    <a:pt x="1993" y="153"/>
                  </a:cubicBezTo>
                  <a:cubicBezTo>
                    <a:pt x="1973" y="153"/>
                    <a:pt x="1973" y="153"/>
                    <a:pt x="1973" y="153"/>
                  </a:cubicBezTo>
                  <a:lnTo>
                    <a:pt x="1934" y="49"/>
                  </a:lnTo>
                  <a:close/>
                  <a:moveTo>
                    <a:pt x="2111" y="152"/>
                  </a:moveTo>
                  <a:cubicBezTo>
                    <a:pt x="2103" y="154"/>
                    <a:pt x="2097" y="155"/>
                    <a:pt x="2085" y="155"/>
                  </a:cubicBezTo>
                  <a:cubicBezTo>
                    <a:pt x="2054" y="155"/>
                    <a:pt x="2034" y="137"/>
                    <a:pt x="2034" y="96"/>
                  </a:cubicBezTo>
                  <a:cubicBezTo>
                    <a:pt x="2034" y="52"/>
                    <a:pt x="2063" y="47"/>
                    <a:pt x="2076" y="47"/>
                  </a:cubicBezTo>
                  <a:cubicBezTo>
                    <a:pt x="2101" y="47"/>
                    <a:pt x="2114" y="64"/>
                    <a:pt x="2114" y="88"/>
                  </a:cubicBezTo>
                  <a:cubicBezTo>
                    <a:pt x="2114" y="93"/>
                    <a:pt x="2114" y="93"/>
                    <a:pt x="2114" y="93"/>
                  </a:cubicBezTo>
                  <a:cubicBezTo>
                    <a:pt x="2053" y="93"/>
                    <a:pt x="2053" y="93"/>
                    <a:pt x="2053" y="93"/>
                  </a:cubicBezTo>
                  <a:cubicBezTo>
                    <a:pt x="2053" y="113"/>
                    <a:pt x="2063" y="140"/>
                    <a:pt x="2092" y="140"/>
                  </a:cubicBezTo>
                  <a:cubicBezTo>
                    <a:pt x="2101" y="140"/>
                    <a:pt x="2107" y="138"/>
                    <a:pt x="2111" y="136"/>
                  </a:cubicBezTo>
                  <a:lnTo>
                    <a:pt x="2111" y="152"/>
                  </a:lnTo>
                  <a:close/>
                  <a:moveTo>
                    <a:pt x="2094" y="80"/>
                  </a:moveTo>
                  <a:cubicBezTo>
                    <a:pt x="2094" y="74"/>
                    <a:pt x="2090" y="62"/>
                    <a:pt x="2075" y="62"/>
                  </a:cubicBezTo>
                  <a:cubicBezTo>
                    <a:pt x="2059" y="62"/>
                    <a:pt x="2054" y="76"/>
                    <a:pt x="2054" y="80"/>
                  </a:cubicBezTo>
                  <a:lnTo>
                    <a:pt x="2094" y="80"/>
                  </a:lnTo>
                  <a:close/>
                  <a:moveTo>
                    <a:pt x="2132" y="49"/>
                  </a:moveTo>
                  <a:cubicBezTo>
                    <a:pt x="2152" y="49"/>
                    <a:pt x="2152" y="49"/>
                    <a:pt x="2152" y="49"/>
                  </a:cubicBezTo>
                  <a:cubicBezTo>
                    <a:pt x="2152" y="70"/>
                    <a:pt x="2152" y="70"/>
                    <a:pt x="2152" y="70"/>
                  </a:cubicBezTo>
                  <a:cubicBezTo>
                    <a:pt x="2152" y="70"/>
                    <a:pt x="2152" y="70"/>
                    <a:pt x="2152" y="70"/>
                  </a:cubicBezTo>
                  <a:cubicBezTo>
                    <a:pt x="2155" y="62"/>
                    <a:pt x="2164" y="47"/>
                    <a:pt x="2185" y="47"/>
                  </a:cubicBezTo>
                  <a:cubicBezTo>
                    <a:pt x="2185" y="68"/>
                    <a:pt x="2185" y="68"/>
                    <a:pt x="2185" y="68"/>
                  </a:cubicBezTo>
                  <a:cubicBezTo>
                    <a:pt x="2167" y="68"/>
                    <a:pt x="2152" y="77"/>
                    <a:pt x="2152" y="109"/>
                  </a:cubicBezTo>
                  <a:cubicBezTo>
                    <a:pt x="2152" y="153"/>
                    <a:pt x="2152" y="153"/>
                    <a:pt x="2152" y="153"/>
                  </a:cubicBezTo>
                  <a:cubicBezTo>
                    <a:pt x="2132" y="153"/>
                    <a:pt x="2132" y="153"/>
                    <a:pt x="2132" y="153"/>
                  </a:cubicBezTo>
                  <a:lnTo>
                    <a:pt x="2132" y="49"/>
                  </a:lnTo>
                  <a:close/>
                  <a:moveTo>
                    <a:pt x="2272" y="152"/>
                  </a:moveTo>
                  <a:cubicBezTo>
                    <a:pt x="2263" y="154"/>
                    <a:pt x="2257" y="155"/>
                    <a:pt x="2246" y="155"/>
                  </a:cubicBezTo>
                  <a:cubicBezTo>
                    <a:pt x="2214" y="155"/>
                    <a:pt x="2194" y="137"/>
                    <a:pt x="2194" y="96"/>
                  </a:cubicBezTo>
                  <a:cubicBezTo>
                    <a:pt x="2194" y="52"/>
                    <a:pt x="2223" y="47"/>
                    <a:pt x="2237" y="47"/>
                  </a:cubicBezTo>
                  <a:cubicBezTo>
                    <a:pt x="2262" y="47"/>
                    <a:pt x="2274" y="64"/>
                    <a:pt x="2274" y="88"/>
                  </a:cubicBezTo>
                  <a:cubicBezTo>
                    <a:pt x="2274" y="93"/>
                    <a:pt x="2274" y="93"/>
                    <a:pt x="2274" y="93"/>
                  </a:cubicBezTo>
                  <a:cubicBezTo>
                    <a:pt x="2214" y="93"/>
                    <a:pt x="2214" y="93"/>
                    <a:pt x="2214" y="93"/>
                  </a:cubicBezTo>
                  <a:cubicBezTo>
                    <a:pt x="2214" y="113"/>
                    <a:pt x="2224" y="140"/>
                    <a:pt x="2252" y="140"/>
                  </a:cubicBezTo>
                  <a:cubicBezTo>
                    <a:pt x="2261" y="140"/>
                    <a:pt x="2267" y="138"/>
                    <a:pt x="2272" y="136"/>
                  </a:cubicBezTo>
                  <a:lnTo>
                    <a:pt x="2272" y="152"/>
                  </a:lnTo>
                  <a:close/>
                  <a:moveTo>
                    <a:pt x="2254" y="80"/>
                  </a:moveTo>
                  <a:cubicBezTo>
                    <a:pt x="2254" y="74"/>
                    <a:pt x="2251" y="62"/>
                    <a:pt x="2236" y="62"/>
                  </a:cubicBezTo>
                  <a:cubicBezTo>
                    <a:pt x="2219" y="62"/>
                    <a:pt x="2215" y="76"/>
                    <a:pt x="2215" y="80"/>
                  </a:cubicBezTo>
                  <a:lnTo>
                    <a:pt x="2254" y="80"/>
                  </a:lnTo>
                  <a:close/>
                  <a:moveTo>
                    <a:pt x="2353" y="137"/>
                  </a:moveTo>
                  <a:cubicBezTo>
                    <a:pt x="2352" y="137"/>
                    <a:pt x="2352" y="137"/>
                    <a:pt x="2352" y="137"/>
                  </a:cubicBezTo>
                  <a:cubicBezTo>
                    <a:pt x="2350" y="143"/>
                    <a:pt x="2342" y="155"/>
                    <a:pt x="2324" y="155"/>
                  </a:cubicBezTo>
                  <a:cubicBezTo>
                    <a:pt x="2298" y="155"/>
                    <a:pt x="2288" y="132"/>
                    <a:pt x="2288" y="103"/>
                  </a:cubicBezTo>
                  <a:cubicBezTo>
                    <a:pt x="2288" y="68"/>
                    <a:pt x="2301" y="47"/>
                    <a:pt x="2325" y="47"/>
                  </a:cubicBezTo>
                  <a:cubicBezTo>
                    <a:pt x="2342" y="47"/>
                    <a:pt x="2350" y="58"/>
                    <a:pt x="2352" y="64"/>
                  </a:cubicBezTo>
                  <a:cubicBezTo>
                    <a:pt x="2353" y="64"/>
                    <a:pt x="2353" y="64"/>
                    <a:pt x="2353" y="64"/>
                  </a:cubicBezTo>
                  <a:cubicBezTo>
                    <a:pt x="2353" y="3"/>
                    <a:pt x="2353" y="3"/>
                    <a:pt x="2353" y="3"/>
                  </a:cubicBezTo>
                  <a:cubicBezTo>
                    <a:pt x="2372" y="3"/>
                    <a:pt x="2372" y="3"/>
                    <a:pt x="2372" y="3"/>
                  </a:cubicBezTo>
                  <a:cubicBezTo>
                    <a:pt x="2372" y="153"/>
                    <a:pt x="2372" y="153"/>
                    <a:pt x="2372" y="153"/>
                  </a:cubicBezTo>
                  <a:cubicBezTo>
                    <a:pt x="2353" y="153"/>
                    <a:pt x="2353" y="153"/>
                    <a:pt x="2353" y="153"/>
                  </a:cubicBezTo>
                  <a:lnTo>
                    <a:pt x="2353" y="137"/>
                  </a:lnTo>
                  <a:close/>
                  <a:moveTo>
                    <a:pt x="2330" y="140"/>
                  </a:moveTo>
                  <a:cubicBezTo>
                    <a:pt x="2346" y="140"/>
                    <a:pt x="2353" y="118"/>
                    <a:pt x="2353" y="101"/>
                  </a:cubicBezTo>
                  <a:cubicBezTo>
                    <a:pt x="2353" y="83"/>
                    <a:pt x="2348" y="62"/>
                    <a:pt x="2330" y="62"/>
                  </a:cubicBezTo>
                  <a:cubicBezTo>
                    <a:pt x="2315" y="62"/>
                    <a:pt x="2310" y="79"/>
                    <a:pt x="2310" y="101"/>
                  </a:cubicBezTo>
                  <a:cubicBezTo>
                    <a:pt x="2310" y="117"/>
                    <a:pt x="2312" y="140"/>
                    <a:pt x="2330" y="140"/>
                  </a:cubicBezTo>
                  <a:close/>
                  <a:moveTo>
                    <a:pt x="2396" y="123"/>
                  </a:moveTo>
                  <a:cubicBezTo>
                    <a:pt x="2426" y="123"/>
                    <a:pt x="2426" y="123"/>
                    <a:pt x="2426" y="123"/>
                  </a:cubicBezTo>
                  <a:cubicBezTo>
                    <a:pt x="2426" y="153"/>
                    <a:pt x="2426" y="153"/>
                    <a:pt x="2426" y="153"/>
                  </a:cubicBezTo>
                  <a:cubicBezTo>
                    <a:pt x="2396" y="153"/>
                    <a:pt x="2396" y="153"/>
                    <a:pt x="2396" y="153"/>
                  </a:cubicBezTo>
                  <a:lnTo>
                    <a:pt x="2396" y="12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grpSp>
      <p:grpSp>
        <p:nvGrpSpPr>
          <p:cNvPr id="36" name="Group 35"/>
          <p:cNvGrpSpPr/>
          <p:nvPr userDrawn="1"/>
        </p:nvGrpSpPr>
        <p:grpSpPr>
          <a:xfrm>
            <a:off x="457200" y="5691188"/>
            <a:ext cx="2427288" cy="698500"/>
            <a:chOff x="457200" y="5691188"/>
            <a:chExt cx="2427288" cy="698500"/>
          </a:xfrm>
        </p:grpSpPr>
        <p:sp>
          <p:nvSpPr>
            <p:cNvPr id="50" name="AutoShape 8"/>
            <p:cNvSpPr>
              <a:spLocks noChangeAspect="1" noChangeArrowheads="1" noTextEdit="1"/>
            </p:cNvSpPr>
            <p:nvPr userDrawn="1"/>
          </p:nvSpPr>
          <p:spPr bwMode="auto">
            <a:xfrm>
              <a:off x="457200" y="5691188"/>
              <a:ext cx="2427288" cy="6985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1" name="Freeform 10"/>
            <p:cNvSpPr>
              <a:spLocks noEditPoints="1"/>
            </p:cNvSpPr>
            <p:nvPr userDrawn="1"/>
          </p:nvSpPr>
          <p:spPr bwMode="auto">
            <a:xfrm>
              <a:off x="457200" y="6057901"/>
              <a:ext cx="247650" cy="330200"/>
            </a:xfrm>
            <a:custGeom>
              <a:avLst/>
              <a:gdLst/>
              <a:ahLst/>
              <a:cxnLst>
                <a:cxn ang="0">
                  <a:pos x="168" y="174"/>
                </a:cxn>
                <a:cxn ang="0">
                  <a:pos x="105" y="264"/>
                </a:cxn>
                <a:cxn ang="0">
                  <a:pos x="68" y="228"/>
                </a:cxn>
                <a:cxn ang="0">
                  <a:pos x="168" y="174"/>
                </a:cxn>
                <a:cxn ang="0">
                  <a:pos x="234" y="306"/>
                </a:cxn>
                <a:cxn ang="0">
                  <a:pos x="234" y="93"/>
                </a:cxn>
                <a:cxn ang="0">
                  <a:pos x="126" y="0"/>
                </a:cxn>
                <a:cxn ang="0">
                  <a:pos x="12" y="95"/>
                </a:cxn>
                <a:cxn ang="0">
                  <a:pos x="80" y="95"/>
                </a:cxn>
                <a:cxn ang="0">
                  <a:pos x="126" y="49"/>
                </a:cxn>
                <a:cxn ang="0">
                  <a:pos x="168" y="103"/>
                </a:cxn>
                <a:cxn ang="0">
                  <a:pos x="168" y="133"/>
                </a:cxn>
                <a:cxn ang="0">
                  <a:pos x="0" y="234"/>
                </a:cxn>
                <a:cxn ang="0">
                  <a:pos x="88" y="313"/>
                </a:cxn>
                <a:cxn ang="0">
                  <a:pos x="166" y="272"/>
                </a:cxn>
                <a:cxn ang="0">
                  <a:pos x="168" y="272"/>
                </a:cxn>
                <a:cxn ang="0">
                  <a:pos x="168" y="306"/>
                </a:cxn>
                <a:cxn ang="0">
                  <a:pos x="234" y="306"/>
                </a:cxn>
              </a:cxnLst>
              <a:rect l="0" t="0" r="r" b="b"/>
              <a:pathLst>
                <a:path w="234" h="313">
                  <a:moveTo>
                    <a:pt x="168" y="174"/>
                  </a:moveTo>
                  <a:cubicBezTo>
                    <a:pt x="168" y="212"/>
                    <a:pt x="152" y="264"/>
                    <a:pt x="105" y="264"/>
                  </a:cubicBezTo>
                  <a:cubicBezTo>
                    <a:pt x="82" y="264"/>
                    <a:pt x="68" y="252"/>
                    <a:pt x="68" y="228"/>
                  </a:cubicBezTo>
                  <a:cubicBezTo>
                    <a:pt x="68" y="183"/>
                    <a:pt x="134" y="174"/>
                    <a:pt x="168" y="174"/>
                  </a:cubicBezTo>
                  <a:close/>
                  <a:moveTo>
                    <a:pt x="234" y="306"/>
                  </a:moveTo>
                  <a:cubicBezTo>
                    <a:pt x="234" y="93"/>
                    <a:pt x="234" y="93"/>
                    <a:pt x="234" y="93"/>
                  </a:cubicBezTo>
                  <a:cubicBezTo>
                    <a:pt x="234" y="24"/>
                    <a:pt x="189" y="0"/>
                    <a:pt x="126" y="0"/>
                  </a:cubicBezTo>
                  <a:cubicBezTo>
                    <a:pt x="63" y="0"/>
                    <a:pt x="12" y="26"/>
                    <a:pt x="12" y="95"/>
                  </a:cubicBezTo>
                  <a:cubicBezTo>
                    <a:pt x="80" y="95"/>
                    <a:pt x="80" y="95"/>
                    <a:pt x="80" y="95"/>
                  </a:cubicBezTo>
                  <a:cubicBezTo>
                    <a:pt x="80" y="65"/>
                    <a:pt x="95" y="49"/>
                    <a:pt x="126" y="49"/>
                  </a:cubicBezTo>
                  <a:cubicBezTo>
                    <a:pt x="160" y="49"/>
                    <a:pt x="168" y="74"/>
                    <a:pt x="168" y="103"/>
                  </a:cubicBezTo>
                  <a:cubicBezTo>
                    <a:pt x="168" y="133"/>
                    <a:pt x="168" y="133"/>
                    <a:pt x="168" y="133"/>
                  </a:cubicBezTo>
                  <a:cubicBezTo>
                    <a:pt x="100" y="135"/>
                    <a:pt x="0" y="144"/>
                    <a:pt x="0" y="234"/>
                  </a:cubicBezTo>
                  <a:cubicBezTo>
                    <a:pt x="0" y="285"/>
                    <a:pt x="41" y="313"/>
                    <a:pt x="88" y="313"/>
                  </a:cubicBezTo>
                  <a:cubicBezTo>
                    <a:pt x="121" y="313"/>
                    <a:pt x="151" y="302"/>
                    <a:pt x="166" y="272"/>
                  </a:cubicBezTo>
                  <a:cubicBezTo>
                    <a:pt x="168" y="272"/>
                    <a:pt x="168" y="272"/>
                    <a:pt x="168" y="272"/>
                  </a:cubicBezTo>
                  <a:cubicBezTo>
                    <a:pt x="168" y="306"/>
                    <a:pt x="168" y="306"/>
                    <a:pt x="168" y="306"/>
                  </a:cubicBezTo>
                  <a:lnTo>
                    <a:pt x="234" y="30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2" name="Freeform 11"/>
            <p:cNvSpPr>
              <a:spLocks/>
            </p:cNvSpPr>
            <p:nvPr userDrawn="1"/>
          </p:nvSpPr>
          <p:spPr bwMode="auto">
            <a:xfrm>
              <a:off x="736600" y="6057901"/>
              <a:ext cx="265113" cy="330200"/>
            </a:xfrm>
            <a:custGeom>
              <a:avLst/>
              <a:gdLst/>
              <a:ahLst/>
              <a:cxnLst>
                <a:cxn ang="0">
                  <a:pos x="177" y="109"/>
                </a:cxn>
                <a:cxn ang="0">
                  <a:pos x="131" y="49"/>
                </a:cxn>
                <a:cxn ang="0">
                  <a:pos x="74" y="131"/>
                </a:cxn>
                <a:cxn ang="0">
                  <a:pos x="197" y="264"/>
                </a:cxn>
                <a:cxn ang="0">
                  <a:pos x="248" y="256"/>
                </a:cxn>
                <a:cxn ang="0">
                  <a:pos x="248" y="299"/>
                </a:cxn>
                <a:cxn ang="0">
                  <a:pos x="160" y="313"/>
                </a:cxn>
                <a:cxn ang="0">
                  <a:pos x="0" y="143"/>
                </a:cxn>
                <a:cxn ang="0">
                  <a:pos x="137" y="0"/>
                </a:cxn>
                <a:cxn ang="0">
                  <a:pos x="251" y="109"/>
                </a:cxn>
                <a:cxn ang="0">
                  <a:pos x="177" y="109"/>
                </a:cxn>
              </a:cxnLst>
              <a:rect l="0" t="0" r="r" b="b"/>
              <a:pathLst>
                <a:path w="251" h="313">
                  <a:moveTo>
                    <a:pt x="177" y="109"/>
                  </a:moveTo>
                  <a:cubicBezTo>
                    <a:pt x="177" y="78"/>
                    <a:pt x="168" y="49"/>
                    <a:pt x="131" y="49"/>
                  </a:cubicBezTo>
                  <a:cubicBezTo>
                    <a:pt x="87" y="49"/>
                    <a:pt x="74" y="95"/>
                    <a:pt x="74" y="131"/>
                  </a:cubicBezTo>
                  <a:cubicBezTo>
                    <a:pt x="74" y="206"/>
                    <a:pt x="118" y="264"/>
                    <a:pt x="197" y="264"/>
                  </a:cubicBezTo>
                  <a:cubicBezTo>
                    <a:pt x="214" y="264"/>
                    <a:pt x="231" y="262"/>
                    <a:pt x="248" y="256"/>
                  </a:cubicBezTo>
                  <a:cubicBezTo>
                    <a:pt x="248" y="299"/>
                    <a:pt x="248" y="299"/>
                    <a:pt x="248" y="299"/>
                  </a:cubicBezTo>
                  <a:cubicBezTo>
                    <a:pt x="219" y="308"/>
                    <a:pt x="190" y="313"/>
                    <a:pt x="160" y="313"/>
                  </a:cubicBezTo>
                  <a:cubicBezTo>
                    <a:pt x="53" y="313"/>
                    <a:pt x="0" y="248"/>
                    <a:pt x="0" y="143"/>
                  </a:cubicBezTo>
                  <a:cubicBezTo>
                    <a:pt x="0" y="56"/>
                    <a:pt x="47" y="0"/>
                    <a:pt x="137" y="0"/>
                  </a:cubicBezTo>
                  <a:cubicBezTo>
                    <a:pt x="210" y="0"/>
                    <a:pt x="251" y="36"/>
                    <a:pt x="251" y="109"/>
                  </a:cubicBezTo>
                  <a:lnTo>
                    <a:pt x="177" y="1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3" name="Freeform 12"/>
            <p:cNvSpPr>
              <a:spLocks/>
            </p:cNvSpPr>
            <p:nvPr userDrawn="1"/>
          </p:nvSpPr>
          <p:spPr bwMode="auto">
            <a:xfrm>
              <a:off x="1019175" y="6057901"/>
              <a:ext cx="265113" cy="330200"/>
            </a:xfrm>
            <a:custGeom>
              <a:avLst/>
              <a:gdLst/>
              <a:ahLst/>
              <a:cxnLst>
                <a:cxn ang="0">
                  <a:pos x="177" y="109"/>
                </a:cxn>
                <a:cxn ang="0">
                  <a:pos x="132" y="49"/>
                </a:cxn>
                <a:cxn ang="0">
                  <a:pos x="74" y="131"/>
                </a:cxn>
                <a:cxn ang="0">
                  <a:pos x="198" y="264"/>
                </a:cxn>
                <a:cxn ang="0">
                  <a:pos x="248" y="256"/>
                </a:cxn>
                <a:cxn ang="0">
                  <a:pos x="248" y="299"/>
                </a:cxn>
                <a:cxn ang="0">
                  <a:pos x="161" y="313"/>
                </a:cxn>
                <a:cxn ang="0">
                  <a:pos x="0" y="143"/>
                </a:cxn>
                <a:cxn ang="0">
                  <a:pos x="137" y="0"/>
                </a:cxn>
                <a:cxn ang="0">
                  <a:pos x="251" y="109"/>
                </a:cxn>
                <a:cxn ang="0">
                  <a:pos x="177" y="109"/>
                </a:cxn>
              </a:cxnLst>
              <a:rect l="0" t="0" r="r" b="b"/>
              <a:pathLst>
                <a:path w="251" h="313">
                  <a:moveTo>
                    <a:pt x="177" y="109"/>
                  </a:moveTo>
                  <a:cubicBezTo>
                    <a:pt x="177" y="78"/>
                    <a:pt x="168" y="49"/>
                    <a:pt x="132" y="49"/>
                  </a:cubicBezTo>
                  <a:cubicBezTo>
                    <a:pt x="88" y="49"/>
                    <a:pt x="74" y="95"/>
                    <a:pt x="74" y="131"/>
                  </a:cubicBezTo>
                  <a:cubicBezTo>
                    <a:pt x="74" y="206"/>
                    <a:pt x="118" y="264"/>
                    <a:pt x="198" y="264"/>
                  </a:cubicBezTo>
                  <a:cubicBezTo>
                    <a:pt x="215" y="264"/>
                    <a:pt x="232" y="262"/>
                    <a:pt x="248" y="256"/>
                  </a:cubicBezTo>
                  <a:cubicBezTo>
                    <a:pt x="248" y="299"/>
                    <a:pt x="248" y="299"/>
                    <a:pt x="248" y="299"/>
                  </a:cubicBezTo>
                  <a:cubicBezTo>
                    <a:pt x="220" y="308"/>
                    <a:pt x="190" y="313"/>
                    <a:pt x="161" y="313"/>
                  </a:cubicBezTo>
                  <a:cubicBezTo>
                    <a:pt x="54" y="313"/>
                    <a:pt x="0" y="248"/>
                    <a:pt x="0" y="143"/>
                  </a:cubicBezTo>
                  <a:cubicBezTo>
                    <a:pt x="0" y="56"/>
                    <a:pt x="47" y="0"/>
                    <a:pt x="137" y="0"/>
                  </a:cubicBezTo>
                  <a:cubicBezTo>
                    <a:pt x="210" y="0"/>
                    <a:pt x="251" y="36"/>
                    <a:pt x="251" y="109"/>
                  </a:cubicBezTo>
                  <a:lnTo>
                    <a:pt x="177" y="1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4" name="Freeform 13"/>
            <p:cNvSpPr>
              <a:spLocks noEditPoints="1"/>
            </p:cNvSpPr>
            <p:nvPr userDrawn="1"/>
          </p:nvSpPr>
          <p:spPr bwMode="auto">
            <a:xfrm>
              <a:off x="1308100" y="6057901"/>
              <a:ext cx="257175" cy="330200"/>
            </a:xfrm>
            <a:custGeom>
              <a:avLst/>
              <a:gdLst/>
              <a:ahLst/>
              <a:cxnLst>
                <a:cxn ang="0">
                  <a:pos x="177" y="96"/>
                </a:cxn>
                <a:cxn ang="0">
                  <a:pos x="67" y="96"/>
                </a:cxn>
                <a:cxn ang="0">
                  <a:pos x="124" y="44"/>
                </a:cxn>
                <a:cxn ang="0">
                  <a:pos x="177" y="96"/>
                </a:cxn>
                <a:cxn ang="0">
                  <a:pos x="243" y="138"/>
                </a:cxn>
                <a:cxn ang="0">
                  <a:pos x="243" y="121"/>
                </a:cxn>
                <a:cxn ang="0">
                  <a:pos x="129" y="0"/>
                </a:cxn>
                <a:cxn ang="0">
                  <a:pos x="0" y="141"/>
                </a:cxn>
                <a:cxn ang="0">
                  <a:pos x="151" y="313"/>
                </a:cxn>
                <a:cxn ang="0">
                  <a:pos x="235" y="301"/>
                </a:cxn>
                <a:cxn ang="0">
                  <a:pos x="235" y="253"/>
                </a:cxn>
                <a:cxn ang="0">
                  <a:pos x="178" y="264"/>
                </a:cxn>
                <a:cxn ang="0">
                  <a:pos x="65" y="138"/>
                </a:cxn>
                <a:cxn ang="0">
                  <a:pos x="243" y="138"/>
                </a:cxn>
              </a:cxnLst>
              <a:rect l="0" t="0" r="r" b="b"/>
              <a:pathLst>
                <a:path w="243" h="313">
                  <a:moveTo>
                    <a:pt x="177" y="96"/>
                  </a:moveTo>
                  <a:cubicBezTo>
                    <a:pt x="67" y="96"/>
                    <a:pt x="67" y="96"/>
                    <a:pt x="67" y="96"/>
                  </a:cubicBezTo>
                  <a:cubicBezTo>
                    <a:pt x="70" y="66"/>
                    <a:pt x="94" y="44"/>
                    <a:pt x="124" y="44"/>
                  </a:cubicBezTo>
                  <a:cubicBezTo>
                    <a:pt x="156" y="44"/>
                    <a:pt x="177" y="64"/>
                    <a:pt x="177" y="96"/>
                  </a:cubicBezTo>
                  <a:close/>
                  <a:moveTo>
                    <a:pt x="243" y="138"/>
                  </a:moveTo>
                  <a:cubicBezTo>
                    <a:pt x="243" y="121"/>
                    <a:pt x="243" y="121"/>
                    <a:pt x="243" y="121"/>
                  </a:cubicBezTo>
                  <a:cubicBezTo>
                    <a:pt x="243" y="48"/>
                    <a:pt x="205" y="0"/>
                    <a:pt x="129" y="0"/>
                  </a:cubicBezTo>
                  <a:cubicBezTo>
                    <a:pt x="39" y="0"/>
                    <a:pt x="0" y="56"/>
                    <a:pt x="0" y="141"/>
                  </a:cubicBezTo>
                  <a:cubicBezTo>
                    <a:pt x="0" y="239"/>
                    <a:pt x="45" y="313"/>
                    <a:pt x="151" y="313"/>
                  </a:cubicBezTo>
                  <a:cubicBezTo>
                    <a:pt x="180" y="313"/>
                    <a:pt x="208" y="310"/>
                    <a:pt x="235" y="301"/>
                  </a:cubicBezTo>
                  <a:cubicBezTo>
                    <a:pt x="235" y="253"/>
                    <a:pt x="235" y="253"/>
                    <a:pt x="235" y="253"/>
                  </a:cubicBezTo>
                  <a:cubicBezTo>
                    <a:pt x="218" y="259"/>
                    <a:pt x="197" y="264"/>
                    <a:pt x="178" y="264"/>
                  </a:cubicBezTo>
                  <a:cubicBezTo>
                    <a:pt x="110" y="264"/>
                    <a:pt x="65" y="202"/>
                    <a:pt x="65" y="138"/>
                  </a:cubicBezTo>
                  <a:lnTo>
                    <a:pt x="243" y="13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5" name="Freeform 14"/>
            <p:cNvSpPr>
              <a:spLocks/>
            </p:cNvSpPr>
            <p:nvPr userDrawn="1"/>
          </p:nvSpPr>
          <p:spPr bwMode="auto">
            <a:xfrm>
              <a:off x="1603375" y="6057901"/>
              <a:ext cx="254000" cy="323850"/>
            </a:xfrm>
            <a:custGeom>
              <a:avLst/>
              <a:gdLst/>
              <a:ahLst/>
              <a:cxnLst>
                <a:cxn ang="0">
                  <a:pos x="171" y="306"/>
                </a:cxn>
                <a:cxn ang="0">
                  <a:pos x="171" y="135"/>
                </a:cxn>
                <a:cxn ang="0">
                  <a:pos x="160" y="71"/>
                </a:cxn>
                <a:cxn ang="0">
                  <a:pos x="140" y="65"/>
                </a:cxn>
                <a:cxn ang="0">
                  <a:pos x="69" y="177"/>
                </a:cxn>
                <a:cxn ang="0">
                  <a:pos x="69" y="306"/>
                </a:cxn>
                <a:cxn ang="0">
                  <a:pos x="0" y="306"/>
                </a:cxn>
                <a:cxn ang="0">
                  <a:pos x="0" y="7"/>
                </a:cxn>
                <a:cxn ang="0">
                  <a:pos x="69" y="7"/>
                </a:cxn>
                <a:cxn ang="0">
                  <a:pos x="69" y="63"/>
                </a:cxn>
                <a:cxn ang="0">
                  <a:pos x="71" y="63"/>
                </a:cxn>
                <a:cxn ang="0">
                  <a:pos x="159" y="0"/>
                </a:cxn>
                <a:cxn ang="0">
                  <a:pos x="241" y="98"/>
                </a:cxn>
                <a:cxn ang="0">
                  <a:pos x="241" y="306"/>
                </a:cxn>
                <a:cxn ang="0">
                  <a:pos x="171" y="306"/>
                </a:cxn>
              </a:cxnLst>
              <a:rect l="0" t="0" r="r" b="b"/>
              <a:pathLst>
                <a:path w="241" h="306">
                  <a:moveTo>
                    <a:pt x="171" y="306"/>
                  </a:moveTo>
                  <a:cubicBezTo>
                    <a:pt x="171" y="135"/>
                    <a:pt x="171" y="135"/>
                    <a:pt x="171" y="135"/>
                  </a:cubicBezTo>
                  <a:cubicBezTo>
                    <a:pt x="171" y="120"/>
                    <a:pt x="172" y="82"/>
                    <a:pt x="160" y="71"/>
                  </a:cubicBezTo>
                  <a:cubicBezTo>
                    <a:pt x="155" y="66"/>
                    <a:pt x="147" y="65"/>
                    <a:pt x="140" y="65"/>
                  </a:cubicBezTo>
                  <a:cubicBezTo>
                    <a:pt x="90" y="65"/>
                    <a:pt x="69" y="136"/>
                    <a:pt x="69" y="177"/>
                  </a:cubicBezTo>
                  <a:cubicBezTo>
                    <a:pt x="69" y="306"/>
                    <a:pt x="69" y="306"/>
                    <a:pt x="69" y="306"/>
                  </a:cubicBezTo>
                  <a:cubicBezTo>
                    <a:pt x="0" y="306"/>
                    <a:pt x="0" y="306"/>
                    <a:pt x="0" y="306"/>
                  </a:cubicBezTo>
                  <a:cubicBezTo>
                    <a:pt x="0" y="7"/>
                    <a:pt x="0" y="7"/>
                    <a:pt x="0" y="7"/>
                  </a:cubicBezTo>
                  <a:cubicBezTo>
                    <a:pt x="69" y="7"/>
                    <a:pt x="69" y="7"/>
                    <a:pt x="69" y="7"/>
                  </a:cubicBezTo>
                  <a:cubicBezTo>
                    <a:pt x="69" y="63"/>
                    <a:pt x="69" y="63"/>
                    <a:pt x="69" y="63"/>
                  </a:cubicBezTo>
                  <a:cubicBezTo>
                    <a:pt x="71" y="63"/>
                    <a:pt x="71" y="63"/>
                    <a:pt x="71" y="63"/>
                  </a:cubicBezTo>
                  <a:cubicBezTo>
                    <a:pt x="86" y="24"/>
                    <a:pt x="117" y="0"/>
                    <a:pt x="159" y="0"/>
                  </a:cubicBezTo>
                  <a:cubicBezTo>
                    <a:pt x="217" y="0"/>
                    <a:pt x="241" y="47"/>
                    <a:pt x="241" y="98"/>
                  </a:cubicBezTo>
                  <a:cubicBezTo>
                    <a:pt x="241" y="306"/>
                    <a:pt x="241" y="306"/>
                    <a:pt x="241" y="306"/>
                  </a:cubicBezTo>
                  <a:lnTo>
                    <a:pt x="171" y="30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6" name="Freeform 15"/>
            <p:cNvSpPr>
              <a:spLocks/>
            </p:cNvSpPr>
            <p:nvPr userDrawn="1"/>
          </p:nvSpPr>
          <p:spPr bwMode="auto">
            <a:xfrm>
              <a:off x="1874838" y="5959476"/>
              <a:ext cx="228600" cy="428625"/>
            </a:xfrm>
            <a:custGeom>
              <a:avLst/>
              <a:gdLst/>
              <a:ahLst/>
              <a:cxnLst>
                <a:cxn ang="0">
                  <a:pos x="128" y="148"/>
                </a:cxn>
                <a:cxn ang="0">
                  <a:pos x="128" y="290"/>
                </a:cxn>
                <a:cxn ang="0">
                  <a:pos x="175" y="357"/>
                </a:cxn>
                <a:cxn ang="0">
                  <a:pos x="207" y="352"/>
                </a:cxn>
                <a:cxn ang="0">
                  <a:pos x="207" y="401"/>
                </a:cxn>
                <a:cxn ang="0">
                  <a:pos x="150" y="406"/>
                </a:cxn>
                <a:cxn ang="0">
                  <a:pos x="58" y="324"/>
                </a:cxn>
                <a:cxn ang="0">
                  <a:pos x="58" y="148"/>
                </a:cxn>
                <a:cxn ang="0">
                  <a:pos x="0" y="148"/>
                </a:cxn>
                <a:cxn ang="0">
                  <a:pos x="0" y="100"/>
                </a:cxn>
                <a:cxn ang="0">
                  <a:pos x="58" y="100"/>
                </a:cxn>
                <a:cxn ang="0">
                  <a:pos x="58" y="28"/>
                </a:cxn>
                <a:cxn ang="0">
                  <a:pos x="128" y="0"/>
                </a:cxn>
                <a:cxn ang="0">
                  <a:pos x="128" y="100"/>
                </a:cxn>
                <a:cxn ang="0">
                  <a:pos x="217" y="100"/>
                </a:cxn>
                <a:cxn ang="0">
                  <a:pos x="217" y="148"/>
                </a:cxn>
                <a:cxn ang="0">
                  <a:pos x="128" y="148"/>
                </a:cxn>
              </a:cxnLst>
              <a:rect l="0" t="0" r="r" b="b"/>
              <a:pathLst>
                <a:path w="217" h="406">
                  <a:moveTo>
                    <a:pt x="128" y="148"/>
                  </a:moveTo>
                  <a:cubicBezTo>
                    <a:pt x="128" y="290"/>
                    <a:pt x="128" y="290"/>
                    <a:pt x="128" y="290"/>
                  </a:cubicBezTo>
                  <a:cubicBezTo>
                    <a:pt x="128" y="325"/>
                    <a:pt x="132" y="357"/>
                    <a:pt x="175" y="357"/>
                  </a:cubicBezTo>
                  <a:cubicBezTo>
                    <a:pt x="186" y="357"/>
                    <a:pt x="197" y="354"/>
                    <a:pt x="207" y="352"/>
                  </a:cubicBezTo>
                  <a:cubicBezTo>
                    <a:pt x="207" y="401"/>
                    <a:pt x="207" y="401"/>
                    <a:pt x="207" y="401"/>
                  </a:cubicBezTo>
                  <a:cubicBezTo>
                    <a:pt x="188" y="404"/>
                    <a:pt x="169" y="406"/>
                    <a:pt x="150" y="406"/>
                  </a:cubicBezTo>
                  <a:cubicBezTo>
                    <a:pt x="89" y="406"/>
                    <a:pt x="58" y="386"/>
                    <a:pt x="58" y="324"/>
                  </a:cubicBezTo>
                  <a:cubicBezTo>
                    <a:pt x="58" y="148"/>
                    <a:pt x="58" y="148"/>
                    <a:pt x="58" y="148"/>
                  </a:cubicBezTo>
                  <a:cubicBezTo>
                    <a:pt x="0" y="148"/>
                    <a:pt x="0" y="148"/>
                    <a:pt x="0" y="148"/>
                  </a:cubicBezTo>
                  <a:cubicBezTo>
                    <a:pt x="0" y="100"/>
                    <a:pt x="0" y="100"/>
                    <a:pt x="0" y="100"/>
                  </a:cubicBezTo>
                  <a:cubicBezTo>
                    <a:pt x="58" y="100"/>
                    <a:pt x="58" y="100"/>
                    <a:pt x="58" y="100"/>
                  </a:cubicBezTo>
                  <a:cubicBezTo>
                    <a:pt x="58" y="28"/>
                    <a:pt x="58" y="28"/>
                    <a:pt x="58" y="28"/>
                  </a:cubicBezTo>
                  <a:cubicBezTo>
                    <a:pt x="128" y="0"/>
                    <a:pt x="128" y="0"/>
                    <a:pt x="128" y="0"/>
                  </a:cubicBezTo>
                  <a:cubicBezTo>
                    <a:pt x="128" y="100"/>
                    <a:pt x="128" y="100"/>
                    <a:pt x="128" y="100"/>
                  </a:cubicBezTo>
                  <a:cubicBezTo>
                    <a:pt x="217" y="100"/>
                    <a:pt x="217" y="100"/>
                    <a:pt x="217" y="100"/>
                  </a:cubicBezTo>
                  <a:cubicBezTo>
                    <a:pt x="217" y="148"/>
                    <a:pt x="217" y="148"/>
                    <a:pt x="217" y="148"/>
                  </a:cubicBezTo>
                  <a:lnTo>
                    <a:pt x="128" y="14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7" name="Freeform 16"/>
            <p:cNvSpPr>
              <a:spLocks/>
            </p:cNvSpPr>
            <p:nvPr userDrawn="1"/>
          </p:nvSpPr>
          <p:spPr bwMode="auto">
            <a:xfrm>
              <a:off x="2136775" y="6064251"/>
              <a:ext cx="254000" cy="323850"/>
            </a:xfrm>
            <a:custGeom>
              <a:avLst/>
              <a:gdLst/>
              <a:ahLst/>
              <a:cxnLst>
                <a:cxn ang="0">
                  <a:pos x="171" y="299"/>
                </a:cxn>
                <a:cxn ang="0">
                  <a:pos x="171" y="243"/>
                </a:cxn>
                <a:cxn ang="0">
                  <a:pos x="170" y="243"/>
                </a:cxn>
                <a:cxn ang="0">
                  <a:pos x="81" y="306"/>
                </a:cxn>
                <a:cxn ang="0">
                  <a:pos x="0" y="207"/>
                </a:cxn>
                <a:cxn ang="0">
                  <a:pos x="0" y="0"/>
                </a:cxn>
                <a:cxn ang="0">
                  <a:pos x="70" y="0"/>
                </a:cxn>
                <a:cxn ang="0">
                  <a:pos x="70" y="171"/>
                </a:cxn>
                <a:cxn ang="0">
                  <a:pos x="80" y="235"/>
                </a:cxn>
                <a:cxn ang="0">
                  <a:pos x="100" y="241"/>
                </a:cxn>
                <a:cxn ang="0">
                  <a:pos x="171" y="129"/>
                </a:cxn>
                <a:cxn ang="0">
                  <a:pos x="171" y="0"/>
                </a:cxn>
                <a:cxn ang="0">
                  <a:pos x="241" y="0"/>
                </a:cxn>
                <a:cxn ang="0">
                  <a:pos x="241" y="299"/>
                </a:cxn>
                <a:cxn ang="0">
                  <a:pos x="171" y="299"/>
                </a:cxn>
              </a:cxnLst>
              <a:rect l="0" t="0" r="r" b="b"/>
              <a:pathLst>
                <a:path w="241" h="306">
                  <a:moveTo>
                    <a:pt x="171" y="299"/>
                  </a:moveTo>
                  <a:cubicBezTo>
                    <a:pt x="171" y="243"/>
                    <a:pt x="171" y="243"/>
                    <a:pt x="171" y="243"/>
                  </a:cubicBezTo>
                  <a:cubicBezTo>
                    <a:pt x="170" y="243"/>
                    <a:pt x="170" y="243"/>
                    <a:pt x="170" y="243"/>
                  </a:cubicBezTo>
                  <a:cubicBezTo>
                    <a:pt x="154" y="281"/>
                    <a:pt x="123" y="306"/>
                    <a:pt x="81" y="306"/>
                  </a:cubicBezTo>
                  <a:cubicBezTo>
                    <a:pt x="24" y="306"/>
                    <a:pt x="0" y="259"/>
                    <a:pt x="0" y="207"/>
                  </a:cubicBezTo>
                  <a:cubicBezTo>
                    <a:pt x="0" y="0"/>
                    <a:pt x="0" y="0"/>
                    <a:pt x="0" y="0"/>
                  </a:cubicBezTo>
                  <a:cubicBezTo>
                    <a:pt x="70" y="0"/>
                    <a:pt x="70" y="0"/>
                    <a:pt x="70" y="0"/>
                  </a:cubicBezTo>
                  <a:cubicBezTo>
                    <a:pt x="70" y="171"/>
                    <a:pt x="70" y="171"/>
                    <a:pt x="70" y="171"/>
                  </a:cubicBezTo>
                  <a:cubicBezTo>
                    <a:pt x="70" y="185"/>
                    <a:pt x="68" y="224"/>
                    <a:pt x="80" y="235"/>
                  </a:cubicBezTo>
                  <a:cubicBezTo>
                    <a:pt x="85" y="240"/>
                    <a:pt x="94" y="241"/>
                    <a:pt x="100" y="241"/>
                  </a:cubicBezTo>
                  <a:cubicBezTo>
                    <a:pt x="151" y="241"/>
                    <a:pt x="171" y="170"/>
                    <a:pt x="171" y="129"/>
                  </a:cubicBezTo>
                  <a:cubicBezTo>
                    <a:pt x="171" y="0"/>
                    <a:pt x="171" y="0"/>
                    <a:pt x="171" y="0"/>
                  </a:cubicBezTo>
                  <a:cubicBezTo>
                    <a:pt x="241" y="0"/>
                    <a:pt x="241" y="0"/>
                    <a:pt x="241" y="0"/>
                  </a:cubicBezTo>
                  <a:cubicBezTo>
                    <a:pt x="241" y="299"/>
                    <a:pt x="241" y="299"/>
                    <a:pt x="241" y="299"/>
                  </a:cubicBezTo>
                  <a:lnTo>
                    <a:pt x="171" y="29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8" name="Freeform 17"/>
            <p:cNvSpPr>
              <a:spLocks/>
            </p:cNvSpPr>
            <p:nvPr userDrawn="1"/>
          </p:nvSpPr>
          <p:spPr bwMode="auto">
            <a:xfrm>
              <a:off x="2436813" y="6057901"/>
              <a:ext cx="177800" cy="323850"/>
            </a:xfrm>
            <a:custGeom>
              <a:avLst/>
              <a:gdLst/>
              <a:ahLst/>
              <a:cxnLst>
                <a:cxn ang="0">
                  <a:pos x="70" y="175"/>
                </a:cxn>
                <a:cxn ang="0">
                  <a:pos x="70" y="306"/>
                </a:cxn>
                <a:cxn ang="0">
                  <a:pos x="0" y="306"/>
                </a:cxn>
                <a:cxn ang="0">
                  <a:pos x="0" y="7"/>
                </a:cxn>
                <a:cxn ang="0">
                  <a:pos x="70" y="7"/>
                </a:cxn>
                <a:cxn ang="0">
                  <a:pos x="70" y="62"/>
                </a:cxn>
                <a:cxn ang="0">
                  <a:pos x="71" y="62"/>
                </a:cxn>
                <a:cxn ang="0">
                  <a:pos x="168" y="0"/>
                </a:cxn>
                <a:cxn ang="0">
                  <a:pos x="168" y="73"/>
                </a:cxn>
                <a:cxn ang="0">
                  <a:pos x="70" y="175"/>
                </a:cxn>
              </a:cxnLst>
              <a:rect l="0" t="0" r="r" b="b"/>
              <a:pathLst>
                <a:path w="168" h="306">
                  <a:moveTo>
                    <a:pt x="70" y="175"/>
                  </a:moveTo>
                  <a:cubicBezTo>
                    <a:pt x="70" y="306"/>
                    <a:pt x="70" y="306"/>
                    <a:pt x="70" y="306"/>
                  </a:cubicBezTo>
                  <a:cubicBezTo>
                    <a:pt x="0" y="306"/>
                    <a:pt x="0" y="306"/>
                    <a:pt x="0" y="306"/>
                  </a:cubicBezTo>
                  <a:cubicBezTo>
                    <a:pt x="0" y="7"/>
                    <a:pt x="0" y="7"/>
                    <a:pt x="0" y="7"/>
                  </a:cubicBezTo>
                  <a:cubicBezTo>
                    <a:pt x="70" y="7"/>
                    <a:pt x="70" y="7"/>
                    <a:pt x="70" y="7"/>
                  </a:cubicBezTo>
                  <a:cubicBezTo>
                    <a:pt x="70" y="62"/>
                    <a:pt x="70" y="62"/>
                    <a:pt x="70" y="62"/>
                  </a:cubicBezTo>
                  <a:cubicBezTo>
                    <a:pt x="71" y="62"/>
                    <a:pt x="71" y="62"/>
                    <a:pt x="71" y="62"/>
                  </a:cubicBezTo>
                  <a:cubicBezTo>
                    <a:pt x="94" y="20"/>
                    <a:pt x="118" y="0"/>
                    <a:pt x="168" y="0"/>
                  </a:cubicBezTo>
                  <a:cubicBezTo>
                    <a:pt x="168" y="73"/>
                    <a:pt x="168" y="73"/>
                    <a:pt x="168" y="73"/>
                  </a:cubicBezTo>
                  <a:cubicBezTo>
                    <a:pt x="96" y="73"/>
                    <a:pt x="70" y="104"/>
                    <a:pt x="70" y="17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59" name="Freeform 18"/>
            <p:cNvSpPr>
              <a:spLocks noEditPoints="1"/>
            </p:cNvSpPr>
            <p:nvPr userDrawn="1"/>
          </p:nvSpPr>
          <p:spPr bwMode="auto">
            <a:xfrm>
              <a:off x="2628900" y="6057901"/>
              <a:ext cx="255588" cy="330200"/>
            </a:xfrm>
            <a:custGeom>
              <a:avLst/>
              <a:gdLst/>
              <a:ahLst/>
              <a:cxnLst>
                <a:cxn ang="0">
                  <a:pos x="176" y="96"/>
                </a:cxn>
                <a:cxn ang="0">
                  <a:pos x="67" y="96"/>
                </a:cxn>
                <a:cxn ang="0">
                  <a:pos x="123" y="44"/>
                </a:cxn>
                <a:cxn ang="0">
                  <a:pos x="176" y="96"/>
                </a:cxn>
                <a:cxn ang="0">
                  <a:pos x="242" y="138"/>
                </a:cxn>
                <a:cxn ang="0">
                  <a:pos x="242" y="121"/>
                </a:cxn>
                <a:cxn ang="0">
                  <a:pos x="128" y="0"/>
                </a:cxn>
                <a:cxn ang="0">
                  <a:pos x="0" y="141"/>
                </a:cxn>
                <a:cxn ang="0">
                  <a:pos x="151" y="313"/>
                </a:cxn>
                <a:cxn ang="0">
                  <a:pos x="235" y="301"/>
                </a:cxn>
                <a:cxn ang="0">
                  <a:pos x="235" y="253"/>
                </a:cxn>
                <a:cxn ang="0">
                  <a:pos x="177" y="264"/>
                </a:cxn>
                <a:cxn ang="0">
                  <a:pos x="65" y="138"/>
                </a:cxn>
                <a:cxn ang="0">
                  <a:pos x="242" y="138"/>
                </a:cxn>
              </a:cxnLst>
              <a:rect l="0" t="0" r="r" b="b"/>
              <a:pathLst>
                <a:path w="242" h="313">
                  <a:moveTo>
                    <a:pt x="176" y="96"/>
                  </a:moveTo>
                  <a:cubicBezTo>
                    <a:pt x="67" y="96"/>
                    <a:pt x="67" y="96"/>
                    <a:pt x="67" y="96"/>
                  </a:cubicBezTo>
                  <a:cubicBezTo>
                    <a:pt x="70" y="66"/>
                    <a:pt x="93" y="44"/>
                    <a:pt x="123" y="44"/>
                  </a:cubicBezTo>
                  <a:cubicBezTo>
                    <a:pt x="155" y="44"/>
                    <a:pt x="176" y="64"/>
                    <a:pt x="176" y="96"/>
                  </a:cubicBezTo>
                  <a:close/>
                  <a:moveTo>
                    <a:pt x="242" y="138"/>
                  </a:moveTo>
                  <a:cubicBezTo>
                    <a:pt x="242" y="121"/>
                    <a:pt x="242" y="121"/>
                    <a:pt x="242" y="121"/>
                  </a:cubicBezTo>
                  <a:cubicBezTo>
                    <a:pt x="242" y="48"/>
                    <a:pt x="204" y="0"/>
                    <a:pt x="128" y="0"/>
                  </a:cubicBezTo>
                  <a:cubicBezTo>
                    <a:pt x="39" y="0"/>
                    <a:pt x="0" y="56"/>
                    <a:pt x="0" y="141"/>
                  </a:cubicBezTo>
                  <a:cubicBezTo>
                    <a:pt x="0" y="239"/>
                    <a:pt x="45" y="313"/>
                    <a:pt x="151" y="313"/>
                  </a:cubicBezTo>
                  <a:cubicBezTo>
                    <a:pt x="179" y="313"/>
                    <a:pt x="208" y="310"/>
                    <a:pt x="235" y="301"/>
                  </a:cubicBezTo>
                  <a:cubicBezTo>
                    <a:pt x="235" y="253"/>
                    <a:pt x="235" y="253"/>
                    <a:pt x="235" y="253"/>
                  </a:cubicBezTo>
                  <a:cubicBezTo>
                    <a:pt x="217" y="259"/>
                    <a:pt x="196" y="264"/>
                    <a:pt x="177" y="264"/>
                  </a:cubicBezTo>
                  <a:cubicBezTo>
                    <a:pt x="109" y="264"/>
                    <a:pt x="65" y="202"/>
                    <a:pt x="65" y="138"/>
                  </a:cubicBezTo>
                  <a:lnTo>
                    <a:pt x="242" y="13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sp>
          <p:nvSpPr>
            <p:cNvPr id="60" name="Freeform 19"/>
            <p:cNvSpPr>
              <a:spLocks/>
            </p:cNvSpPr>
            <p:nvPr userDrawn="1"/>
          </p:nvSpPr>
          <p:spPr bwMode="auto">
            <a:xfrm>
              <a:off x="1874838" y="5692776"/>
              <a:ext cx="228600" cy="234950"/>
            </a:xfrm>
            <a:custGeom>
              <a:avLst/>
              <a:gdLst/>
              <a:ahLst/>
              <a:cxnLst>
                <a:cxn ang="0">
                  <a:pos x="0" y="0"/>
                </a:cxn>
                <a:cxn ang="0">
                  <a:pos x="0" y="7"/>
                </a:cxn>
                <a:cxn ang="0">
                  <a:pos x="0" y="49"/>
                </a:cxn>
                <a:cxn ang="0">
                  <a:pos x="159" y="111"/>
                </a:cxn>
                <a:cxn ang="0">
                  <a:pos x="0" y="173"/>
                </a:cxn>
                <a:cxn ang="0">
                  <a:pos x="0" y="222"/>
                </a:cxn>
                <a:cxn ang="0">
                  <a:pos x="217" y="134"/>
                </a:cxn>
                <a:cxn ang="0">
                  <a:pos x="217" y="88"/>
                </a:cxn>
                <a:cxn ang="0">
                  <a:pos x="0" y="0"/>
                </a:cxn>
              </a:cxnLst>
              <a:rect l="0" t="0" r="r" b="b"/>
              <a:pathLst>
                <a:path w="217" h="222">
                  <a:moveTo>
                    <a:pt x="0" y="0"/>
                  </a:moveTo>
                  <a:cubicBezTo>
                    <a:pt x="0" y="7"/>
                    <a:pt x="0" y="7"/>
                    <a:pt x="0" y="7"/>
                  </a:cubicBezTo>
                  <a:cubicBezTo>
                    <a:pt x="0" y="49"/>
                    <a:pt x="0" y="49"/>
                    <a:pt x="0" y="49"/>
                  </a:cubicBezTo>
                  <a:cubicBezTo>
                    <a:pt x="0" y="49"/>
                    <a:pt x="139" y="103"/>
                    <a:pt x="159" y="111"/>
                  </a:cubicBezTo>
                  <a:cubicBezTo>
                    <a:pt x="139" y="119"/>
                    <a:pt x="0" y="173"/>
                    <a:pt x="0" y="173"/>
                  </a:cubicBezTo>
                  <a:cubicBezTo>
                    <a:pt x="0" y="222"/>
                    <a:pt x="0" y="222"/>
                    <a:pt x="0" y="222"/>
                  </a:cubicBezTo>
                  <a:cubicBezTo>
                    <a:pt x="217" y="134"/>
                    <a:pt x="217" y="134"/>
                    <a:pt x="217" y="134"/>
                  </a:cubicBezTo>
                  <a:cubicBezTo>
                    <a:pt x="217" y="88"/>
                    <a:pt x="217" y="88"/>
                    <a:pt x="217" y="88"/>
                  </a:cubicBezTo>
                  <a:lnTo>
                    <a:pt x="0" y="0"/>
                  </a:lnTo>
                  <a:close/>
                </a:path>
              </a:pathLst>
            </a:custGeom>
            <a:solidFill>
              <a:srgbClr val="AA1133"/>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prstClr val="black"/>
                </a:solidFill>
              </a:endParaRPr>
            </a:p>
          </p:txBody>
        </p:sp>
      </p:grpSp>
      <p:pic>
        <p:nvPicPr>
          <p:cNvPr id="23" name="Picture 22" descr="Acc_StrategyLine_English_wht_RGB.png"/>
          <p:cNvPicPr>
            <a:picLocks noChangeAspect="1"/>
          </p:cNvPicPr>
          <p:nvPr userDrawn="1"/>
        </p:nvPicPr>
        <p:blipFill>
          <a:blip r:embed="rId3" cstate="print"/>
          <a:stretch>
            <a:fillRect/>
          </a:stretch>
        </p:blipFill>
        <p:spPr>
          <a:xfrm>
            <a:off x="6190046" y="6276459"/>
            <a:ext cx="2523744" cy="178096"/>
          </a:xfrm>
          <a:prstGeom prst="rect">
            <a:avLst/>
          </a:prstGeom>
        </p:spPr>
      </p:pic>
    </p:spTree>
    <p:extLst>
      <p:ext uri="{BB962C8B-B14F-4D97-AF65-F5344CB8AC3E}">
        <p14:creationId xmlns:p14="http://schemas.microsoft.com/office/powerpoint/2010/main" val="9119966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and Text Slide">
    <p:spTree>
      <p:nvGrpSpPr>
        <p:cNvPr id="1" name=""/>
        <p:cNvGrpSpPr/>
        <p:nvPr/>
      </p:nvGrpSpPr>
      <p:grpSpPr>
        <a:xfrm>
          <a:off x="0" y="0"/>
          <a:ext cx="0" cy="0"/>
          <a:chOff x="0" y="0"/>
          <a:chExt cx="0" cy="0"/>
        </a:xfrm>
      </p:grpSpPr>
      <p:cxnSp>
        <p:nvCxnSpPr>
          <p:cNvPr id="17" name="Straight Connector 16"/>
          <p:cNvCxnSpPr/>
          <p:nvPr userDrawn="1"/>
        </p:nvCxnSpPr>
        <p:spPr>
          <a:xfrm>
            <a:off x="444627" y="1017588"/>
            <a:ext cx="869461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
        <p:nvSpPr>
          <p:cNvPr id="5" name="Rectangle 7"/>
          <p:cNvSpPr txBox="1">
            <a:spLocks noChangeArrowheads="1"/>
          </p:cNvSpPr>
          <p:nvPr userDrawn="1"/>
        </p:nvSpPr>
        <p:spPr>
          <a:xfrm>
            <a:off x="7444154" y="6597651"/>
            <a:ext cx="1693985" cy="269875"/>
          </a:xfrm>
          <a:prstGeom prst="rect">
            <a:avLst/>
          </a:prstGeom>
          <a:ln/>
        </p:spPr>
        <p:txBody>
          <a:bodyPr/>
          <a:lstStyle>
            <a:defPPr>
              <a:defRPr lang="en-US"/>
            </a:defPPr>
            <a:lvl1pPr algn="r" rtl="0" fontAlgn="base">
              <a:spcBef>
                <a:spcPct val="0"/>
              </a:spcBef>
              <a:spcAft>
                <a:spcPct val="0"/>
              </a:spcAft>
              <a:defRPr sz="10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defRPr/>
            </a:pPr>
            <a:fld id="{F46C8E8C-1F1A-46DA-8413-ADD73B8B95FA}" type="slidenum">
              <a:rPr lang="en-US" smtClean="0">
                <a:solidFill>
                  <a:prstClr val="black"/>
                </a:solidFill>
              </a:rPr>
              <a:pPr>
                <a:defRPr/>
              </a:pPr>
              <a:t>‹#›</a:t>
            </a:fld>
            <a:endParaRPr lang="en-US">
              <a:solidFill>
                <a:prstClr val="black"/>
              </a:solidFill>
            </a:endParaRPr>
          </a:p>
        </p:txBody>
      </p:sp>
      <p:sp>
        <p:nvSpPr>
          <p:cNvPr id="6" name="TextBox 5"/>
          <p:cNvSpPr txBox="1"/>
          <p:nvPr userDrawn="1"/>
        </p:nvSpPr>
        <p:spPr>
          <a:xfrm>
            <a:off x="448515" y="6571942"/>
            <a:ext cx="2626681" cy="230832"/>
          </a:xfrm>
          <a:prstGeom prst="rect">
            <a:avLst/>
          </a:prstGeom>
          <a:noFill/>
        </p:spPr>
        <p:txBody>
          <a:bodyPr wrap="none" lIns="0">
            <a:spAutoFit/>
          </a:bodyPr>
          <a:lstStyle/>
          <a:p>
            <a:pPr algn="ctr">
              <a:defRPr/>
            </a:pPr>
            <a:r>
              <a:rPr lang="en-US" sz="900" dirty="0">
                <a:solidFill>
                  <a:srgbClr val="000000"/>
                </a:solidFill>
              </a:rPr>
              <a:t>Copyright © </a:t>
            </a:r>
            <a:r>
              <a:rPr lang="en-US" sz="900" dirty="0" smtClean="0">
                <a:solidFill>
                  <a:srgbClr val="000000"/>
                </a:solidFill>
              </a:rPr>
              <a:t>2012 </a:t>
            </a:r>
            <a:r>
              <a:rPr lang="en-US" sz="900" dirty="0">
                <a:solidFill>
                  <a:srgbClr val="000000"/>
                </a:solidFill>
              </a:rPr>
              <a:t>Accenture  All rights reserved.</a:t>
            </a:r>
          </a:p>
        </p:txBody>
      </p:sp>
    </p:spTree>
    <p:extLst>
      <p:ext uri="{BB962C8B-B14F-4D97-AF65-F5344CB8AC3E}">
        <p14:creationId xmlns:p14="http://schemas.microsoft.com/office/powerpoint/2010/main" val="24118674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and Text Slide">
    <p:spTree>
      <p:nvGrpSpPr>
        <p:cNvPr id="1" name=""/>
        <p:cNvGrpSpPr/>
        <p:nvPr/>
      </p:nvGrpSpPr>
      <p:grpSpPr>
        <a:xfrm>
          <a:off x="0" y="0"/>
          <a:ext cx="0" cy="0"/>
          <a:chOff x="0" y="0"/>
          <a:chExt cx="0" cy="0"/>
        </a:xfrm>
      </p:grpSpPr>
      <p:cxnSp>
        <p:nvCxnSpPr>
          <p:cNvPr id="14" name="Straight Connector 13"/>
          <p:cNvCxnSpPr/>
          <p:nvPr userDrawn="1"/>
        </p:nvCxnSpPr>
        <p:spPr>
          <a:xfrm>
            <a:off x="444627" y="1017588"/>
            <a:ext cx="869461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
        <p:nvSpPr>
          <p:cNvPr id="5" name="Rectangle 7"/>
          <p:cNvSpPr txBox="1">
            <a:spLocks noChangeArrowheads="1"/>
          </p:cNvSpPr>
          <p:nvPr userDrawn="1"/>
        </p:nvSpPr>
        <p:spPr>
          <a:xfrm>
            <a:off x="7444154" y="6597651"/>
            <a:ext cx="1693985" cy="269875"/>
          </a:xfrm>
          <a:prstGeom prst="rect">
            <a:avLst/>
          </a:prstGeom>
          <a:ln/>
        </p:spPr>
        <p:txBody>
          <a:bodyPr/>
          <a:lstStyle>
            <a:defPPr>
              <a:defRPr lang="en-US"/>
            </a:defPPr>
            <a:lvl1pPr algn="r" rtl="0" fontAlgn="base">
              <a:spcBef>
                <a:spcPct val="0"/>
              </a:spcBef>
              <a:spcAft>
                <a:spcPct val="0"/>
              </a:spcAft>
              <a:defRPr sz="10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defRPr/>
            </a:pPr>
            <a:fld id="{F46C8E8C-1F1A-46DA-8413-ADD73B8B95FA}" type="slidenum">
              <a:rPr lang="en-US" smtClean="0">
                <a:solidFill>
                  <a:prstClr val="black"/>
                </a:solidFill>
              </a:rPr>
              <a:pPr>
                <a:defRPr/>
              </a:pPr>
              <a:t>‹#›</a:t>
            </a:fld>
            <a:endParaRPr lang="en-US">
              <a:solidFill>
                <a:prstClr val="black"/>
              </a:solidFill>
            </a:endParaRPr>
          </a:p>
        </p:txBody>
      </p:sp>
      <p:sp>
        <p:nvSpPr>
          <p:cNvPr id="6" name="TextBox 5"/>
          <p:cNvSpPr txBox="1"/>
          <p:nvPr userDrawn="1"/>
        </p:nvSpPr>
        <p:spPr>
          <a:xfrm>
            <a:off x="448515" y="6571942"/>
            <a:ext cx="2626681" cy="230832"/>
          </a:xfrm>
          <a:prstGeom prst="rect">
            <a:avLst/>
          </a:prstGeom>
          <a:noFill/>
        </p:spPr>
        <p:txBody>
          <a:bodyPr wrap="none" lIns="0">
            <a:spAutoFit/>
          </a:bodyPr>
          <a:lstStyle/>
          <a:p>
            <a:pPr algn="ctr">
              <a:defRPr/>
            </a:pPr>
            <a:r>
              <a:rPr lang="en-US" sz="900" dirty="0">
                <a:solidFill>
                  <a:srgbClr val="000000"/>
                </a:solidFill>
              </a:rPr>
              <a:t>Copyright © </a:t>
            </a:r>
            <a:r>
              <a:rPr lang="en-US" sz="900" dirty="0" smtClean="0">
                <a:solidFill>
                  <a:srgbClr val="000000"/>
                </a:solidFill>
              </a:rPr>
              <a:t>2012 </a:t>
            </a:r>
            <a:r>
              <a:rPr lang="en-US" sz="900" dirty="0">
                <a:solidFill>
                  <a:srgbClr val="000000"/>
                </a:solidFill>
              </a:rPr>
              <a:t>Accenture  All rights reserved.</a:t>
            </a:r>
          </a:p>
        </p:txBody>
      </p:sp>
    </p:spTree>
    <p:extLst>
      <p:ext uri="{BB962C8B-B14F-4D97-AF65-F5344CB8AC3E}">
        <p14:creationId xmlns:p14="http://schemas.microsoft.com/office/powerpoint/2010/main" val="28665015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Rectangle 7"/>
          <p:cNvSpPr>
            <a:spLocks noGrp="1" noChangeArrowheads="1"/>
          </p:cNvSpPr>
          <p:nvPr>
            <p:ph type="sldNum" sz="quarter" idx="11"/>
          </p:nvPr>
        </p:nvSpPr>
        <p:spPr>
          <a:xfrm>
            <a:off x="7444154" y="6597651"/>
            <a:ext cx="1693985" cy="269875"/>
          </a:xfrm>
          <a:prstGeom prst="rect">
            <a:avLst/>
          </a:prstGeom>
          <a:ln/>
        </p:spPr>
        <p:txBody>
          <a:bodyPr/>
          <a:lstStyle>
            <a:lvl1pPr>
              <a:defRPr/>
            </a:lvl1pPr>
          </a:lstStyle>
          <a:p>
            <a:pPr>
              <a:defRPr/>
            </a:pPr>
            <a:fld id="{F46C8E8C-1F1A-46DA-8413-ADD73B8B95FA}"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4295095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smtClean="0"/>
              <a:t>Click to edit Master title style</a:t>
            </a:r>
            <a:endParaRPr lang="en-US"/>
          </a:p>
        </p:txBody>
      </p:sp>
      <p:sp>
        <p:nvSpPr>
          <p:cNvPr id="3" name="Content Placeholder 2"/>
          <p:cNvSpPr>
            <a:spLocks noGrp="1"/>
          </p:cNvSpPr>
          <p:nvPr>
            <p:ph idx="1"/>
          </p:nvPr>
        </p:nvSpPr>
        <p:spPr>
          <a:xfrm>
            <a:off x="434975" y="1716088"/>
            <a:ext cx="8302625" cy="4999037"/>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7"/>
          <p:cNvSpPr txBox="1">
            <a:spLocks noChangeArrowheads="1"/>
          </p:cNvSpPr>
          <p:nvPr userDrawn="1"/>
        </p:nvSpPr>
        <p:spPr>
          <a:xfrm>
            <a:off x="7444154" y="6597651"/>
            <a:ext cx="1693985" cy="269875"/>
          </a:xfrm>
          <a:prstGeom prst="rect">
            <a:avLst/>
          </a:prstGeom>
          <a:ln/>
        </p:spPr>
        <p:txBody>
          <a:bodyPr/>
          <a:lstStyle>
            <a:defPPr>
              <a:defRPr lang="en-US"/>
            </a:defPPr>
            <a:lvl1pPr algn="r" rtl="0" fontAlgn="base">
              <a:spcBef>
                <a:spcPct val="0"/>
              </a:spcBef>
              <a:spcAft>
                <a:spcPct val="0"/>
              </a:spcAft>
              <a:defRPr sz="10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defRPr/>
            </a:pPr>
            <a:fld id="{F46C8E8C-1F1A-46DA-8413-ADD73B8B95FA}"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9734037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3.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8140355" y="6572250"/>
            <a:ext cx="536575" cy="246062"/>
          </a:xfrm>
          <a:prstGeom prst="rect">
            <a:avLst/>
          </a:prstGeom>
        </p:spPr>
        <p:txBody>
          <a:bodyPr vert="horz" wrap="square" lIns="91440" tIns="45720" rIns="0" bIns="45720" numCol="1" anchor="ctr" anchorCtr="0" compatLnSpc="1">
            <a:prstTxWarp prst="textNoShape">
              <a:avLst/>
            </a:prstTxWarp>
          </a:bodyPr>
          <a:lstStyle>
            <a:lvl1pPr algn="r">
              <a:defRPr sz="900"/>
            </a:lvl1pPr>
          </a:lstStyle>
          <a:p>
            <a:pPr>
              <a:defRPr/>
            </a:pPr>
            <a:fld id="{90CBDC3A-D49F-4631-A8C7-55D59B33E5FA}" type="slidenum">
              <a:rPr lang="en-US" smtClean="0"/>
              <a:pPr>
                <a:defRPr/>
              </a:pPr>
              <a:t>‹#›</a:t>
            </a:fld>
            <a:endParaRPr lang="en-US" dirty="0"/>
          </a:p>
        </p:txBody>
      </p:sp>
      <p:sp>
        <p:nvSpPr>
          <p:cNvPr id="13" name="Content Placeholder 21"/>
          <p:cNvSpPr txBox="1">
            <a:spLocks/>
          </p:cNvSpPr>
          <p:nvPr/>
        </p:nvSpPr>
        <p:spPr>
          <a:xfrm>
            <a:off x="444627" y="1569910"/>
            <a:ext cx="8264398" cy="2663825"/>
          </a:xfrm>
          <a:prstGeom prst="rect">
            <a:avLst/>
          </a:prstGeom>
        </p:spPr>
        <p:txBody>
          <a:bodyPr lIns="0"/>
          <a:lstStyle>
            <a:lvl1pPr marL="266700" indent="-266700" algn="l" rtl="0" eaLnBrk="1" fontAlgn="base" hangingPunct="1">
              <a:spcBef>
                <a:spcPct val="20000"/>
              </a:spcBef>
              <a:spcAft>
                <a:spcPct val="0"/>
              </a:spcAft>
              <a:buFont typeface="Arial" pitchFamily="34" charset="0"/>
              <a:buChar char="•"/>
              <a:defRPr sz="2600" kern="1200">
                <a:solidFill>
                  <a:srgbClr val="778888"/>
                </a:solidFill>
                <a:latin typeface="Arial" pitchFamily="34" charset="0"/>
                <a:ea typeface="Arial" pitchFamily="-105" charset="-52"/>
                <a:cs typeface="Arial" pitchFamily="34" charset="0"/>
              </a:defRPr>
            </a:lvl1pPr>
            <a:lvl2pPr marL="266700" indent="-266700" algn="l" rtl="0" eaLnBrk="1" fontAlgn="base" hangingPunct="1">
              <a:spcBef>
                <a:spcPct val="20000"/>
              </a:spcBef>
              <a:spcAft>
                <a:spcPct val="0"/>
              </a:spcAft>
              <a:buFont typeface="Arial" charset="0"/>
              <a:buChar char="•"/>
              <a:defRPr sz="2400" kern="1200">
                <a:solidFill>
                  <a:srgbClr val="778888"/>
                </a:solidFill>
                <a:latin typeface="Arial" pitchFamily="34" charset="0"/>
                <a:ea typeface="Arial" pitchFamily="-105" charset="-52"/>
                <a:cs typeface="Arial" pitchFamily="34" charset="0"/>
              </a:defRPr>
            </a:lvl2pPr>
            <a:lvl3pPr marL="266700" indent="-266700" algn="l" rtl="0" eaLnBrk="1" fontAlgn="base" hangingPunct="1">
              <a:spcBef>
                <a:spcPct val="20000"/>
              </a:spcBef>
              <a:spcAft>
                <a:spcPct val="0"/>
              </a:spcAft>
              <a:buFont typeface="Arial" charset="0"/>
              <a:buChar char="–"/>
              <a:defRPr sz="2200" kern="1200">
                <a:solidFill>
                  <a:srgbClr val="778888"/>
                </a:solidFill>
                <a:latin typeface="Arial" pitchFamily="34" charset="0"/>
                <a:ea typeface="Arial" pitchFamily="-105" charset="-52"/>
                <a:cs typeface="Arial" pitchFamily="34" charset="0"/>
              </a:defRPr>
            </a:lvl3pPr>
            <a:lvl4pPr marL="266700" indent="-266700" algn="l" rtl="0" eaLnBrk="1" fontAlgn="base" hangingPunct="1">
              <a:spcBef>
                <a:spcPct val="20000"/>
              </a:spcBef>
              <a:spcAft>
                <a:spcPct val="0"/>
              </a:spcAft>
              <a:buFont typeface="Arial" charset="0"/>
              <a:buChar char="•"/>
              <a:defRPr sz="2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26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5" name="Text Placeholder 16"/>
          <p:cNvSpPr txBox="1">
            <a:spLocks/>
          </p:cNvSpPr>
          <p:nvPr/>
        </p:nvSpPr>
        <p:spPr>
          <a:xfrm>
            <a:off x="444500" y="1127125"/>
            <a:ext cx="8251825" cy="435345"/>
          </a:xfrm>
          <a:prstGeom prst="rect">
            <a:avLst/>
          </a:prstGeom>
        </p:spPr>
        <p:txBody>
          <a:bodyPr lIns="0"/>
          <a:lstStyle>
            <a:lvl1pPr marL="342900" indent="-342900" algn="l" rtl="0" eaLnBrk="1" fontAlgn="base" hangingPunct="1">
              <a:spcBef>
                <a:spcPct val="20000"/>
              </a:spcBef>
              <a:spcAft>
                <a:spcPct val="0"/>
              </a:spcAft>
              <a:buFont typeface="Arial" charset="0"/>
              <a:defRPr sz="2600" kern="1200">
                <a:solidFill>
                  <a:schemeClr val="tx2"/>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26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24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22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2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88DD00"/>
                </a:solidFill>
              </a:rPr>
              <a:t>Click to edit Master text styles</a:t>
            </a:r>
          </a:p>
        </p:txBody>
      </p:sp>
      <p:sp>
        <p:nvSpPr>
          <p:cNvPr id="16" name="Title 9"/>
          <p:cNvSpPr txBox="1">
            <a:spLocks/>
          </p:cNvSpPr>
          <p:nvPr/>
        </p:nvSpPr>
        <p:spPr>
          <a:xfrm>
            <a:off x="447330" y="129159"/>
            <a:ext cx="8229600" cy="756349"/>
          </a:xfrm>
          <a:prstGeom prst="rect">
            <a:avLst/>
          </a:prstGeom>
        </p:spPr>
        <p:txBody>
          <a:bodyPr lIns="0" bIns="0" anchor="b" anchorCtr="0"/>
          <a:lstStyle>
            <a:lvl1pPr algn="l" rtl="0" eaLnBrk="1" fontAlgn="base" hangingPunct="1">
              <a:lnSpc>
                <a:spcPts val="2600"/>
              </a:lnSpc>
              <a:spcBef>
                <a:spcPct val="0"/>
              </a:spcBef>
              <a:spcAft>
                <a:spcPct val="0"/>
              </a:spcAft>
              <a:buFont typeface="Arial" charset="0"/>
              <a:defRPr sz="2600" kern="1200" spc="-100" baseline="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US" dirty="0" smtClean="0">
                <a:solidFill>
                  <a:srgbClr val="003344"/>
                </a:solidFill>
              </a:rPr>
              <a:t>Click to edit Master text styles</a:t>
            </a:r>
            <a:endParaRPr lang="en-US" dirty="0">
              <a:solidFill>
                <a:srgbClr val="003344"/>
              </a:solidFill>
            </a:endParaRPr>
          </a:p>
        </p:txBody>
      </p:sp>
    </p:spTree>
  </p:cSld>
  <p:clrMap bg1="lt1" tx1="dk1" bg2="lt2" tx2="dk2" accent1="accent1" accent2="accent2" accent3="accent3" accent4="accent4" accent5="accent5" accent6="accent6" hlink="hlink" folHlink="folHlink"/>
  <p:sldLayoutIdLst>
    <p:sldLayoutId id="2147483717" r:id="rId1"/>
    <p:sldLayoutId id="2147483720" r:id="rId2"/>
    <p:sldLayoutId id="2147483721" r:id="rId3"/>
    <p:sldLayoutId id="2147483781" r:id="rId4"/>
  </p:sldLayoutIdLst>
  <p:timing>
    <p:tnLst>
      <p:par>
        <p:cTn id="1" dur="indefinite" restart="never" nodeType="tmRoot"/>
      </p:par>
    </p:tnLst>
  </p:timing>
  <p:hf hdr="0" ftr="0" dt="0"/>
  <p:txStyles>
    <p:titleStyle>
      <a:lvl1pPr algn="l" rtl="0" eaLnBrk="1" fontAlgn="base" hangingPunct="1">
        <a:lnSpc>
          <a:spcPts val="2600"/>
        </a:lnSpc>
        <a:spcBef>
          <a:spcPct val="0"/>
        </a:spcBef>
        <a:spcAft>
          <a:spcPct val="0"/>
        </a:spcAft>
        <a:buFont typeface="Arial" charset="0"/>
        <a:defRPr sz="2600" kern="1200" spc="-11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0"/>
          <p:cNvSpPr>
            <a:spLocks noGrp="1"/>
          </p:cNvSpPr>
          <p:nvPr>
            <p:ph type="title"/>
          </p:nvPr>
        </p:nvSpPr>
        <p:spPr bwMode="auto">
          <a:xfrm>
            <a:off x="443865" y="230454"/>
            <a:ext cx="8229600" cy="758952"/>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dirty="0" smtClean="0"/>
              <a:t>Page title</a:t>
            </a:r>
          </a:p>
        </p:txBody>
      </p:sp>
      <p:sp>
        <p:nvSpPr>
          <p:cNvPr id="14" name="Slide Number Placeholder 22"/>
          <p:cNvSpPr>
            <a:spLocks noGrp="1"/>
          </p:cNvSpPr>
          <p:nvPr>
            <p:ph type="sldNum" sz="quarter" idx="4"/>
          </p:nvPr>
        </p:nvSpPr>
        <p:spPr>
          <a:xfrm>
            <a:off x="8264174" y="6492697"/>
            <a:ext cx="536575" cy="246062"/>
          </a:xfrm>
          <a:prstGeom prst="rect">
            <a:avLst/>
          </a:prstGeom>
        </p:spPr>
        <p:txBody>
          <a:bodyPr/>
          <a:lstStyle>
            <a:lvl1pPr algn="r">
              <a:defRPr sz="1000">
                <a:solidFill>
                  <a:schemeClr val="tx1"/>
                </a:solidFill>
              </a:defRPr>
            </a:lvl1pPr>
          </a:lstStyle>
          <a:p>
            <a:pPr>
              <a:defRPr/>
            </a:pPr>
            <a:fld id="{76EE58EC-91B6-47AE-993B-68F350CA46E4}" type="slidenum">
              <a:rPr lang="en-US" smtClean="0">
                <a:solidFill>
                  <a:prstClr val="black"/>
                </a:solidFill>
              </a:rPr>
              <a:pPr>
                <a:defRPr/>
              </a:pPr>
              <a:t>‹#›</a:t>
            </a:fld>
            <a:endParaRPr lang="en-US" dirty="0">
              <a:solidFill>
                <a:prstClr val="black"/>
              </a:solidFill>
            </a:endParaRPr>
          </a:p>
        </p:txBody>
      </p:sp>
      <p:sp>
        <p:nvSpPr>
          <p:cNvPr id="30" name="Text Placeholder 29"/>
          <p:cNvSpPr>
            <a:spLocks noGrp="1"/>
          </p:cNvSpPr>
          <p:nvPr>
            <p:ph type="body" idx="1"/>
          </p:nvPr>
        </p:nvSpPr>
        <p:spPr>
          <a:xfrm>
            <a:off x="405162" y="1711710"/>
            <a:ext cx="8229600" cy="4525963"/>
          </a:xfrm>
          <a:prstGeom prst="rect">
            <a:avLst/>
          </a:prstGeom>
        </p:spPr>
        <p:txBody>
          <a:bodyPr vert="horz" lIns="45720" tIns="45720" rIns="4572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31" name="Straight Connector 30"/>
          <p:cNvCxnSpPr/>
          <p:nvPr/>
        </p:nvCxnSpPr>
        <p:spPr>
          <a:xfrm>
            <a:off x="444627" y="1017588"/>
            <a:ext cx="869461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
        <p:nvSpPr>
          <p:cNvPr id="7" name="TextBox 6"/>
          <p:cNvSpPr txBox="1"/>
          <p:nvPr userDrawn="1"/>
        </p:nvSpPr>
        <p:spPr>
          <a:xfrm>
            <a:off x="372315" y="6495742"/>
            <a:ext cx="2626681" cy="230832"/>
          </a:xfrm>
          <a:prstGeom prst="rect">
            <a:avLst/>
          </a:prstGeom>
          <a:noFill/>
        </p:spPr>
        <p:txBody>
          <a:bodyPr wrap="none" lIns="0">
            <a:spAutoFit/>
          </a:bodyPr>
          <a:lstStyle/>
          <a:p>
            <a:pPr algn="ctr">
              <a:defRPr/>
            </a:pPr>
            <a:r>
              <a:rPr lang="en-US" sz="900" dirty="0">
                <a:solidFill>
                  <a:srgbClr val="000000"/>
                </a:solidFill>
              </a:rPr>
              <a:t>Copyright © </a:t>
            </a:r>
            <a:r>
              <a:rPr lang="en-US" sz="900" dirty="0" smtClean="0">
                <a:solidFill>
                  <a:srgbClr val="000000"/>
                </a:solidFill>
              </a:rPr>
              <a:t>2012 </a:t>
            </a:r>
            <a:r>
              <a:rPr lang="en-US" sz="900" dirty="0">
                <a:solidFill>
                  <a:srgbClr val="000000"/>
                </a:solidFill>
              </a:rPr>
              <a:t>Accenture  All rights reserved.</a:t>
            </a:r>
          </a:p>
        </p:txBody>
      </p:sp>
    </p:spTree>
    <p:extLst>
      <p:ext uri="{BB962C8B-B14F-4D97-AF65-F5344CB8AC3E}">
        <p14:creationId xmlns:p14="http://schemas.microsoft.com/office/powerpoint/2010/main" val="888553350"/>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4" r:id="rId11"/>
    <p:sldLayoutId id="2147483735" r:id="rId12"/>
    <p:sldLayoutId id="2147483736" r:id="rId13"/>
  </p:sldLayoutIdLst>
  <p:timing>
    <p:tnLst>
      <p:par>
        <p:cTn id="1" dur="indefinite" restart="never" nodeType="tmRoot"/>
      </p:par>
    </p:tnLst>
  </p:timing>
  <p:hf hdr="0" ftr="0" dt="0"/>
  <p:txStyles>
    <p:titleStyle>
      <a:lvl1pPr algn="l" rtl="0" eaLnBrk="1" fontAlgn="base" hangingPunct="1">
        <a:lnSpc>
          <a:spcPts val="2600"/>
        </a:lnSpc>
        <a:spcBef>
          <a:spcPct val="0"/>
        </a:spcBef>
        <a:spcAft>
          <a:spcPct val="0"/>
        </a:spcAft>
        <a:buFont typeface="Arial" charset="0"/>
        <a:defRPr sz="2600" kern="1200" spc="-110" baseline="0">
          <a:solidFill>
            <a:srgbClr val="002266"/>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171450" indent="-171450" algn="l" rtl="0" eaLnBrk="1" fontAlgn="base" hangingPunct="1">
        <a:lnSpc>
          <a:spcPct val="100000"/>
        </a:lnSpc>
        <a:spcBef>
          <a:spcPts val="0"/>
        </a:spcBef>
        <a:spcAft>
          <a:spcPts val="600"/>
        </a:spcAft>
        <a:buFont typeface="Arial" pitchFamily="34" charset="0"/>
        <a:buChar char="•"/>
        <a:defRPr lang="en-US" sz="2400" kern="1200" spc="-100" baseline="0" smtClean="0">
          <a:solidFill>
            <a:schemeClr val="tx2"/>
          </a:solidFill>
          <a:latin typeface="Arial" pitchFamily="34" charset="0"/>
          <a:ea typeface="Arial" pitchFamily="-105" charset="-52"/>
          <a:cs typeface="Arial" pitchFamily="34" charset="0"/>
        </a:defRPr>
      </a:lvl1pPr>
      <a:lvl2pPr marL="173038" indent="-173038" algn="l" rtl="0" eaLnBrk="1" fontAlgn="base" hangingPunct="1">
        <a:lnSpc>
          <a:spcPct val="100000"/>
        </a:lnSpc>
        <a:spcBef>
          <a:spcPts val="0"/>
        </a:spcBef>
        <a:spcAft>
          <a:spcPts val="600"/>
        </a:spcAft>
        <a:buFont typeface="Arial" charset="0"/>
        <a:buChar char="•"/>
        <a:defRPr lang="en-US" sz="2400" kern="1200" spc="-100" baseline="0" smtClean="0">
          <a:solidFill>
            <a:schemeClr val="tx2"/>
          </a:solidFill>
          <a:latin typeface="Arial" pitchFamily="34" charset="0"/>
          <a:ea typeface="Arial" pitchFamily="-105" charset="-52"/>
          <a:cs typeface="Arial" pitchFamily="34" charset="0"/>
        </a:defRPr>
      </a:lvl2pPr>
      <a:lvl3pPr marL="341313" indent="-169863" algn="l" rtl="0" eaLnBrk="1" fontAlgn="base" hangingPunct="1">
        <a:lnSpc>
          <a:spcPct val="100000"/>
        </a:lnSpc>
        <a:spcBef>
          <a:spcPts val="0"/>
        </a:spcBef>
        <a:spcAft>
          <a:spcPts val="600"/>
        </a:spcAft>
        <a:buFont typeface="Arial" charset="0"/>
        <a:buChar char="–"/>
        <a:defRPr lang="en-US" sz="2400" kern="1200" spc="-100" baseline="0" smtClean="0">
          <a:solidFill>
            <a:schemeClr val="tx2"/>
          </a:solidFill>
          <a:latin typeface="Arial" pitchFamily="34" charset="0"/>
          <a:ea typeface="Arial" pitchFamily="-105" charset="-52"/>
          <a:cs typeface="Arial" pitchFamily="34" charset="0"/>
        </a:defRPr>
      </a:lvl3pPr>
      <a:lvl4pPr marL="173038" indent="-173038" algn="l" rtl="0" eaLnBrk="1" fontAlgn="base" hangingPunct="1">
        <a:lnSpc>
          <a:spcPct val="100000"/>
        </a:lnSpc>
        <a:spcBef>
          <a:spcPts val="0"/>
        </a:spcBef>
        <a:spcAft>
          <a:spcPts val="600"/>
        </a:spcAft>
        <a:buFont typeface="Arial" charset="0"/>
        <a:buChar char="•"/>
        <a:defRPr lang="en-US" sz="2400" kern="1200" spc="-100" baseline="0" smtClean="0">
          <a:solidFill>
            <a:schemeClr val="tx2"/>
          </a:solidFill>
          <a:latin typeface="Arial" pitchFamily="34" charset="0"/>
          <a:ea typeface="Arial" pitchFamily="-105" charset="-52"/>
          <a:cs typeface="Arial" pitchFamily="34" charset="0"/>
        </a:defRPr>
      </a:lvl4pPr>
      <a:lvl5pPr marL="341313" indent="-169863" algn="l" rtl="0" eaLnBrk="1" fontAlgn="base" hangingPunct="1">
        <a:lnSpc>
          <a:spcPct val="100000"/>
        </a:lnSpc>
        <a:spcBef>
          <a:spcPts val="0"/>
        </a:spcBef>
        <a:spcAft>
          <a:spcPts val="600"/>
        </a:spcAft>
        <a:buFont typeface="Lucida Grande" pitchFamily="-105" charset="0"/>
        <a:buChar char="−"/>
        <a:defRPr lang="en-US" sz="2400" kern="1200" spc="-100" baseline="0" dirty="0" smtClean="0">
          <a:solidFill>
            <a:schemeClr val="tx2"/>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0"/>
          <p:cNvSpPr>
            <a:spLocks noGrp="1"/>
          </p:cNvSpPr>
          <p:nvPr>
            <p:ph type="title"/>
          </p:nvPr>
        </p:nvSpPr>
        <p:spPr bwMode="auto">
          <a:xfrm>
            <a:off x="443865" y="230454"/>
            <a:ext cx="8229600" cy="758952"/>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dirty="0" smtClean="0"/>
              <a:t>Page title</a:t>
            </a:r>
          </a:p>
        </p:txBody>
      </p:sp>
      <p:sp>
        <p:nvSpPr>
          <p:cNvPr id="14" name="Slide Number Placeholder 22"/>
          <p:cNvSpPr>
            <a:spLocks noGrp="1"/>
          </p:cNvSpPr>
          <p:nvPr>
            <p:ph type="sldNum" sz="quarter" idx="4"/>
          </p:nvPr>
        </p:nvSpPr>
        <p:spPr>
          <a:xfrm>
            <a:off x="8264174" y="6492697"/>
            <a:ext cx="536575" cy="246062"/>
          </a:xfrm>
          <a:prstGeom prst="rect">
            <a:avLst/>
          </a:prstGeom>
        </p:spPr>
        <p:txBody>
          <a:bodyPr/>
          <a:lstStyle>
            <a:lvl1pPr algn="r">
              <a:defRPr sz="1000">
                <a:solidFill>
                  <a:schemeClr val="tx1"/>
                </a:solidFill>
              </a:defRPr>
            </a:lvl1pPr>
          </a:lstStyle>
          <a:p>
            <a:pPr>
              <a:defRPr/>
            </a:pPr>
            <a:fld id="{76EE58EC-91B6-47AE-993B-68F350CA46E4}" type="slidenum">
              <a:rPr lang="en-US" smtClean="0">
                <a:solidFill>
                  <a:prstClr val="black"/>
                </a:solidFill>
              </a:rPr>
              <a:pPr>
                <a:defRPr/>
              </a:pPr>
              <a:t>‹#›</a:t>
            </a:fld>
            <a:endParaRPr lang="en-US" dirty="0">
              <a:solidFill>
                <a:prstClr val="black"/>
              </a:solidFill>
            </a:endParaRPr>
          </a:p>
        </p:txBody>
      </p:sp>
      <p:sp>
        <p:nvSpPr>
          <p:cNvPr id="30" name="Text Placeholder 29"/>
          <p:cNvSpPr>
            <a:spLocks noGrp="1"/>
          </p:cNvSpPr>
          <p:nvPr>
            <p:ph type="body" idx="1"/>
          </p:nvPr>
        </p:nvSpPr>
        <p:spPr>
          <a:xfrm>
            <a:off x="405162" y="1711710"/>
            <a:ext cx="8229600" cy="4525963"/>
          </a:xfrm>
          <a:prstGeom prst="rect">
            <a:avLst/>
          </a:prstGeom>
        </p:spPr>
        <p:txBody>
          <a:bodyPr vert="horz" lIns="45720" tIns="45720" rIns="4572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31" name="Straight Connector 30"/>
          <p:cNvCxnSpPr/>
          <p:nvPr/>
        </p:nvCxnSpPr>
        <p:spPr>
          <a:xfrm>
            <a:off x="444627" y="1017588"/>
            <a:ext cx="869461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38912" y="6501384"/>
            <a:ext cx="2562560" cy="230832"/>
          </a:xfrm>
          <a:prstGeom prst="rect">
            <a:avLst/>
          </a:prstGeom>
          <a:noFill/>
        </p:spPr>
        <p:txBody>
          <a:bodyPr wrap="none" lIns="0">
            <a:spAutoFit/>
          </a:bodyPr>
          <a:lstStyle/>
          <a:p>
            <a:pPr algn="ctr">
              <a:defRPr/>
            </a:pPr>
            <a:r>
              <a:rPr lang="en-US" sz="900" dirty="0">
                <a:solidFill>
                  <a:srgbClr val="EEECE1"/>
                </a:solidFill>
              </a:rPr>
              <a:t>Copyright © </a:t>
            </a:r>
            <a:r>
              <a:rPr lang="en-US" sz="900" dirty="0" smtClean="0">
                <a:solidFill>
                  <a:srgbClr val="EEECE1"/>
                </a:solidFill>
              </a:rPr>
              <a:t>2012 </a:t>
            </a:r>
            <a:r>
              <a:rPr lang="en-US" sz="900" dirty="0">
                <a:solidFill>
                  <a:srgbClr val="EEECE1"/>
                </a:solidFill>
              </a:rPr>
              <a:t>Accenture  All rights reserved.</a:t>
            </a:r>
          </a:p>
        </p:txBody>
      </p:sp>
      <p:sp>
        <p:nvSpPr>
          <p:cNvPr id="7" name="TextBox 6"/>
          <p:cNvSpPr txBox="1"/>
          <p:nvPr userDrawn="1"/>
        </p:nvSpPr>
        <p:spPr>
          <a:xfrm>
            <a:off x="372315" y="6495742"/>
            <a:ext cx="2626681" cy="230832"/>
          </a:xfrm>
          <a:prstGeom prst="rect">
            <a:avLst/>
          </a:prstGeom>
          <a:noFill/>
        </p:spPr>
        <p:txBody>
          <a:bodyPr wrap="none" lIns="0">
            <a:spAutoFit/>
          </a:bodyPr>
          <a:lstStyle/>
          <a:p>
            <a:pPr algn="ctr">
              <a:defRPr/>
            </a:pPr>
            <a:r>
              <a:rPr lang="en-US" sz="900" dirty="0">
                <a:solidFill>
                  <a:srgbClr val="000000"/>
                </a:solidFill>
              </a:rPr>
              <a:t>Copyright © </a:t>
            </a:r>
            <a:r>
              <a:rPr lang="en-US" sz="900" dirty="0" smtClean="0">
                <a:solidFill>
                  <a:srgbClr val="000000"/>
                </a:solidFill>
              </a:rPr>
              <a:t>2012 </a:t>
            </a:r>
            <a:r>
              <a:rPr lang="en-US" sz="900" dirty="0">
                <a:solidFill>
                  <a:srgbClr val="000000"/>
                </a:solidFill>
              </a:rPr>
              <a:t>Accenture  All rights reserved.</a:t>
            </a:r>
          </a:p>
        </p:txBody>
      </p:sp>
    </p:spTree>
    <p:extLst>
      <p:ext uri="{BB962C8B-B14F-4D97-AF65-F5344CB8AC3E}">
        <p14:creationId xmlns:p14="http://schemas.microsoft.com/office/powerpoint/2010/main" val="3511688245"/>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67" r:id="rId14"/>
  </p:sldLayoutIdLst>
  <p:timing>
    <p:tnLst>
      <p:par>
        <p:cTn id="1" dur="indefinite" restart="never" nodeType="tmRoot"/>
      </p:par>
    </p:tnLst>
  </p:timing>
  <p:hf hdr="0" ftr="0" dt="0"/>
  <p:txStyles>
    <p:titleStyle>
      <a:lvl1pPr algn="l" rtl="0" eaLnBrk="1" fontAlgn="base" hangingPunct="1">
        <a:lnSpc>
          <a:spcPts val="2600"/>
        </a:lnSpc>
        <a:spcBef>
          <a:spcPct val="0"/>
        </a:spcBef>
        <a:spcAft>
          <a:spcPct val="0"/>
        </a:spcAft>
        <a:buFont typeface="Arial" charset="0"/>
        <a:defRPr sz="2600" kern="1200" spc="-110" baseline="0">
          <a:solidFill>
            <a:srgbClr val="002266"/>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171450" indent="-171450" algn="l" rtl="0" eaLnBrk="1" fontAlgn="base" hangingPunct="1">
        <a:lnSpc>
          <a:spcPct val="100000"/>
        </a:lnSpc>
        <a:spcBef>
          <a:spcPts val="0"/>
        </a:spcBef>
        <a:spcAft>
          <a:spcPts val="600"/>
        </a:spcAft>
        <a:buFont typeface="Arial" pitchFamily="34" charset="0"/>
        <a:buChar char="•"/>
        <a:defRPr lang="en-US" sz="2400" kern="1200" spc="-100" baseline="0" smtClean="0">
          <a:solidFill>
            <a:schemeClr val="tx2"/>
          </a:solidFill>
          <a:latin typeface="Arial" pitchFamily="34" charset="0"/>
          <a:ea typeface="Arial" pitchFamily="-105" charset="-52"/>
          <a:cs typeface="Arial" pitchFamily="34" charset="0"/>
        </a:defRPr>
      </a:lvl1pPr>
      <a:lvl2pPr marL="173038" indent="-173038" algn="l" rtl="0" eaLnBrk="1" fontAlgn="base" hangingPunct="1">
        <a:lnSpc>
          <a:spcPct val="100000"/>
        </a:lnSpc>
        <a:spcBef>
          <a:spcPts val="0"/>
        </a:spcBef>
        <a:spcAft>
          <a:spcPts val="600"/>
        </a:spcAft>
        <a:buFont typeface="Arial" charset="0"/>
        <a:buChar char="•"/>
        <a:defRPr lang="en-US" sz="2400" kern="1200" spc="-100" baseline="0" smtClean="0">
          <a:solidFill>
            <a:schemeClr val="tx2"/>
          </a:solidFill>
          <a:latin typeface="Arial" pitchFamily="34" charset="0"/>
          <a:ea typeface="Arial" pitchFamily="-105" charset="-52"/>
          <a:cs typeface="Arial" pitchFamily="34" charset="0"/>
        </a:defRPr>
      </a:lvl2pPr>
      <a:lvl3pPr marL="341313" indent="-169863" algn="l" rtl="0" eaLnBrk="1" fontAlgn="base" hangingPunct="1">
        <a:lnSpc>
          <a:spcPct val="100000"/>
        </a:lnSpc>
        <a:spcBef>
          <a:spcPts val="0"/>
        </a:spcBef>
        <a:spcAft>
          <a:spcPts val="600"/>
        </a:spcAft>
        <a:buFont typeface="Arial" charset="0"/>
        <a:buChar char="–"/>
        <a:defRPr lang="en-US" sz="2400" kern="1200" spc="-100" baseline="0" smtClean="0">
          <a:solidFill>
            <a:schemeClr val="tx2"/>
          </a:solidFill>
          <a:latin typeface="Arial" pitchFamily="34" charset="0"/>
          <a:ea typeface="Arial" pitchFamily="-105" charset="-52"/>
          <a:cs typeface="Arial" pitchFamily="34" charset="0"/>
        </a:defRPr>
      </a:lvl3pPr>
      <a:lvl4pPr marL="173038" indent="-173038" algn="l" rtl="0" eaLnBrk="1" fontAlgn="base" hangingPunct="1">
        <a:lnSpc>
          <a:spcPct val="100000"/>
        </a:lnSpc>
        <a:spcBef>
          <a:spcPts val="0"/>
        </a:spcBef>
        <a:spcAft>
          <a:spcPts val="600"/>
        </a:spcAft>
        <a:buFont typeface="Arial" charset="0"/>
        <a:buChar char="•"/>
        <a:defRPr lang="en-US" sz="2400" kern="1200" spc="-100" baseline="0" smtClean="0">
          <a:solidFill>
            <a:schemeClr val="tx2"/>
          </a:solidFill>
          <a:latin typeface="Arial" pitchFamily="34" charset="0"/>
          <a:ea typeface="Arial" pitchFamily="-105" charset="-52"/>
          <a:cs typeface="Arial" pitchFamily="34" charset="0"/>
        </a:defRPr>
      </a:lvl4pPr>
      <a:lvl5pPr marL="341313" indent="-169863" algn="l" rtl="0" eaLnBrk="1" fontAlgn="base" hangingPunct="1">
        <a:lnSpc>
          <a:spcPct val="100000"/>
        </a:lnSpc>
        <a:spcBef>
          <a:spcPts val="0"/>
        </a:spcBef>
        <a:spcAft>
          <a:spcPts val="600"/>
        </a:spcAft>
        <a:buFont typeface="Lucida Grande" pitchFamily="-105" charset="0"/>
        <a:buChar char="−"/>
        <a:defRPr lang="en-US" sz="2400" kern="1200" spc="-100" baseline="0" dirty="0" smtClean="0">
          <a:solidFill>
            <a:schemeClr val="tx2"/>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9" name="Rectangle 4"/>
          <p:cNvSpPr>
            <a:spLocks noGrp="1" noChangeArrowheads="1"/>
          </p:cNvSpPr>
          <p:nvPr>
            <p:ph type="body" idx="1"/>
          </p:nvPr>
        </p:nvSpPr>
        <p:spPr bwMode="auto">
          <a:xfrm>
            <a:off x="395654" y="1752600"/>
            <a:ext cx="7776797" cy="40386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150" name="Rectangle 3"/>
          <p:cNvSpPr>
            <a:spLocks noGrp="1" noChangeArrowheads="1"/>
          </p:cNvSpPr>
          <p:nvPr>
            <p:ph type="title"/>
          </p:nvPr>
        </p:nvSpPr>
        <p:spPr bwMode="auto">
          <a:xfrm>
            <a:off x="395654" y="355601"/>
            <a:ext cx="6693877" cy="74880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br>
              <a:rPr lang="en-US" smtClean="0"/>
            </a:br>
            <a:endParaRPr lang="en-US" smtClean="0"/>
          </a:p>
        </p:txBody>
      </p:sp>
      <p:sp>
        <p:nvSpPr>
          <p:cNvPr id="1033" name="Rectangle 9"/>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1400" b="0">
                <a:latin typeface="Arial" charset="0"/>
              </a:defRPr>
            </a:lvl1pPr>
          </a:lstStyle>
          <a:p>
            <a:pPr>
              <a:defRPr/>
            </a:pPr>
            <a:endParaRPr lang="en-US" dirty="0">
              <a:solidFill>
                <a:srgbClr val="000066"/>
              </a:solidFill>
              <a:cs typeface="+mn-cs"/>
            </a:endParaRPr>
          </a:p>
        </p:txBody>
      </p:sp>
      <p:cxnSp>
        <p:nvCxnSpPr>
          <p:cNvPr id="10" name="Straight Connector 9"/>
          <p:cNvCxnSpPr>
            <a:cxnSpLocks noChangeShapeType="1"/>
          </p:cNvCxnSpPr>
          <p:nvPr userDrawn="1"/>
        </p:nvCxnSpPr>
        <p:spPr bwMode="auto">
          <a:xfrm>
            <a:off x="0" y="1163999"/>
            <a:ext cx="9144000" cy="1588"/>
          </a:xfrm>
          <a:prstGeom prst="line">
            <a:avLst/>
          </a:prstGeom>
          <a:noFill/>
          <a:ln w="25400" algn="ctr">
            <a:solidFill>
              <a:srgbClr val="FF0000"/>
            </a:solidFill>
            <a:round/>
            <a:headEnd/>
            <a:tailEnd/>
          </a:ln>
        </p:spPr>
      </p:cxnSp>
      <p:sp>
        <p:nvSpPr>
          <p:cNvPr id="9" name="Rectangle 66"/>
          <p:cNvSpPr txBox="1">
            <a:spLocks noChangeArrowheads="1"/>
          </p:cNvSpPr>
          <p:nvPr userDrawn="1"/>
        </p:nvSpPr>
        <p:spPr bwMode="gray">
          <a:xfrm>
            <a:off x="393969" y="6646864"/>
            <a:ext cx="2110154" cy="166687"/>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l">
              <a:spcBef>
                <a:spcPct val="0"/>
              </a:spcBef>
              <a:buSzTx/>
              <a:buFontTx/>
              <a:buNone/>
              <a:defRPr sz="1000" b="0"/>
            </a:lvl1pPr>
          </a:lstStyle>
          <a:p>
            <a:pPr eaLnBrk="0" hangingPunct="0">
              <a:defRPr/>
            </a:pPr>
            <a:r>
              <a:rPr lang="en-US" sz="800" dirty="0" smtClean="0">
                <a:solidFill>
                  <a:srgbClr val="000066"/>
                </a:solidFill>
                <a:cs typeface="+mn-cs"/>
              </a:rPr>
              <a:t>Copyright © 2012 Accenture All Rights Reserved.</a:t>
            </a:r>
            <a:endParaRPr lang="en-US" sz="800" dirty="0">
              <a:solidFill>
                <a:srgbClr val="000066"/>
              </a:solidFill>
              <a:cs typeface="+mn-cs"/>
            </a:endParaRPr>
          </a:p>
        </p:txBody>
      </p:sp>
      <p:sp>
        <p:nvSpPr>
          <p:cNvPr id="11" name="Slide Number Placeholder 10"/>
          <p:cNvSpPr txBox="1">
            <a:spLocks/>
          </p:cNvSpPr>
          <p:nvPr userDrawn="1"/>
        </p:nvSpPr>
        <p:spPr>
          <a:xfrm>
            <a:off x="8391289" y="6600950"/>
            <a:ext cx="663819" cy="165100"/>
          </a:xfrm>
          <a:prstGeom prst="rect">
            <a:avLst/>
          </a:prstGeom>
        </p:spPr>
        <p:txBody>
          <a:bodyPr/>
          <a:lstStyle/>
          <a:p>
            <a:pPr algn="r" eaLnBrk="0" hangingPunct="0">
              <a:spcBef>
                <a:spcPct val="20000"/>
              </a:spcBef>
              <a:buSzPct val="100000"/>
              <a:buFont typeface="Wingdings" pitchFamily="2" charset="2"/>
              <a:buNone/>
              <a:defRPr/>
            </a:pPr>
            <a:fld id="{470821EA-12F2-4A85-9E1D-64CDDF80A689}" type="slidenum">
              <a:rPr lang="en-US" sz="1000" smtClean="0">
                <a:solidFill>
                  <a:srgbClr val="000066"/>
                </a:solidFill>
                <a:cs typeface="+mn-cs"/>
              </a:rPr>
              <a:pPr algn="r" eaLnBrk="0" hangingPunct="0">
                <a:spcBef>
                  <a:spcPct val="20000"/>
                </a:spcBef>
                <a:buSzPct val="100000"/>
                <a:buFont typeface="Wingdings" pitchFamily="2" charset="2"/>
                <a:buNone/>
                <a:defRPr/>
              </a:pPr>
              <a:t>‹#›</a:t>
            </a:fld>
            <a:endParaRPr lang="en-US" sz="1000" dirty="0">
              <a:solidFill>
                <a:srgbClr val="000066"/>
              </a:solidFill>
              <a:cs typeface="+mn-cs"/>
            </a:endParaRPr>
          </a:p>
        </p:txBody>
      </p:sp>
    </p:spTree>
    <p:extLst>
      <p:ext uri="{BB962C8B-B14F-4D97-AF65-F5344CB8AC3E}">
        <p14:creationId xmlns:p14="http://schemas.microsoft.com/office/powerpoint/2010/main" val="1575420422"/>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p:titleStyle>
    <p:bodyStyle>
      <a:lvl1pPr marL="265113" indent="-265113" algn="l" rtl="0" eaLnBrk="0" fontAlgn="base" hangingPunct="0">
        <a:spcBef>
          <a:spcPct val="20000"/>
        </a:spcBef>
        <a:spcAft>
          <a:spcPct val="0"/>
        </a:spcAft>
        <a:buClr>
          <a:srgbClr val="003399"/>
        </a:buClr>
        <a:buBlip>
          <a:blip r:embed="rId14"/>
        </a:buBlip>
        <a:defRPr sz="2000">
          <a:solidFill>
            <a:srgbClr val="000066"/>
          </a:solidFill>
          <a:latin typeface="+mn-lt"/>
          <a:ea typeface="+mn-ea"/>
          <a:cs typeface="+mn-cs"/>
        </a:defRPr>
      </a:lvl1pPr>
      <a:lvl2pPr marL="539750" indent="-273050" algn="l" rtl="0" eaLnBrk="0" fontAlgn="base" hangingPunct="0">
        <a:spcBef>
          <a:spcPct val="20000"/>
        </a:spcBef>
        <a:spcAft>
          <a:spcPct val="0"/>
        </a:spcAft>
        <a:buClr>
          <a:srgbClr val="608CC8"/>
        </a:buClr>
        <a:buBlip>
          <a:blip r:embed="rId14"/>
        </a:buBlip>
        <a:defRPr>
          <a:solidFill>
            <a:srgbClr val="000066"/>
          </a:solidFill>
          <a:latin typeface="+mn-lt"/>
        </a:defRPr>
      </a:lvl2pPr>
      <a:lvl3pPr marL="806450" indent="-265113" algn="l" rtl="0" eaLnBrk="0" fontAlgn="base" hangingPunct="0">
        <a:spcBef>
          <a:spcPct val="20000"/>
        </a:spcBef>
        <a:spcAft>
          <a:spcPct val="0"/>
        </a:spcAft>
        <a:buClr>
          <a:schemeClr val="tx1"/>
        </a:buClr>
        <a:buSzPct val="120000"/>
        <a:buFont typeface="Arial" pitchFamily="34" charset="0"/>
        <a:buChar char="–"/>
        <a:defRPr>
          <a:solidFill>
            <a:srgbClr val="000066"/>
          </a:solidFill>
          <a:latin typeface="+mn-lt"/>
        </a:defRPr>
      </a:lvl3pPr>
      <a:lvl4pPr marL="1073150" indent="-265113" algn="l" rtl="0" eaLnBrk="0" fontAlgn="base" hangingPunct="0">
        <a:spcBef>
          <a:spcPct val="20000"/>
        </a:spcBef>
        <a:spcAft>
          <a:spcPct val="0"/>
        </a:spcAft>
        <a:buClr>
          <a:schemeClr val="tx1"/>
        </a:buClr>
        <a:buSzPct val="120000"/>
        <a:buFont typeface="Arial" pitchFamily="34" charset="0"/>
        <a:buChar char="–"/>
        <a:defRPr sz="1600">
          <a:solidFill>
            <a:srgbClr val="000066"/>
          </a:solidFill>
          <a:latin typeface="+mn-lt"/>
        </a:defRPr>
      </a:lvl4pPr>
      <a:lvl5pPr marL="13604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5pPr>
      <a:lvl6pPr marL="18176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6pPr>
      <a:lvl7pPr marL="22748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7pPr>
      <a:lvl8pPr marL="27320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8pPr>
      <a:lvl9pPr marL="31892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2.gif"/></Relationships>
</file>

<file path=ppt/slides/_rels/slide12.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image" Target="../media/image13.jpe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23.png"/></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3" Type="http://schemas.openxmlformats.org/officeDocument/2006/relationships/image" Target="../media/image30.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 Type="http://schemas.openxmlformats.org/officeDocument/2006/relationships/image" Target="../media/image29.png"/><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slideLayout" Target="../slideLayouts/slideLayout15.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slideLayout" Target="../slideLayouts/slideLayout2.xml"/><Relationship Id="rId5" Type="http://schemas.openxmlformats.org/officeDocument/2006/relationships/image" Target="../media/image55.jpeg"/><Relationship Id="rId4" Type="http://schemas.openxmlformats.org/officeDocument/2006/relationships/image" Target="../media/image54.jpg"/></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jpeg"/><Relationship Id="rId1" Type="http://schemas.openxmlformats.org/officeDocument/2006/relationships/slideLayout" Target="../slideLayouts/slideLayout2.xml"/><Relationship Id="rId6" Type="http://schemas.openxmlformats.org/officeDocument/2006/relationships/image" Target="../media/image62.jpeg"/><Relationship Id="rId5" Type="http://schemas.openxmlformats.org/officeDocument/2006/relationships/image" Target="../media/image61.jpeg"/><Relationship Id="rId10" Type="http://schemas.openxmlformats.org/officeDocument/2006/relationships/image" Target="../media/image66.jpeg"/><Relationship Id="rId4" Type="http://schemas.openxmlformats.org/officeDocument/2006/relationships/image" Target="../media/image60.png"/><Relationship Id="rId9" Type="http://schemas.openxmlformats.org/officeDocument/2006/relationships/image" Target="../media/image65.jpeg"/></Relationships>
</file>

<file path=ppt/slides/_rels/slide36.xml.rels><?xml version="1.0" encoding="UTF-8" standalone="yes"?>
<Relationships xmlns="http://schemas.openxmlformats.org/package/2006/relationships"><Relationship Id="rId3" Type="http://schemas.openxmlformats.org/officeDocument/2006/relationships/hyperlink" Target="http://www.energiaysociedad.es/detalle_material_didactico.asp?id=24&amp;secc=6" TargetMode="External"/><Relationship Id="rId7" Type="http://schemas.openxmlformats.org/officeDocument/2006/relationships/hyperlink" Target="http://www.inega.es/sites/default/descargas/enerxia_galicia/tablas_tiepi_espana_castellano.pdf" TargetMode="External"/><Relationship Id="rId2" Type="http://schemas.openxmlformats.org/officeDocument/2006/relationships/hyperlink" Target="http://www.ree.es/sistema_electrico/pdf/infosis/Avance_REE_2012.pdf" TargetMode="External"/><Relationship Id="rId1" Type="http://schemas.openxmlformats.org/officeDocument/2006/relationships/slideLayout" Target="../slideLayouts/slideLayout2.xml"/><Relationship Id="rId6" Type="http://schemas.openxmlformats.org/officeDocument/2006/relationships/hyperlink" Target="http://epp.eurostat.ec.europa.eu/portal/page/portal/energy/data/main_tables" TargetMode="External"/><Relationship Id="rId5" Type="http://schemas.openxmlformats.org/officeDocument/2006/relationships/hyperlink" Target="http://www.energiaysociedad.es/detalle_material_didactico.asp?id=12&amp;secc=3" TargetMode="External"/><Relationship Id="rId4" Type="http://schemas.openxmlformats.org/officeDocument/2006/relationships/hyperlink" Target="http://www.energiaysociedad.es/detalle_material_didactico.asp?id=18&amp;secc=5"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gi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39639" y="2269244"/>
            <a:ext cx="4130761" cy="1251196"/>
          </a:xfrm>
        </p:spPr>
        <p:txBody>
          <a:bodyPr/>
          <a:lstStyle/>
          <a:p>
            <a:r>
              <a:rPr lang="es-ES" sz="3200" dirty="0"/>
              <a:t>Encuentro Utilities Madrid </a:t>
            </a:r>
            <a:r>
              <a:rPr lang="es-ES" sz="3200" dirty="0" err="1"/>
              <a:t>Hub</a:t>
            </a:r>
            <a:r>
              <a:rPr lang="es-ES" sz="3200" dirty="0"/>
              <a:t>: </a:t>
            </a:r>
            <a:r>
              <a:rPr lang="es-ES" sz="3200" b="1" dirty="0"/>
              <a:t>Transporte y Distribución</a:t>
            </a:r>
            <a:endParaRPr lang="en-US" sz="3200"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t="9538"/>
          <a:stretch/>
        </p:blipFill>
        <p:spPr bwMode="auto">
          <a:xfrm>
            <a:off x="2342301" y="3669450"/>
            <a:ext cx="4649342" cy="26974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Slide Number Placeholder 4"/>
          <p:cNvSpPr>
            <a:spLocks noGrp="1"/>
          </p:cNvSpPr>
          <p:nvPr>
            <p:ph type="sldNum" sz="quarter" idx="4"/>
          </p:nvPr>
        </p:nvSpPr>
        <p:spPr>
          <a:xfrm>
            <a:off x="8154357" y="6569469"/>
            <a:ext cx="547360" cy="251008"/>
          </a:xfrm>
        </p:spPr>
        <p:txBody>
          <a:bodyPr/>
          <a:lstStyle/>
          <a:p>
            <a:pPr>
              <a:defRPr/>
            </a:pPr>
            <a:fld id="{90CBDC3A-D49F-4631-A8C7-55D59B33E5FA}" type="slidenum">
              <a:rPr lang="en-US" smtClean="0"/>
              <a:pPr>
                <a:defRPr/>
              </a:pPr>
              <a:t>10</a:t>
            </a:fld>
            <a:endParaRPr lang="en-US" dirty="0"/>
          </a:p>
        </p:txBody>
      </p:sp>
      <p:sp>
        <p:nvSpPr>
          <p:cNvPr id="8" name="Text Placeholder 1"/>
          <p:cNvSpPr txBox="1">
            <a:spLocks/>
          </p:cNvSpPr>
          <p:nvPr/>
        </p:nvSpPr>
        <p:spPr>
          <a:xfrm>
            <a:off x="239525" y="1531009"/>
            <a:ext cx="4146929" cy="1185187"/>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200" spc="0" dirty="0" smtClean="0">
                <a:solidFill>
                  <a:schemeClr val="accent1"/>
                </a:solidFill>
              </a:rPr>
              <a:t>Ofertas en base al coste de oportunidad</a:t>
            </a:r>
          </a:p>
          <a:p>
            <a:pPr marL="171450" indent="-171450">
              <a:lnSpc>
                <a:spcPct val="100000"/>
              </a:lnSpc>
              <a:spcBef>
                <a:spcPts val="0"/>
              </a:spcBef>
              <a:buFont typeface="Arial" pitchFamily="34" charset="0"/>
              <a:buChar char="•"/>
            </a:pPr>
            <a:r>
              <a:rPr lang="es-ES_tradnl" sz="1200" spc="0" dirty="0" smtClean="0">
                <a:solidFill>
                  <a:schemeClr val="accent1"/>
                </a:solidFill>
              </a:rPr>
              <a:t>Desglose horario</a:t>
            </a:r>
          </a:p>
          <a:p>
            <a:pPr marL="171450" indent="-171450">
              <a:lnSpc>
                <a:spcPct val="100000"/>
              </a:lnSpc>
              <a:spcBef>
                <a:spcPts val="0"/>
              </a:spcBef>
              <a:buFont typeface="Arial" pitchFamily="34" charset="0"/>
              <a:buChar char="•"/>
            </a:pPr>
            <a:r>
              <a:rPr lang="es-ES_tradnl" sz="1200" spc="0" dirty="0" smtClean="0">
                <a:solidFill>
                  <a:schemeClr val="accent1"/>
                </a:solidFill>
              </a:rPr>
              <a:t>Precio instrumental mínimo 0 (nucleares, eólicas..)</a:t>
            </a:r>
          </a:p>
          <a:p>
            <a:pPr marL="171450" indent="-171450">
              <a:lnSpc>
                <a:spcPct val="100000"/>
              </a:lnSpc>
              <a:spcBef>
                <a:spcPts val="0"/>
              </a:spcBef>
              <a:buFont typeface="Arial" pitchFamily="34" charset="0"/>
              <a:buChar char="•"/>
            </a:pPr>
            <a:r>
              <a:rPr lang="es-ES_tradnl" sz="1200" spc="0" dirty="0" smtClean="0">
                <a:solidFill>
                  <a:schemeClr val="accent1"/>
                </a:solidFill>
              </a:rPr>
              <a:t>Ofertas </a:t>
            </a:r>
            <a:r>
              <a:rPr lang="es-ES_tradnl" sz="1200" spc="0" dirty="0" err="1" smtClean="0">
                <a:solidFill>
                  <a:schemeClr val="accent1"/>
                </a:solidFill>
              </a:rPr>
              <a:t>simpleas</a:t>
            </a:r>
            <a:r>
              <a:rPr lang="es-ES_tradnl" sz="1200" spc="0" dirty="0" smtClean="0">
                <a:solidFill>
                  <a:schemeClr val="accent1"/>
                </a:solidFill>
              </a:rPr>
              <a:t> y con condiciones complejas</a:t>
            </a:r>
          </a:p>
          <a:p>
            <a:pPr marL="171450" indent="-171450">
              <a:lnSpc>
                <a:spcPct val="100000"/>
              </a:lnSpc>
              <a:spcBef>
                <a:spcPts val="0"/>
              </a:spcBef>
              <a:buFont typeface="Arial" pitchFamily="34" charset="0"/>
              <a:buChar char="•"/>
            </a:pPr>
            <a:r>
              <a:rPr lang="es-ES_tradnl" sz="1200" spc="0" dirty="0" smtClean="0">
                <a:solidFill>
                  <a:schemeClr val="accent1"/>
                </a:solidFill>
              </a:rPr>
              <a:t>Deben participar todas las unidades no comprometidas en contratos bilaterales</a:t>
            </a:r>
          </a:p>
        </p:txBody>
      </p:sp>
      <p:sp>
        <p:nvSpPr>
          <p:cNvPr id="10" name="Text Placeholder 1"/>
          <p:cNvSpPr txBox="1">
            <a:spLocks/>
          </p:cNvSpPr>
          <p:nvPr/>
        </p:nvSpPr>
        <p:spPr>
          <a:xfrm>
            <a:off x="4752596" y="1531009"/>
            <a:ext cx="4146929" cy="1185187"/>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100" spc="0" dirty="0" smtClean="0">
                <a:solidFill>
                  <a:schemeClr val="accent1"/>
                </a:solidFill>
              </a:rPr>
              <a:t>Curva bastante Inelástica</a:t>
            </a:r>
          </a:p>
          <a:p>
            <a:pPr marL="171450" indent="-171450">
              <a:lnSpc>
                <a:spcPct val="100000"/>
              </a:lnSpc>
              <a:spcBef>
                <a:spcPts val="0"/>
              </a:spcBef>
              <a:buFont typeface="Arial" pitchFamily="34" charset="0"/>
              <a:buChar char="•"/>
            </a:pPr>
            <a:r>
              <a:rPr lang="es-ES_tradnl" sz="1100" spc="0" dirty="0" smtClean="0">
                <a:solidFill>
                  <a:schemeClr val="accent1"/>
                </a:solidFill>
              </a:rPr>
              <a:t>Grandes variaciones entre días laborables y festivos y de la estación del año</a:t>
            </a:r>
          </a:p>
          <a:p>
            <a:pPr marL="171450" indent="-171450">
              <a:lnSpc>
                <a:spcPct val="100000"/>
              </a:lnSpc>
              <a:spcBef>
                <a:spcPts val="0"/>
              </a:spcBef>
              <a:buFont typeface="Arial" pitchFamily="34" charset="0"/>
              <a:buChar char="•"/>
            </a:pPr>
            <a:r>
              <a:rPr lang="es-ES_tradnl" sz="1100" spc="0" dirty="0" smtClean="0">
                <a:solidFill>
                  <a:schemeClr val="accent1"/>
                </a:solidFill>
              </a:rPr>
              <a:t>Precio instrumental máximo 180,3 €/MWh para asegurar el suministro</a:t>
            </a:r>
          </a:p>
        </p:txBody>
      </p:sp>
      <p:sp>
        <p:nvSpPr>
          <p:cNvPr id="11" name="TextBox 10"/>
          <p:cNvSpPr txBox="1"/>
          <p:nvPr/>
        </p:nvSpPr>
        <p:spPr>
          <a:xfrm>
            <a:off x="243062" y="3711429"/>
            <a:ext cx="1754746" cy="600164"/>
          </a:xfrm>
          <a:prstGeom prst="rect">
            <a:avLst/>
          </a:prstGeom>
          <a:noFill/>
        </p:spPr>
        <p:txBody>
          <a:bodyPr wrap="square" rtlCol="0">
            <a:spAutoFit/>
          </a:bodyPr>
          <a:lstStyle/>
          <a:p>
            <a:r>
              <a:rPr lang="es-ES_tradnl" sz="1100" dirty="0">
                <a:solidFill>
                  <a:schemeClr val="accent1"/>
                </a:solidFill>
                <a:latin typeface="Arial" pitchFamily="34" charset="0"/>
                <a:ea typeface="Arial" pitchFamily="-105" charset="-52"/>
                <a:cs typeface="Arial" pitchFamily="34" charset="0"/>
              </a:rPr>
              <a:t>Precio instrumental de compra: </a:t>
            </a:r>
          </a:p>
          <a:p>
            <a:r>
              <a:rPr lang="es-ES_tradnl" sz="1100" dirty="0">
                <a:solidFill>
                  <a:schemeClr val="accent1"/>
                </a:solidFill>
                <a:latin typeface="Arial" pitchFamily="34" charset="0"/>
                <a:ea typeface="Arial" pitchFamily="-105" charset="-52"/>
                <a:cs typeface="Arial" pitchFamily="34" charset="0"/>
              </a:rPr>
              <a:t>- Asegurar la casación</a:t>
            </a:r>
            <a:endParaRPr lang="es-ES" sz="1100" dirty="0">
              <a:solidFill>
                <a:schemeClr val="accent1"/>
              </a:solidFill>
              <a:latin typeface="Arial" pitchFamily="34" charset="0"/>
              <a:ea typeface="Arial" pitchFamily="-105" charset="-52"/>
              <a:cs typeface="Arial" pitchFamily="34" charset="0"/>
            </a:endParaRPr>
          </a:p>
        </p:txBody>
      </p:sp>
      <p:cxnSp>
        <p:nvCxnSpPr>
          <p:cNvPr id="14" name="Curved Connector 13"/>
          <p:cNvCxnSpPr>
            <a:stCxn id="11" idx="3"/>
          </p:cNvCxnSpPr>
          <p:nvPr/>
        </p:nvCxnSpPr>
        <p:spPr>
          <a:xfrm flipV="1">
            <a:off x="1997808" y="3994924"/>
            <a:ext cx="551754" cy="16587"/>
          </a:xfrm>
          <a:prstGeom prst="curvedConnector3">
            <a:avLst>
              <a:gd name="adj1" fmla="val 50000"/>
            </a:avLst>
          </a:prstGeom>
          <a:ln w="9525">
            <a:solidFill>
              <a:srgbClr val="408FCD"/>
            </a:solidFill>
            <a:tailEnd type="arrow"/>
          </a:ln>
        </p:spPr>
        <p:style>
          <a:lnRef idx="1">
            <a:schemeClr val="accent4"/>
          </a:lnRef>
          <a:fillRef idx="0">
            <a:schemeClr val="accent4"/>
          </a:fillRef>
          <a:effectRef idx="0">
            <a:schemeClr val="accent4"/>
          </a:effectRef>
          <a:fontRef idx="minor">
            <a:schemeClr val="tx1"/>
          </a:fontRef>
        </p:style>
      </p:cxnSp>
      <p:sp>
        <p:nvSpPr>
          <p:cNvPr id="17" name="TextBox 16"/>
          <p:cNvSpPr txBox="1"/>
          <p:nvPr/>
        </p:nvSpPr>
        <p:spPr>
          <a:xfrm>
            <a:off x="222237" y="4526071"/>
            <a:ext cx="1754746" cy="938719"/>
          </a:xfrm>
          <a:prstGeom prst="rect">
            <a:avLst/>
          </a:prstGeom>
          <a:noFill/>
        </p:spPr>
        <p:txBody>
          <a:bodyPr wrap="square" rtlCol="0">
            <a:spAutoFit/>
          </a:bodyPr>
          <a:lstStyle/>
          <a:p>
            <a:r>
              <a:rPr lang="es-ES_tradnl" sz="1100" dirty="0" smtClean="0">
                <a:solidFill>
                  <a:schemeClr val="accent1"/>
                </a:solidFill>
                <a:latin typeface="Arial" pitchFamily="34" charset="0"/>
                <a:ea typeface="Arial" pitchFamily="-105" charset="-52"/>
                <a:cs typeface="Arial" pitchFamily="34" charset="0"/>
              </a:rPr>
              <a:t>Industria y estaciones de bombeo que pueden modular la producción con el precio de la energía</a:t>
            </a:r>
            <a:endParaRPr lang="es-ES_tradnl" sz="1100" dirty="0">
              <a:solidFill>
                <a:schemeClr val="accent1"/>
              </a:solidFill>
              <a:latin typeface="Arial" pitchFamily="34" charset="0"/>
              <a:ea typeface="Arial" pitchFamily="-105" charset="-52"/>
              <a:cs typeface="Arial" pitchFamily="34" charset="0"/>
            </a:endParaRPr>
          </a:p>
        </p:txBody>
      </p:sp>
      <p:sp>
        <p:nvSpPr>
          <p:cNvPr id="21" name="TextBox 20"/>
          <p:cNvSpPr txBox="1"/>
          <p:nvPr/>
        </p:nvSpPr>
        <p:spPr>
          <a:xfrm>
            <a:off x="7162067" y="3516333"/>
            <a:ext cx="1754746" cy="600164"/>
          </a:xfrm>
          <a:prstGeom prst="rect">
            <a:avLst/>
          </a:prstGeom>
          <a:noFill/>
        </p:spPr>
        <p:txBody>
          <a:bodyPr wrap="square" rtlCol="0">
            <a:spAutoFit/>
          </a:bodyPr>
          <a:lstStyle/>
          <a:p>
            <a:r>
              <a:rPr lang="es-ES_tradnl" sz="1100" dirty="0" smtClean="0">
                <a:solidFill>
                  <a:schemeClr val="accent1"/>
                </a:solidFill>
                <a:latin typeface="Arial" pitchFamily="34" charset="0"/>
                <a:ea typeface="Arial" pitchFamily="-105" charset="-52"/>
                <a:cs typeface="Arial" pitchFamily="34" charset="0"/>
              </a:rPr>
              <a:t>Centrales menos eficientes, hídricas regulables</a:t>
            </a:r>
            <a:endParaRPr lang="es-ES" sz="1100" dirty="0">
              <a:solidFill>
                <a:schemeClr val="accent1"/>
              </a:solidFill>
              <a:latin typeface="Arial" pitchFamily="34" charset="0"/>
              <a:ea typeface="Arial" pitchFamily="-105" charset="-52"/>
              <a:cs typeface="Arial" pitchFamily="34" charset="0"/>
            </a:endParaRPr>
          </a:p>
        </p:txBody>
      </p:sp>
      <p:sp>
        <p:nvSpPr>
          <p:cNvPr id="22" name="TextBox 21"/>
          <p:cNvSpPr txBox="1"/>
          <p:nvPr/>
        </p:nvSpPr>
        <p:spPr>
          <a:xfrm>
            <a:off x="7162067" y="5544396"/>
            <a:ext cx="1754746" cy="600164"/>
          </a:xfrm>
          <a:prstGeom prst="rect">
            <a:avLst/>
          </a:prstGeom>
          <a:noFill/>
        </p:spPr>
        <p:txBody>
          <a:bodyPr wrap="square" rtlCol="0">
            <a:spAutoFit/>
          </a:bodyPr>
          <a:lstStyle/>
          <a:p>
            <a:r>
              <a:rPr lang="es-ES_tradnl" sz="1100" dirty="0" smtClean="0">
                <a:solidFill>
                  <a:schemeClr val="accent1"/>
                </a:solidFill>
                <a:latin typeface="Arial" pitchFamily="34" charset="0"/>
                <a:ea typeface="Arial" pitchFamily="-105" charset="-52"/>
                <a:cs typeface="Arial" pitchFamily="34" charset="0"/>
              </a:rPr>
              <a:t>Segundo Tramo: Ciclos combinados eficientes y térmicas de carbón</a:t>
            </a:r>
            <a:endParaRPr lang="es-ES" sz="1100" dirty="0">
              <a:solidFill>
                <a:schemeClr val="accent1"/>
              </a:solidFill>
              <a:latin typeface="Arial" pitchFamily="34" charset="0"/>
              <a:ea typeface="Arial" pitchFamily="-105" charset="-52"/>
              <a:cs typeface="Arial" pitchFamily="34" charset="0"/>
            </a:endParaRPr>
          </a:p>
        </p:txBody>
      </p:sp>
      <p:sp>
        <p:nvSpPr>
          <p:cNvPr id="23" name="TextBox 22"/>
          <p:cNvSpPr txBox="1"/>
          <p:nvPr/>
        </p:nvSpPr>
        <p:spPr>
          <a:xfrm>
            <a:off x="222237" y="5526616"/>
            <a:ext cx="1754746" cy="938719"/>
          </a:xfrm>
          <a:prstGeom prst="rect">
            <a:avLst/>
          </a:prstGeom>
          <a:noFill/>
        </p:spPr>
        <p:txBody>
          <a:bodyPr wrap="square" rtlCol="0">
            <a:spAutoFit/>
          </a:bodyPr>
          <a:lstStyle/>
          <a:p>
            <a:r>
              <a:rPr lang="es-ES_tradnl" sz="1100" dirty="0" smtClean="0">
                <a:solidFill>
                  <a:schemeClr val="accent1"/>
                </a:solidFill>
                <a:latin typeface="Arial" pitchFamily="34" charset="0"/>
                <a:ea typeface="Arial" pitchFamily="-105" charset="-52"/>
                <a:cs typeface="Arial" pitchFamily="34" charset="0"/>
              </a:rPr>
              <a:t>Precio instrumental 0: Ofertas de venta siempre casadas (eólicas, nucleares, hídricas fluyentes…)</a:t>
            </a:r>
            <a:endParaRPr lang="es-ES" sz="1100" dirty="0">
              <a:solidFill>
                <a:schemeClr val="accent1"/>
              </a:solidFill>
              <a:latin typeface="Arial" pitchFamily="34" charset="0"/>
              <a:ea typeface="Arial" pitchFamily="-105" charset="-52"/>
              <a:cs typeface="Arial" pitchFamily="34" charset="0"/>
            </a:endParaRPr>
          </a:p>
        </p:txBody>
      </p:sp>
      <p:cxnSp>
        <p:nvCxnSpPr>
          <p:cNvPr id="24" name="Curved Connector 23"/>
          <p:cNvCxnSpPr>
            <a:stCxn id="21" idx="1"/>
          </p:cNvCxnSpPr>
          <p:nvPr/>
        </p:nvCxnSpPr>
        <p:spPr>
          <a:xfrm rot="10800000" flipV="1">
            <a:off x="6063175" y="3816414"/>
            <a:ext cx="1098892" cy="795541"/>
          </a:xfrm>
          <a:prstGeom prst="curvedConnector3">
            <a:avLst/>
          </a:prstGeom>
          <a:ln w="9525">
            <a:solidFill>
              <a:srgbClr val="408FCD"/>
            </a:solidFill>
            <a:tailEnd type="arrow"/>
          </a:ln>
        </p:spPr>
        <p:style>
          <a:lnRef idx="1">
            <a:schemeClr val="accent4"/>
          </a:lnRef>
          <a:fillRef idx="0">
            <a:schemeClr val="accent4"/>
          </a:fillRef>
          <a:effectRef idx="0">
            <a:schemeClr val="accent4"/>
          </a:effectRef>
          <a:fontRef idx="minor">
            <a:schemeClr val="tx1"/>
          </a:fontRef>
        </p:style>
      </p:cxnSp>
      <p:cxnSp>
        <p:nvCxnSpPr>
          <p:cNvPr id="26" name="Curved Connector 25"/>
          <p:cNvCxnSpPr>
            <a:stCxn id="22" idx="1"/>
          </p:cNvCxnSpPr>
          <p:nvPr/>
        </p:nvCxnSpPr>
        <p:spPr>
          <a:xfrm rot="10800000">
            <a:off x="5164465" y="5544396"/>
            <a:ext cx="1997603" cy="300082"/>
          </a:xfrm>
          <a:prstGeom prst="curvedConnector3">
            <a:avLst/>
          </a:prstGeom>
          <a:ln w="9525">
            <a:solidFill>
              <a:srgbClr val="408FCD"/>
            </a:solidFill>
            <a:tailEnd type="arrow"/>
          </a:ln>
        </p:spPr>
        <p:style>
          <a:lnRef idx="1">
            <a:schemeClr val="accent4"/>
          </a:lnRef>
          <a:fillRef idx="0">
            <a:schemeClr val="accent4"/>
          </a:fillRef>
          <a:effectRef idx="0">
            <a:schemeClr val="accent4"/>
          </a:effectRef>
          <a:fontRef idx="minor">
            <a:schemeClr val="tx1"/>
          </a:fontRef>
        </p:style>
      </p:cxnSp>
      <p:sp>
        <p:nvSpPr>
          <p:cNvPr id="31" name="TextBox 30"/>
          <p:cNvSpPr txBox="1"/>
          <p:nvPr/>
        </p:nvSpPr>
        <p:spPr>
          <a:xfrm>
            <a:off x="7160630" y="4339549"/>
            <a:ext cx="1754746" cy="1107996"/>
          </a:xfrm>
          <a:prstGeom prst="rect">
            <a:avLst/>
          </a:prstGeom>
          <a:noFill/>
        </p:spPr>
        <p:txBody>
          <a:bodyPr wrap="square" rtlCol="0">
            <a:spAutoFit/>
          </a:bodyPr>
          <a:lstStyle/>
          <a:p>
            <a:r>
              <a:rPr lang="es-ES_tradnl" sz="1100" b="1" dirty="0" smtClean="0">
                <a:solidFill>
                  <a:schemeClr val="accent1"/>
                </a:solidFill>
                <a:latin typeface="Arial" pitchFamily="34" charset="0"/>
                <a:ea typeface="Arial" pitchFamily="-105" charset="-52"/>
                <a:cs typeface="Arial" pitchFamily="34" charset="0"/>
              </a:rPr>
              <a:t>Precio </a:t>
            </a:r>
            <a:r>
              <a:rPr lang="es-ES_tradnl" sz="1100" b="1" dirty="0" err="1" smtClean="0">
                <a:solidFill>
                  <a:schemeClr val="accent1"/>
                </a:solidFill>
                <a:latin typeface="Arial" pitchFamily="34" charset="0"/>
                <a:ea typeface="Arial" pitchFamily="-105" charset="-52"/>
                <a:cs typeface="Arial" pitchFamily="34" charset="0"/>
              </a:rPr>
              <a:t>marginalista</a:t>
            </a:r>
            <a:r>
              <a:rPr lang="es-ES_tradnl" sz="1100" b="1" dirty="0" smtClean="0">
                <a:solidFill>
                  <a:schemeClr val="accent1"/>
                </a:solidFill>
                <a:latin typeface="Arial" pitchFamily="34" charset="0"/>
                <a:ea typeface="Arial" pitchFamily="-105" charset="-52"/>
                <a:cs typeface="Arial" pitchFamily="34" charset="0"/>
              </a:rPr>
              <a:t> de casación:</a:t>
            </a:r>
          </a:p>
          <a:p>
            <a:r>
              <a:rPr lang="es-ES_tradnl" sz="1100" b="1" dirty="0" smtClean="0">
                <a:solidFill>
                  <a:schemeClr val="accent1"/>
                </a:solidFill>
                <a:latin typeface="Arial" pitchFamily="34" charset="0"/>
                <a:ea typeface="Arial" pitchFamily="-105" charset="-52"/>
                <a:cs typeface="Arial" pitchFamily="34" charset="0"/>
              </a:rPr>
              <a:t>El precio horario será igual al precio de la última oferta de venta casada</a:t>
            </a:r>
            <a:endParaRPr lang="es-ES" sz="1100" b="1" dirty="0">
              <a:solidFill>
                <a:schemeClr val="accent1"/>
              </a:solidFill>
              <a:latin typeface="Arial" pitchFamily="34" charset="0"/>
              <a:ea typeface="Arial" pitchFamily="-105" charset="-52"/>
              <a:cs typeface="Arial" pitchFamily="34" charset="0"/>
            </a:endParaRPr>
          </a:p>
        </p:txBody>
      </p:sp>
      <p:cxnSp>
        <p:nvCxnSpPr>
          <p:cNvPr id="1024" name="Curved Connector 1023"/>
          <p:cNvCxnSpPr>
            <a:stCxn id="31" idx="1"/>
          </p:cNvCxnSpPr>
          <p:nvPr/>
        </p:nvCxnSpPr>
        <p:spPr>
          <a:xfrm rot="10800000" flipV="1">
            <a:off x="5467370" y="4893547"/>
            <a:ext cx="1693260" cy="401964"/>
          </a:xfrm>
          <a:prstGeom prst="curvedConnector3">
            <a:avLst/>
          </a:prstGeom>
          <a:ln w="9525">
            <a:solidFill>
              <a:srgbClr val="408FCD"/>
            </a:solidFill>
            <a:tailEnd type="arrow"/>
          </a:ln>
        </p:spPr>
        <p:style>
          <a:lnRef idx="1">
            <a:schemeClr val="accent4"/>
          </a:lnRef>
          <a:fillRef idx="0">
            <a:schemeClr val="accent4"/>
          </a:fillRef>
          <a:effectRef idx="0">
            <a:schemeClr val="accent4"/>
          </a:effectRef>
          <a:fontRef idx="minor">
            <a:schemeClr val="tx1"/>
          </a:fontRef>
        </p:style>
      </p:cxnSp>
      <p:cxnSp>
        <p:nvCxnSpPr>
          <p:cNvPr id="1030" name="Curved Connector 1029"/>
          <p:cNvCxnSpPr>
            <a:stCxn id="23" idx="3"/>
          </p:cNvCxnSpPr>
          <p:nvPr/>
        </p:nvCxnSpPr>
        <p:spPr>
          <a:xfrm flipV="1">
            <a:off x="1976983" y="5689731"/>
            <a:ext cx="699191" cy="306245"/>
          </a:xfrm>
          <a:prstGeom prst="curvedConnector3">
            <a:avLst/>
          </a:prstGeom>
          <a:ln w="9525">
            <a:solidFill>
              <a:srgbClr val="408FCD"/>
            </a:solidFill>
            <a:tailEnd type="arrow"/>
          </a:ln>
        </p:spPr>
        <p:style>
          <a:lnRef idx="1">
            <a:schemeClr val="accent4"/>
          </a:lnRef>
          <a:fillRef idx="0">
            <a:schemeClr val="accent4"/>
          </a:fillRef>
          <a:effectRef idx="0">
            <a:schemeClr val="accent4"/>
          </a:effectRef>
          <a:fontRef idx="minor">
            <a:schemeClr val="tx1"/>
          </a:fontRef>
        </p:style>
      </p:cxnSp>
      <p:sp>
        <p:nvSpPr>
          <p:cNvPr id="1032" name="Down Arrow 1031"/>
          <p:cNvSpPr/>
          <p:nvPr/>
        </p:nvSpPr>
        <p:spPr>
          <a:xfrm>
            <a:off x="4396562" y="2701142"/>
            <a:ext cx="345977" cy="260143"/>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Text Box 15"/>
          <p:cNvSpPr txBox="1">
            <a:spLocks noChangeArrowheads="1"/>
          </p:cNvSpPr>
          <p:nvPr/>
        </p:nvSpPr>
        <p:spPr bwMode="gray">
          <a:xfrm>
            <a:off x="239525" y="1200805"/>
            <a:ext cx="4146929" cy="288000"/>
          </a:xfrm>
          <a:prstGeom prst="roundRect">
            <a:avLst>
              <a:gd name="adj" fmla="val 10832"/>
            </a:avLst>
          </a:prstGeom>
          <a:solidFill>
            <a:srgbClr val="99BEBE"/>
          </a:solidFill>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accent1"/>
                </a:solidFill>
                <a:latin typeface="+mj-lt"/>
              </a:rPr>
              <a:t>PRESENTACIÓN OFERTAS VENTA</a:t>
            </a:r>
          </a:p>
        </p:txBody>
      </p:sp>
      <p:sp>
        <p:nvSpPr>
          <p:cNvPr id="44" name="Text Box 15"/>
          <p:cNvSpPr txBox="1">
            <a:spLocks noChangeArrowheads="1"/>
          </p:cNvSpPr>
          <p:nvPr/>
        </p:nvSpPr>
        <p:spPr bwMode="gray">
          <a:xfrm>
            <a:off x="4752596" y="1200805"/>
            <a:ext cx="4146929" cy="288000"/>
          </a:xfrm>
          <a:prstGeom prst="roundRect">
            <a:avLst>
              <a:gd name="adj" fmla="val 10832"/>
            </a:avLst>
          </a:prstGeom>
          <a:solidFill>
            <a:srgbClr val="99BEBE"/>
          </a:solidFill>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accent1"/>
                </a:solidFill>
                <a:latin typeface="+mj-lt"/>
              </a:rPr>
              <a:t>PRESENTACIÓN OFERTAS ADQUISICIÓN</a:t>
            </a:r>
          </a:p>
        </p:txBody>
      </p:sp>
      <p:cxnSp>
        <p:nvCxnSpPr>
          <p:cNvPr id="29" name="Curved Connector 28"/>
          <p:cNvCxnSpPr>
            <a:stCxn id="17" idx="3"/>
          </p:cNvCxnSpPr>
          <p:nvPr/>
        </p:nvCxnSpPr>
        <p:spPr>
          <a:xfrm flipV="1">
            <a:off x="1976983" y="4526072"/>
            <a:ext cx="3101429" cy="469359"/>
          </a:xfrm>
          <a:prstGeom prst="curvedConnector3">
            <a:avLst/>
          </a:prstGeom>
          <a:ln w="9525">
            <a:solidFill>
              <a:srgbClr val="408FCD"/>
            </a:solidFill>
            <a:tailEnd type="arrow"/>
          </a:ln>
        </p:spPr>
        <p:style>
          <a:lnRef idx="1">
            <a:schemeClr val="accent4"/>
          </a:lnRef>
          <a:fillRef idx="0">
            <a:schemeClr val="accent4"/>
          </a:fillRef>
          <a:effectRef idx="0">
            <a:schemeClr val="accent4"/>
          </a:effectRef>
          <a:fontRef idx="minor">
            <a:schemeClr val="tx1"/>
          </a:fontRef>
        </p:style>
      </p:cxnSp>
      <p:sp>
        <p:nvSpPr>
          <p:cNvPr id="50" name="Text Box 15"/>
          <p:cNvSpPr txBox="1">
            <a:spLocks noChangeArrowheads="1"/>
          </p:cNvSpPr>
          <p:nvPr/>
        </p:nvSpPr>
        <p:spPr bwMode="gray">
          <a:xfrm>
            <a:off x="2676174" y="3080823"/>
            <a:ext cx="3764437" cy="424638"/>
          </a:xfrm>
          <a:prstGeom prst="roundRect">
            <a:avLst>
              <a:gd name="adj" fmla="val 10832"/>
            </a:avLst>
          </a:prstGeom>
          <a:solidFill>
            <a:schemeClr val="accent4">
              <a:lumMod val="50000"/>
            </a:schemeClr>
          </a:solidFill>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bg1"/>
                </a:solidFill>
                <a:latin typeface="+mj-lt"/>
              </a:rPr>
              <a:t>CASACIÓN</a:t>
            </a:r>
            <a:endParaRPr lang="es-ES_tradnl" sz="1400" dirty="0">
              <a:solidFill>
                <a:schemeClr val="bg1"/>
              </a:solidFill>
              <a:latin typeface="+mj-lt"/>
            </a:endParaRPr>
          </a:p>
        </p:txBody>
      </p:sp>
      <p:sp>
        <p:nvSpPr>
          <p:cNvPr id="35" name="TextBox 34"/>
          <p:cNvSpPr txBox="1"/>
          <p:nvPr/>
        </p:nvSpPr>
        <p:spPr>
          <a:xfrm>
            <a:off x="2549562" y="6366859"/>
            <a:ext cx="4443689" cy="261610"/>
          </a:xfrm>
          <a:prstGeom prst="rect">
            <a:avLst/>
          </a:prstGeom>
          <a:noFill/>
        </p:spPr>
        <p:txBody>
          <a:bodyPr wrap="square" rtlCol="0">
            <a:spAutoFit/>
          </a:bodyPr>
          <a:lstStyle/>
          <a:p>
            <a:r>
              <a:rPr lang="es-ES_tradnl" sz="1100" b="1" i="1" dirty="0" smtClean="0">
                <a:solidFill>
                  <a:schemeClr val="accent1"/>
                </a:solidFill>
                <a:latin typeface="Arial" pitchFamily="34" charset="0"/>
                <a:ea typeface="Arial" pitchFamily="-105" charset="-52"/>
                <a:cs typeface="Arial" pitchFamily="34" charset="0"/>
              </a:rPr>
              <a:t>Curvas agregadas de venta y adquisición para una hora del día</a:t>
            </a:r>
            <a:endParaRPr lang="es-ES" sz="1100" b="1" i="1" dirty="0">
              <a:solidFill>
                <a:schemeClr val="accent1"/>
              </a:solidFill>
              <a:latin typeface="Arial" pitchFamily="34" charset="0"/>
              <a:ea typeface="Arial" pitchFamily="-105" charset="-52"/>
              <a:cs typeface="Arial" pitchFamily="34" charset="0"/>
            </a:endParaRPr>
          </a:p>
        </p:txBody>
      </p:sp>
      <p:sp>
        <p:nvSpPr>
          <p:cNvPr id="38" name="Title 1"/>
          <p:cNvSpPr>
            <a:spLocks noGrp="1"/>
          </p:cNvSpPr>
          <p:nvPr>
            <p:ph type="title"/>
          </p:nvPr>
        </p:nvSpPr>
        <p:spPr>
          <a:xfrm>
            <a:off x="447330" y="113919"/>
            <a:ext cx="8229600" cy="783654"/>
          </a:xfrm>
        </p:spPr>
        <p:txBody>
          <a:bodyPr/>
          <a:lstStyle/>
          <a:p>
            <a:r>
              <a:rPr lang="es-ES_tradnl" dirty="0" smtClean="0"/>
              <a:t>Mercado Mayorista de compra – venta de energía</a:t>
            </a:r>
            <a:br>
              <a:rPr lang="es-ES_tradnl" dirty="0" smtClean="0"/>
            </a:br>
            <a:r>
              <a:rPr lang="es-ES_tradnl" b="1" dirty="0" smtClean="0"/>
              <a:t>Casación de ofertas</a:t>
            </a:r>
            <a:endParaRPr lang="es-ES_tradnl" b="1" dirty="0"/>
          </a:p>
        </p:txBody>
      </p:sp>
    </p:spTree>
    <p:extLst>
      <p:ext uri="{BB962C8B-B14F-4D97-AF65-F5344CB8AC3E}">
        <p14:creationId xmlns:p14="http://schemas.microsoft.com/office/powerpoint/2010/main" val="15527019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Box 15"/>
          <p:cNvSpPr txBox="1">
            <a:spLocks noChangeArrowheads="1"/>
          </p:cNvSpPr>
          <p:nvPr/>
        </p:nvSpPr>
        <p:spPr bwMode="gray">
          <a:xfrm>
            <a:off x="988849" y="3412683"/>
            <a:ext cx="7525421" cy="2492454"/>
          </a:xfrm>
          <a:prstGeom prst="roundRect">
            <a:avLst>
              <a:gd name="adj" fmla="val 10832"/>
            </a:avLst>
          </a:prstGeom>
          <a:noFill/>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endParaRPr lang="es-ES_tradnl" dirty="0" smtClean="0">
              <a:solidFill>
                <a:schemeClr val="accent1"/>
              </a:solidFill>
              <a:latin typeface="+mj-lt"/>
            </a:endParaRPr>
          </a:p>
        </p:txBody>
      </p:sp>
      <p:sp>
        <p:nvSpPr>
          <p:cNvPr id="27" name="Text Box 15"/>
          <p:cNvSpPr txBox="1">
            <a:spLocks noChangeArrowheads="1"/>
          </p:cNvSpPr>
          <p:nvPr/>
        </p:nvSpPr>
        <p:spPr bwMode="gray">
          <a:xfrm>
            <a:off x="988849" y="1141305"/>
            <a:ext cx="7525421" cy="1399695"/>
          </a:xfrm>
          <a:prstGeom prst="roundRect">
            <a:avLst>
              <a:gd name="adj" fmla="val 10832"/>
            </a:avLst>
          </a:prstGeom>
          <a:noFill/>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endParaRPr lang="es-ES_tradnl" dirty="0" smtClean="0">
              <a:solidFill>
                <a:schemeClr val="accent1"/>
              </a:solidFill>
              <a:latin typeface="+mj-lt"/>
            </a:endParaRPr>
          </a:p>
        </p:txBody>
      </p:sp>
      <p:sp>
        <p:nvSpPr>
          <p:cNvPr id="5" name="Slide Number Placeholder 4"/>
          <p:cNvSpPr>
            <a:spLocks noGrp="1"/>
          </p:cNvSpPr>
          <p:nvPr>
            <p:ph type="sldNum" sz="quarter" idx="4"/>
          </p:nvPr>
        </p:nvSpPr>
        <p:spPr/>
        <p:txBody>
          <a:bodyPr/>
          <a:lstStyle/>
          <a:p>
            <a:pPr>
              <a:defRPr/>
            </a:pPr>
            <a:fld id="{90CBDC3A-D49F-4631-A8C7-55D59B33E5FA}" type="slidenum">
              <a:rPr lang="en-US" smtClean="0"/>
              <a:pPr>
                <a:defRPr/>
              </a:pPr>
              <a:t>11</a:t>
            </a:fld>
            <a:endParaRPr lang="en-US" dirty="0"/>
          </a:p>
        </p:txBody>
      </p:sp>
      <p:sp>
        <p:nvSpPr>
          <p:cNvPr id="30" name="Text Box 15"/>
          <p:cNvSpPr txBox="1">
            <a:spLocks noChangeArrowheads="1"/>
          </p:cNvSpPr>
          <p:nvPr/>
        </p:nvSpPr>
        <p:spPr bwMode="gray">
          <a:xfrm>
            <a:off x="1101393" y="4247328"/>
            <a:ext cx="3277853" cy="1584000"/>
          </a:xfrm>
          <a:prstGeom prst="roundRect">
            <a:avLst>
              <a:gd name="adj" fmla="val 0"/>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0" anchor="ctr">
            <a:noAutofit/>
          </a:bodyPr>
          <a:lstStyle>
            <a:defPPr>
              <a:defRPr lang="en-US"/>
            </a:defPPr>
            <a:lvl1pPr algn="ctr">
              <a:spcBef>
                <a:spcPct val="50000"/>
              </a:spcBef>
              <a:defRPr sz="1200" b="1"/>
            </a:lvl1pPr>
          </a:lstStyle>
          <a:p>
            <a:pPr marL="171450" indent="-171450" algn="l">
              <a:buFont typeface="Arial" pitchFamily="34" charset="0"/>
              <a:buChar char="•"/>
            </a:pPr>
            <a:r>
              <a:rPr lang="es-ES_tradnl" sz="1100" b="0" dirty="0">
                <a:solidFill>
                  <a:schemeClr val="accent1"/>
                </a:solidFill>
                <a:latin typeface="+mj-lt"/>
              </a:rPr>
              <a:t>Viabilidad técnica de la </a:t>
            </a:r>
            <a:r>
              <a:rPr lang="es-ES_tradnl" sz="1100" b="0" dirty="0" smtClean="0">
                <a:solidFill>
                  <a:schemeClr val="accent1"/>
                </a:solidFill>
                <a:latin typeface="+mj-lt"/>
              </a:rPr>
              <a:t>casación</a:t>
            </a:r>
          </a:p>
          <a:p>
            <a:pPr marL="171450" indent="-171450" algn="l">
              <a:buFont typeface="Arial" pitchFamily="34" charset="0"/>
              <a:buChar char="•"/>
            </a:pPr>
            <a:r>
              <a:rPr lang="es-ES_tradnl" sz="1100" b="0" dirty="0" smtClean="0">
                <a:solidFill>
                  <a:schemeClr val="accent1"/>
                </a:solidFill>
                <a:latin typeface="+mj-lt"/>
              </a:rPr>
              <a:t>Análisis de las restricciones de la red de transporte mediante simulaciones del estado de la red en base al PDB</a:t>
            </a:r>
            <a:endParaRPr lang="es-ES_tradnl" sz="1100" b="0" dirty="0">
              <a:solidFill>
                <a:schemeClr val="accent1"/>
              </a:solidFill>
              <a:latin typeface="+mj-lt"/>
            </a:endParaRPr>
          </a:p>
          <a:p>
            <a:pPr marL="171450" indent="-171450" algn="l">
              <a:buFont typeface="Arial" pitchFamily="34" charset="0"/>
              <a:buChar char="•"/>
            </a:pPr>
            <a:r>
              <a:rPr lang="es-ES_tradnl" sz="1100" b="0" dirty="0">
                <a:solidFill>
                  <a:schemeClr val="accent1"/>
                </a:solidFill>
                <a:latin typeface="+mj-lt"/>
              </a:rPr>
              <a:t>Modificación de la generación para satisfacer la </a:t>
            </a:r>
            <a:r>
              <a:rPr lang="es-ES_tradnl" sz="1100" b="0" dirty="0" smtClean="0">
                <a:solidFill>
                  <a:schemeClr val="accent1"/>
                </a:solidFill>
                <a:latin typeface="+mj-lt"/>
              </a:rPr>
              <a:t>demanda</a:t>
            </a:r>
            <a:endParaRPr lang="es-ES_tradnl" sz="1100" b="0" dirty="0">
              <a:solidFill>
                <a:schemeClr val="accent1"/>
              </a:solidFill>
              <a:latin typeface="+mj-lt"/>
            </a:endParaRPr>
          </a:p>
        </p:txBody>
      </p:sp>
      <p:sp>
        <p:nvSpPr>
          <p:cNvPr id="36" name="Text Box 15"/>
          <p:cNvSpPr txBox="1">
            <a:spLocks noChangeArrowheads="1"/>
          </p:cNvSpPr>
          <p:nvPr/>
        </p:nvSpPr>
        <p:spPr bwMode="gray">
          <a:xfrm>
            <a:off x="4962581" y="4247328"/>
            <a:ext cx="3277853" cy="1584000"/>
          </a:xfrm>
          <a:prstGeom prst="roundRect">
            <a:avLst>
              <a:gd name="adj" fmla="val 0"/>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0" anchor="ctr">
            <a:noAutofit/>
          </a:bodyPr>
          <a:lstStyle>
            <a:defPPr>
              <a:defRPr lang="en-US"/>
            </a:defPPr>
            <a:lvl1pPr algn="ctr">
              <a:spcBef>
                <a:spcPct val="50000"/>
              </a:spcBef>
              <a:defRPr sz="1200" b="1"/>
            </a:lvl1pPr>
          </a:lstStyle>
          <a:p>
            <a:pPr marL="171450" indent="-171450" algn="l">
              <a:buFont typeface="Arial" pitchFamily="34" charset="0"/>
              <a:buChar char="•"/>
            </a:pPr>
            <a:r>
              <a:rPr lang="es-ES_tradnl" sz="1100" dirty="0" smtClean="0">
                <a:solidFill>
                  <a:schemeClr val="accent1"/>
                </a:solidFill>
                <a:latin typeface="+mj-lt"/>
              </a:rPr>
              <a:t>Reserva de potencia </a:t>
            </a:r>
            <a:r>
              <a:rPr lang="es-ES_tradnl" sz="1100" b="0" dirty="0" smtClean="0">
                <a:solidFill>
                  <a:schemeClr val="accent1"/>
                </a:solidFill>
                <a:latin typeface="+mj-lt"/>
              </a:rPr>
              <a:t>(oferta obligatoria). Contratación de excedente de capacidad</a:t>
            </a:r>
            <a:endParaRPr lang="es-ES_tradnl" sz="1100" b="0" dirty="0">
              <a:solidFill>
                <a:schemeClr val="accent1"/>
              </a:solidFill>
              <a:latin typeface="+mj-lt"/>
            </a:endParaRPr>
          </a:p>
          <a:p>
            <a:pPr marL="171450" indent="-171450" algn="l">
              <a:buFont typeface="Arial" pitchFamily="34" charset="0"/>
              <a:buChar char="•"/>
            </a:pPr>
            <a:r>
              <a:rPr lang="es-ES_tradnl" sz="1100" dirty="0">
                <a:solidFill>
                  <a:schemeClr val="accent1"/>
                </a:solidFill>
                <a:latin typeface="+mj-lt"/>
              </a:rPr>
              <a:t>Regulación </a:t>
            </a:r>
            <a:r>
              <a:rPr lang="es-ES_tradnl" sz="1100" dirty="0" smtClean="0">
                <a:solidFill>
                  <a:schemeClr val="accent1"/>
                </a:solidFill>
                <a:latin typeface="+mj-lt"/>
              </a:rPr>
              <a:t>secundaria </a:t>
            </a:r>
            <a:r>
              <a:rPr lang="es-ES_tradnl" sz="1100" b="0" dirty="0" smtClean="0">
                <a:solidFill>
                  <a:schemeClr val="accent1"/>
                </a:solidFill>
                <a:latin typeface="+mj-lt"/>
              </a:rPr>
              <a:t>o banda de regulación (oferta voluntaria). Subastas de la capacidad disponible. Remuneración por MW y MWh</a:t>
            </a:r>
            <a:endParaRPr lang="es-ES_tradnl" sz="1700" b="0" dirty="0">
              <a:solidFill>
                <a:schemeClr val="accent1"/>
              </a:solidFill>
              <a:latin typeface="+mj-lt"/>
            </a:endParaRPr>
          </a:p>
          <a:p>
            <a:pPr marL="171450" indent="-171450" algn="l">
              <a:buFont typeface="Arial" pitchFamily="34" charset="0"/>
              <a:buChar char="•"/>
            </a:pPr>
            <a:r>
              <a:rPr lang="es-ES_tradnl" sz="1100" dirty="0">
                <a:solidFill>
                  <a:schemeClr val="accent1"/>
                </a:solidFill>
                <a:latin typeface="+mj-lt"/>
              </a:rPr>
              <a:t>Regulación terciaria </a:t>
            </a:r>
            <a:r>
              <a:rPr lang="es-ES_tradnl" sz="1100" b="0" dirty="0" smtClean="0">
                <a:solidFill>
                  <a:schemeClr val="accent1"/>
                </a:solidFill>
                <a:latin typeface="+mj-lt"/>
              </a:rPr>
              <a:t>(obligatoria para aquellos productores que puedan variar la producción en 15’). Remuneración sólo por MWh</a:t>
            </a:r>
            <a:endParaRPr lang="es-ES_tradnl" sz="1100" b="0" dirty="0">
              <a:solidFill>
                <a:schemeClr val="accent1"/>
              </a:solidFill>
              <a:latin typeface="+mj-lt"/>
            </a:endParaRPr>
          </a:p>
        </p:txBody>
      </p:sp>
      <p:sp>
        <p:nvSpPr>
          <p:cNvPr id="25" name="Text Box 15"/>
          <p:cNvSpPr txBox="1">
            <a:spLocks noChangeArrowheads="1"/>
          </p:cNvSpPr>
          <p:nvPr/>
        </p:nvSpPr>
        <p:spPr bwMode="gray">
          <a:xfrm>
            <a:off x="5302202" y="1816733"/>
            <a:ext cx="1431250" cy="491441"/>
          </a:xfrm>
          <a:prstGeom prst="roundRect">
            <a:avLst>
              <a:gd name="adj" fmla="val 10832"/>
            </a:avLst>
          </a:prstGeom>
          <a:ln>
            <a:headEnd/>
            <a:tailEnd/>
          </a:ln>
        </p:spPr>
        <p:style>
          <a:lnRef idx="1">
            <a:schemeClr val="accent5"/>
          </a:lnRef>
          <a:fillRef idx="2">
            <a:schemeClr val="accent5"/>
          </a:fillRef>
          <a:effectRef idx="1">
            <a:schemeClr val="accent5"/>
          </a:effectRef>
          <a:fontRef idx="minor">
            <a:schemeClr val="dk1"/>
          </a:fontRef>
        </p:style>
        <p:txBody>
          <a:bodyPr wrap="square" lIns="36000" tIns="36000" rIns="36000" bIns="0" anchor="ctr">
            <a:noAutofit/>
          </a:bodyPr>
          <a:lstStyle>
            <a:defPPr>
              <a:defRPr lang="en-US"/>
            </a:defPPr>
            <a:lvl1pPr algn="ctr">
              <a:spcBef>
                <a:spcPct val="50000"/>
              </a:spcBef>
              <a:defRPr sz="1200" b="1"/>
            </a:lvl1pPr>
          </a:lstStyle>
          <a:p>
            <a:pPr>
              <a:spcBef>
                <a:spcPts val="1000"/>
              </a:spcBef>
            </a:pPr>
            <a:r>
              <a:rPr lang="es-ES_tradnl" dirty="0" smtClean="0">
                <a:solidFill>
                  <a:schemeClr val="accent1"/>
                </a:solidFill>
                <a:latin typeface="+mj-lt"/>
              </a:rPr>
              <a:t>Interconexiones</a:t>
            </a:r>
          </a:p>
        </p:txBody>
      </p:sp>
      <p:sp>
        <p:nvSpPr>
          <p:cNvPr id="24" name="Text Box 15"/>
          <p:cNvSpPr txBox="1">
            <a:spLocks noChangeArrowheads="1"/>
          </p:cNvSpPr>
          <p:nvPr/>
        </p:nvSpPr>
        <p:spPr bwMode="gray">
          <a:xfrm>
            <a:off x="2489985" y="1816733"/>
            <a:ext cx="1431250" cy="491441"/>
          </a:xfrm>
          <a:prstGeom prst="roundRect">
            <a:avLst>
              <a:gd name="adj" fmla="val 10832"/>
            </a:avLst>
          </a:prstGeom>
          <a:ln>
            <a:headEnd/>
            <a:tailEnd/>
          </a:ln>
        </p:spPr>
        <p:style>
          <a:lnRef idx="1">
            <a:schemeClr val="accent5"/>
          </a:lnRef>
          <a:fillRef idx="2">
            <a:schemeClr val="accent5"/>
          </a:fillRef>
          <a:effectRef idx="1">
            <a:schemeClr val="accent5"/>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dirty="0" smtClean="0">
                <a:solidFill>
                  <a:schemeClr val="accent1"/>
                </a:solidFill>
                <a:latin typeface="+mj-lt"/>
              </a:rPr>
              <a:t>Contratos bilaterales</a:t>
            </a:r>
            <a:endParaRPr lang="es-ES_tradnl" dirty="0">
              <a:solidFill>
                <a:schemeClr val="accent1"/>
              </a:solidFill>
              <a:latin typeface="+mj-lt"/>
            </a:endParaRPr>
          </a:p>
        </p:txBody>
      </p:sp>
      <p:sp>
        <p:nvSpPr>
          <p:cNvPr id="11" name="Text Box 15"/>
          <p:cNvSpPr txBox="1">
            <a:spLocks noChangeArrowheads="1"/>
          </p:cNvSpPr>
          <p:nvPr/>
        </p:nvSpPr>
        <p:spPr bwMode="gray">
          <a:xfrm>
            <a:off x="2489985" y="1289303"/>
            <a:ext cx="4243466" cy="412889"/>
          </a:xfrm>
          <a:prstGeom prst="roundRect">
            <a:avLst>
              <a:gd name="adj" fmla="val 10832"/>
            </a:avLst>
          </a:prstGeom>
          <a:ln>
            <a:headEnd/>
            <a:tailEnd/>
          </a:ln>
        </p:spPr>
        <p:style>
          <a:lnRef idx="1">
            <a:schemeClr val="accent1"/>
          </a:lnRef>
          <a:fillRef idx="3">
            <a:schemeClr val="accent1"/>
          </a:fillRef>
          <a:effectRef idx="2">
            <a:schemeClr val="accent1"/>
          </a:effectRef>
          <a:fontRef idx="minor">
            <a:schemeClr val="lt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dirty="0" smtClean="0">
                <a:solidFill>
                  <a:schemeClr val="bg1"/>
                </a:solidFill>
                <a:latin typeface="+mj-lt"/>
              </a:rPr>
              <a:t>CASACIÓN</a:t>
            </a:r>
            <a:endParaRPr lang="es-ES_tradnl" dirty="0">
              <a:solidFill>
                <a:schemeClr val="bg1"/>
              </a:solidFill>
              <a:latin typeface="+mj-lt"/>
            </a:endParaRPr>
          </a:p>
        </p:txBody>
      </p:sp>
      <p:sp>
        <p:nvSpPr>
          <p:cNvPr id="29" name="Text Box 15"/>
          <p:cNvSpPr txBox="1">
            <a:spLocks noChangeArrowheads="1"/>
          </p:cNvSpPr>
          <p:nvPr/>
        </p:nvSpPr>
        <p:spPr bwMode="gray">
          <a:xfrm>
            <a:off x="1101393" y="3947856"/>
            <a:ext cx="3277853" cy="324000"/>
          </a:xfrm>
          <a:prstGeom prst="roundRect">
            <a:avLst>
              <a:gd name="adj" fmla="val 0"/>
            </a:avLst>
          </a:prstGeom>
          <a:solidFill>
            <a:srgbClr val="E0E0E0"/>
          </a:solidFill>
          <a:ln>
            <a:headEnd/>
            <a:tailEnd/>
          </a:ln>
          <a:effectLst/>
        </p:spPr>
        <p:style>
          <a:lnRef idx="1">
            <a:schemeClr val="accent5"/>
          </a:lnRef>
          <a:fillRef idx="2">
            <a:schemeClr val="accent5"/>
          </a:fillRef>
          <a:effectRef idx="1">
            <a:schemeClr val="accent5"/>
          </a:effectRef>
          <a:fontRef idx="minor">
            <a:schemeClr val="dk1"/>
          </a:fontRef>
        </p:style>
        <p:txBody>
          <a:bodyPr wrap="square" lIns="0" tIns="36000" rIns="36000" bIns="0" anchor="ctr">
            <a:noAutofit/>
          </a:bodyPr>
          <a:lstStyle>
            <a:defPPr>
              <a:defRPr lang="en-US"/>
            </a:defPPr>
            <a:lvl1pPr algn="ctr">
              <a:spcBef>
                <a:spcPts val="1000"/>
              </a:spcBef>
              <a:defRPr sz="1200" b="1">
                <a:solidFill>
                  <a:schemeClr val="accent1"/>
                </a:solidFill>
                <a:latin typeface="+mj-lt"/>
              </a:defRPr>
            </a:lvl1pPr>
          </a:lstStyle>
          <a:p>
            <a:r>
              <a:rPr lang="es-ES_tradnl" dirty="0"/>
              <a:t>Restricciones Técnicas</a:t>
            </a:r>
          </a:p>
        </p:txBody>
      </p:sp>
      <p:sp>
        <p:nvSpPr>
          <p:cNvPr id="34" name="Text Box 15"/>
          <p:cNvSpPr txBox="1">
            <a:spLocks noChangeArrowheads="1"/>
          </p:cNvSpPr>
          <p:nvPr/>
        </p:nvSpPr>
        <p:spPr bwMode="gray">
          <a:xfrm>
            <a:off x="4962579" y="3947856"/>
            <a:ext cx="3277853" cy="324000"/>
          </a:xfrm>
          <a:prstGeom prst="roundRect">
            <a:avLst>
              <a:gd name="adj" fmla="val 0"/>
            </a:avLst>
          </a:prstGeom>
          <a:solidFill>
            <a:srgbClr val="E0E0E0"/>
          </a:solidFill>
          <a:ln>
            <a:headEnd/>
            <a:tailEnd/>
          </a:ln>
          <a:effectLst/>
        </p:spPr>
        <p:style>
          <a:lnRef idx="1">
            <a:schemeClr val="accent5"/>
          </a:lnRef>
          <a:fillRef idx="2">
            <a:schemeClr val="accent5"/>
          </a:fillRef>
          <a:effectRef idx="1">
            <a:schemeClr val="accent5"/>
          </a:effectRef>
          <a:fontRef idx="minor">
            <a:schemeClr val="dk1"/>
          </a:fontRef>
        </p:style>
        <p:txBody>
          <a:bodyPr wrap="square" lIns="0" tIns="36000" rIns="36000" bIns="0" anchor="ctr">
            <a:noAutofit/>
          </a:bodyPr>
          <a:lstStyle>
            <a:defPPr>
              <a:defRPr lang="en-US"/>
            </a:defPPr>
            <a:lvl1pPr algn="ctr">
              <a:spcBef>
                <a:spcPts val="1000"/>
              </a:spcBef>
              <a:defRPr sz="1200" b="1">
                <a:solidFill>
                  <a:schemeClr val="accent1"/>
                </a:solidFill>
                <a:latin typeface="+mj-lt"/>
              </a:defRPr>
            </a:lvl1pPr>
          </a:lstStyle>
          <a:p>
            <a:r>
              <a:rPr lang="es-ES_tradnl" dirty="0" smtClean="0"/>
              <a:t>Mercado SS.CC.</a:t>
            </a:r>
            <a:endParaRPr lang="es-ES_tradnl" dirty="0"/>
          </a:p>
        </p:txBody>
      </p:sp>
      <p:sp>
        <p:nvSpPr>
          <p:cNvPr id="46" name="Text Box 15"/>
          <p:cNvSpPr txBox="1">
            <a:spLocks noChangeArrowheads="1"/>
          </p:cNvSpPr>
          <p:nvPr/>
        </p:nvSpPr>
        <p:spPr bwMode="gray">
          <a:xfrm>
            <a:off x="988849" y="6150470"/>
            <a:ext cx="7525421" cy="448461"/>
          </a:xfrm>
          <a:prstGeom prst="roundRect">
            <a:avLst>
              <a:gd name="adj" fmla="val 0"/>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accent1"/>
                </a:solidFill>
                <a:latin typeface="+mj-lt"/>
              </a:rPr>
              <a:t>PROGRAMA DIARIO VIABLE (PDV)</a:t>
            </a:r>
          </a:p>
        </p:txBody>
      </p:sp>
      <p:sp>
        <p:nvSpPr>
          <p:cNvPr id="26" name="Text Box 15"/>
          <p:cNvSpPr txBox="1">
            <a:spLocks noChangeArrowheads="1"/>
          </p:cNvSpPr>
          <p:nvPr/>
        </p:nvSpPr>
        <p:spPr bwMode="gray">
          <a:xfrm>
            <a:off x="988850" y="2742965"/>
            <a:ext cx="7525420" cy="448461"/>
          </a:xfrm>
          <a:prstGeom prst="roundRect">
            <a:avLst>
              <a:gd name="adj" fmla="val 0"/>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ts val="1000"/>
              </a:spcBef>
              <a:defRPr sz="1400" b="1">
                <a:solidFill>
                  <a:schemeClr val="accent1"/>
                </a:solidFill>
                <a:latin typeface="+mj-lt"/>
              </a:defRPr>
            </a:lvl1pPr>
          </a:lstStyle>
          <a:p>
            <a:r>
              <a:rPr lang="es-ES_tradnl" dirty="0"/>
              <a:t>PROGRAMA DIARIO BASE (PDB)</a:t>
            </a:r>
          </a:p>
        </p:txBody>
      </p:sp>
      <p:pic>
        <p:nvPicPr>
          <p:cNvPr id="5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7413" y="1450530"/>
            <a:ext cx="1158338" cy="72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4" descr="http://www.omie.es/files/framework_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597" y="1284249"/>
            <a:ext cx="1051085" cy="352667"/>
          </a:xfrm>
          <a:prstGeom prst="rect">
            <a:avLst/>
          </a:prstGeom>
          <a:noFill/>
        </p:spPr>
      </p:pic>
      <p:pic>
        <p:nvPicPr>
          <p:cNvPr id="58" name="Picture 2" descr="http://globedia.com/imagenes/noticias/2011/3/2/coche-electrico-mejor-2020_1_60959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61065" y="3514709"/>
            <a:ext cx="1237558" cy="373603"/>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1"/>
          <p:cNvSpPr txBox="1">
            <a:spLocks/>
          </p:cNvSpPr>
          <p:nvPr/>
        </p:nvSpPr>
        <p:spPr>
          <a:xfrm>
            <a:off x="447330" y="113919"/>
            <a:ext cx="8229600" cy="783654"/>
          </a:xfrm>
          <a:prstGeom prst="rect">
            <a:avLst/>
          </a:prstGeom>
        </p:spPr>
        <p:txBody>
          <a:bodyPr lIns="0" bIns="0" anchor="b" anchorCtr="0"/>
          <a:lstStyle>
            <a:lvl1pPr algn="l" rtl="0" eaLnBrk="1" fontAlgn="base" hangingPunct="1">
              <a:lnSpc>
                <a:spcPts val="2600"/>
              </a:lnSpc>
              <a:spcBef>
                <a:spcPct val="0"/>
              </a:spcBef>
              <a:spcAft>
                <a:spcPct val="0"/>
              </a:spcAft>
              <a:buFont typeface="Arial" charset="0"/>
              <a:defRPr sz="2600" kern="1200" spc="-100" baseline="0">
                <a:solidFill>
                  <a:srgbClr val="003344"/>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s-ES_tradnl" dirty="0" smtClean="0"/>
              <a:t>Mercado Mayorista de compra – venta de energía</a:t>
            </a:r>
            <a:br>
              <a:rPr lang="es-ES_tradnl" dirty="0" smtClean="0"/>
            </a:br>
            <a:r>
              <a:rPr lang="es-ES_tradnl" b="1" dirty="0" smtClean="0"/>
              <a:t>Operación Técnica</a:t>
            </a:r>
            <a:endParaRPr lang="es-ES_tradnl" b="1" dirty="0"/>
          </a:p>
        </p:txBody>
      </p:sp>
      <p:cxnSp>
        <p:nvCxnSpPr>
          <p:cNvPr id="4" name="Straight Arrow Connector 3"/>
          <p:cNvCxnSpPr/>
          <p:nvPr/>
        </p:nvCxnSpPr>
        <p:spPr>
          <a:xfrm>
            <a:off x="675252" y="1211646"/>
            <a:ext cx="0" cy="53872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92976" y="3751400"/>
            <a:ext cx="761932" cy="307777"/>
          </a:xfrm>
          <a:prstGeom prst="rect">
            <a:avLst/>
          </a:prstGeom>
          <a:noFill/>
        </p:spPr>
        <p:txBody>
          <a:bodyPr wrap="square" rtlCol="0">
            <a:spAutoFit/>
          </a:bodyPr>
          <a:lstStyle/>
          <a:p>
            <a:r>
              <a:rPr lang="es-ES" sz="1400" b="1" dirty="0" smtClean="0"/>
              <a:t>D-1</a:t>
            </a:r>
            <a:endParaRPr lang="pt-PT" sz="1400" b="1" dirty="0"/>
          </a:p>
        </p:txBody>
      </p:sp>
      <p:sp>
        <p:nvSpPr>
          <p:cNvPr id="8" name="Isosceles Triangle 7"/>
          <p:cNvSpPr/>
          <p:nvPr/>
        </p:nvSpPr>
        <p:spPr>
          <a:xfrm rot="10800000">
            <a:off x="3802457" y="2561295"/>
            <a:ext cx="1708921" cy="14855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p:cNvGrpSpPr/>
          <p:nvPr/>
        </p:nvGrpSpPr>
        <p:grpSpPr>
          <a:xfrm>
            <a:off x="4487726" y="1909934"/>
            <a:ext cx="306037" cy="305037"/>
            <a:chOff x="1357123" y="1943345"/>
            <a:chExt cx="491441" cy="491441"/>
          </a:xfrm>
        </p:grpSpPr>
        <p:sp>
          <p:nvSpPr>
            <p:cNvPr id="9" name="Rectangle 8"/>
            <p:cNvSpPr/>
            <p:nvPr/>
          </p:nvSpPr>
          <p:spPr>
            <a:xfrm>
              <a:off x="1543527" y="1943345"/>
              <a:ext cx="118633" cy="491441"/>
            </a:xfrm>
            <a:prstGeom prst="rect">
              <a:avLst/>
            </a:prstGeom>
            <a:solidFill>
              <a:srgbClr val="99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5" name="Rectangle 34"/>
            <p:cNvSpPr/>
            <p:nvPr/>
          </p:nvSpPr>
          <p:spPr>
            <a:xfrm rot="5400000">
              <a:off x="1543527" y="1943345"/>
              <a:ext cx="118633" cy="491441"/>
            </a:xfrm>
            <a:prstGeom prst="rect">
              <a:avLst/>
            </a:prstGeom>
            <a:solidFill>
              <a:srgbClr val="99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37" name="Group 36"/>
          <p:cNvGrpSpPr/>
          <p:nvPr/>
        </p:nvGrpSpPr>
        <p:grpSpPr>
          <a:xfrm>
            <a:off x="4445522" y="5191939"/>
            <a:ext cx="306037" cy="305037"/>
            <a:chOff x="1357123" y="1943345"/>
            <a:chExt cx="491441" cy="491441"/>
          </a:xfrm>
        </p:grpSpPr>
        <p:sp>
          <p:nvSpPr>
            <p:cNvPr id="39" name="Rectangle 38"/>
            <p:cNvSpPr/>
            <p:nvPr/>
          </p:nvSpPr>
          <p:spPr>
            <a:xfrm>
              <a:off x="1543527" y="1943345"/>
              <a:ext cx="118633" cy="491441"/>
            </a:xfrm>
            <a:prstGeom prst="rect">
              <a:avLst/>
            </a:prstGeom>
            <a:solidFill>
              <a:srgbClr val="99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0" name="Rectangle 39"/>
            <p:cNvSpPr/>
            <p:nvPr/>
          </p:nvSpPr>
          <p:spPr>
            <a:xfrm rot="5400000">
              <a:off x="1543527" y="1943345"/>
              <a:ext cx="118633" cy="491441"/>
            </a:xfrm>
            <a:prstGeom prst="rect">
              <a:avLst/>
            </a:prstGeom>
            <a:solidFill>
              <a:srgbClr val="99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44" name="Isosceles Triangle 43"/>
          <p:cNvSpPr/>
          <p:nvPr/>
        </p:nvSpPr>
        <p:spPr>
          <a:xfrm rot="10800000">
            <a:off x="3802457" y="5933273"/>
            <a:ext cx="1708921" cy="14855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0" name="Isosceles Triangle 49"/>
          <p:cNvSpPr/>
          <p:nvPr/>
        </p:nvSpPr>
        <p:spPr>
          <a:xfrm rot="10800000">
            <a:off x="3802457" y="3253999"/>
            <a:ext cx="1708921" cy="14855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Box 11"/>
          <p:cNvSpPr txBox="1"/>
          <p:nvPr/>
        </p:nvSpPr>
        <p:spPr>
          <a:xfrm>
            <a:off x="2310814" y="3514710"/>
            <a:ext cx="4881490" cy="338554"/>
          </a:xfrm>
          <a:prstGeom prst="rect">
            <a:avLst/>
          </a:prstGeom>
          <a:noFill/>
        </p:spPr>
        <p:txBody>
          <a:bodyPr wrap="square" rtlCol="0">
            <a:spAutoFit/>
          </a:bodyPr>
          <a:lstStyle/>
          <a:p>
            <a:pPr algn="ctr"/>
            <a:r>
              <a:rPr lang="es-ES" sz="1600" b="1" dirty="0" smtClean="0">
                <a:solidFill>
                  <a:schemeClr val="accent5">
                    <a:lumMod val="90000"/>
                    <a:lumOff val="10000"/>
                  </a:schemeClr>
                </a:solidFill>
              </a:rPr>
              <a:t>Operación Técnica del sistema</a:t>
            </a:r>
            <a:endParaRPr lang="pt-PT" sz="1600" b="1" dirty="0">
              <a:solidFill>
                <a:schemeClr val="accent5">
                  <a:lumMod val="90000"/>
                  <a:lumOff val="10000"/>
                </a:schemeClr>
              </a:solidFill>
            </a:endParaRPr>
          </a:p>
        </p:txBody>
      </p:sp>
      <p:sp>
        <p:nvSpPr>
          <p:cNvPr id="51" name="TextBox 50"/>
          <p:cNvSpPr txBox="1"/>
          <p:nvPr/>
        </p:nvSpPr>
        <p:spPr>
          <a:xfrm>
            <a:off x="914581" y="1617670"/>
            <a:ext cx="1466574" cy="830997"/>
          </a:xfrm>
          <a:prstGeom prst="rect">
            <a:avLst/>
          </a:prstGeom>
          <a:noFill/>
        </p:spPr>
        <p:txBody>
          <a:bodyPr wrap="square" rtlCol="0">
            <a:spAutoFit/>
          </a:bodyPr>
          <a:lstStyle/>
          <a:p>
            <a:pPr algn="ctr"/>
            <a:r>
              <a:rPr lang="es-ES" sz="1600" b="1" dirty="0" smtClean="0">
                <a:solidFill>
                  <a:schemeClr val="accent5">
                    <a:lumMod val="90000"/>
                    <a:lumOff val="10000"/>
                  </a:schemeClr>
                </a:solidFill>
              </a:rPr>
              <a:t>Operación Económica del sistema</a:t>
            </a:r>
            <a:endParaRPr lang="pt-PT" sz="1600" b="1" dirty="0">
              <a:solidFill>
                <a:schemeClr val="accent5">
                  <a:lumMod val="90000"/>
                  <a:lumOff val="10000"/>
                </a:schemeClr>
              </a:solidFill>
            </a:endParaRPr>
          </a:p>
        </p:txBody>
      </p:sp>
    </p:spTree>
    <p:extLst>
      <p:ext uri="{BB962C8B-B14F-4D97-AF65-F5344CB8AC3E}">
        <p14:creationId xmlns:p14="http://schemas.microsoft.com/office/powerpoint/2010/main" val="26162635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15"/>
          <p:cNvSpPr txBox="1">
            <a:spLocks noChangeArrowheads="1"/>
          </p:cNvSpPr>
          <p:nvPr/>
        </p:nvSpPr>
        <p:spPr bwMode="gray">
          <a:xfrm>
            <a:off x="788116" y="1874531"/>
            <a:ext cx="5045663" cy="1821169"/>
          </a:xfrm>
          <a:prstGeom prst="roundRect">
            <a:avLst>
              <a:gd name="adj" fmla="val 10832"/>
            </a:avLst>
          </a:prstGeom>
          <a:noFill/>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endParaRPr lang="es-ES_tradnl" dirty="0" smtClean="0">
              <a:solidFill>
                <a:schemeClr val="accent1"/>
              </a:solidFill>
              <a:latin typeface="+mj-lt"/>
            </a:endParaRPr>
          </a:p>
        </p:txBody>
      </p:sp>
      <p:sp>
        <p:nvSpPr>
          <p:cNvPr id="52" name="Text Box 15"/>
          <p:cNvSpPr txBox="1">
            <a:spLocks noChangeArrowheads="1"/>
          </p:cNvSpPr>
          <p:nvPr/>
        </p:nvSpPr>
        <p:spPr bwMode="gray">
          <a:xfrm>
            <a:off x="786761" y="3905289"/>
            <a:ext cx="5045663" cy="920711"/>
          </a:xfrm>
          <a:prstGeom prst="roundRect">
            <a:avLst>
              <a:gd name="adj" fmla="val 10832"/>
            </a:avLst>
          </a:prstGeom>
          <a:noFill/>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endParaRPr lang="es-ES_tradnl" dirty="0" smtClean="0">
              <a:solidFill>
                <a:schemeClr val="accent1"/>
              </a:solidFill>
              <a:latin typeface="+mj-lt"/>
            </a:endParaRPr>
          </a:p>
        </p:txBody>
      </p:sp>
      <p:sp>
        <p:nvSpPr>
          <p:cNvPr id="5" name="Slide Number Placeholder 4"/>
          <p:cNvSpPr>
            <a:spLocks noGrp="1"/>
          </p:cNvSpPr>
          <p:nvPr>
            <p:ph type="sldNum" sz="quarter" idx="4"/>
          </p:nvPr>
        </p:nvSpPr>
        <p:spPr/>
        <p:txBody>
          <a:bodyPr/>
          <a:lstStyle/>
          <a:p>
            <a:pPr>
              <a:defRPr/>
            </a:pPr>
            <a:fld id="{90CBDC3A-D49F-4631-A8C7-55D59B33E5FA}" type="slidenum">
              <a:rPr lang="en-US" smtClean="0"/>
              <a:pPr>
                <a:defRPr/>
              </a:pPr>
              <a:t>12</a:t>
            </a:fld>
            <a:endParaRPr lang="en-US" dirty="0"/>
          </a:p>
        </p:txBody>
      </p:sp>
      <p:sp>
        <p:nvSpPr>
          <p:cNvPr id="19" name="Text Box 15"/>
          <p:cNvSpPr txBox="1">
            <a:spLocks noChangeArrowheads="1"/>
          </p:cNvSpPr>
          <p:nvPr/>
        </p:nvSpPr>
        <p:spPr bwMode="gray">
          <a:xfrm>
            <a:off x="964325" y="2261783"/>
            <a:ext cx="1527911" cy="494351"/>
          </a:xfrm>
          <a:prstGeom prst="roundRect">
            <a:avLst>
              <a:gd name="adj" fmla="val 10832"/>
            </a:avLst>
          </a:prstGeom>
          <a:ln>
            <a:headEnd/>
            <a:tailEnd/>
          </a:ln>
        </p:spPr>
        <p:style>
          <a:lnRef idx="1">
            <a:schemeClr val="accent5"/>
          </a:lnRef>
          <a:fillRef idx="2">
            <a:schemeClr val="accent5"/>
          </a:fillRef>
          <a:effectRef idx="1">
            <a:schemeClr val="accent5"/>
          </a:effectRef>
          <a:fontRef idx="minor">
            <a:schemeClr val="dk1"/>
          </a:fontRef>
        </p:style>
        <p:txBody>
          <a:bodyPr wrap="square" lIns="0" tIns="36000" rIns="36000" bIns="0" anchor="ctr">
            <a:noAutofit/>
          </a:bodyPr>
          <a:lstStyle>
            <a:defPPr>
              <a:defRPr lang="en-US"/>
            </a:defPPr>
            <a:lvl1pPr algn="ctr">
              <a:spcBef>
                <a:spcPts val="1000"/>
              </a:spcBef>
              <a:defRPr sz="1200" b="1">
                <a:solidFill>
                  <a:schemeClr val="accent1"/>
                </a:solidFill>
                <a:latin typeface="+mj-lt"/>
              </a:defRPr>
            </a:lvl1pPr>
          </a:lstStyle>
          <a:p>
            <a:r>
              <a:rPr lang="es-ES_tradnl" dirty="0"/>
              <a:t>Ofertas de Ajustes en la Venta</a:t>
            </a:r>
          </a:p>
        </p:txBody>
      </p:sp>
      <p:sp>
        <p:nvSpPr>
          <p:cNvPr id="22" name="Text Box 15"/>
          <p:cNvSpPr txBox="1">
            <a:spLocks noChangeArrowheads="1"/>
          </p:cNvSpPr>
          <p:nvPr/>
        </p:nvSpPr>
        <p:spPr bwMode="gray">
          <a:xfrm>
            <a:off x="4164813" y="2261782"/>
            <a:ext cx="1527911" cy="494351"/>
          </a:xfrm>
          <a:prstGeom prst="roundRect">
            <a:avLst>
              <a:gd name="adj" fmla="val 10832"/>
            </a:avLst>
          </a:prstGeom>
          <a:ln>
            <a:headEnd/>
            <a:tailEnd/>
          </a:ln>
        </p:spPr>
        <p:style>
          <a:lnRef idx="1">
            <a:schemeClr val="accent5"/>
          </a:lnRef>
          <a:fillRef idx="2">
            <a:schemeClr val="accent5"/>
          </a:fillRef>
          <a:effectRef idx="1">
            <a:schemeClr val="accent5"/>
          </a:effectRef>
          <a:fontRef idx="minor">
            <a:schemeClr val="dk1"/>
          </a:fontRef>
        </p:style>
        <p:txBody>
          <a:bodyPr wrap="square" lIns="0" tIns="36000" rIns="36000" bIns="0" anchor="ctr">
            <a:noAutofit/>
          </a:bodyPr>
          <a:lstStyle>
            <a:defPPr>
              <a:defRPr lang="en-US"/>
            </a:defPPr>
            <a:lvl1pPr algn="ctr">
              <a:spcBef>
                <a:spcPts val="1000"/>
              </a:spcBef>
              <a:defRPr sz="1200" b="1">
                <a:solidFill>
                  <a:schemeClr val="accent1"/>
                </a:solidFill>
                <a:latin typeface="+mj-lt"/>
              </a:defRPr>
            </a:lvl1pPr>
          </a:lstStyle>
          <a:p>
            <a:r>
              <a:rPr lang="es-ES_tradnl" dirty="0"/>
              <a:t>Oferta de Ajuste de Adquisición</a:t>
            </a:r>
          </a:p>
        </p:txBody>
      </p:sp>
      <p:pic>
        <p:nvPicPr>
          <p:cNvPr id="50" name="Picture 4" descr="http://www.omie.es/files/framework_log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234" y="1806346"/>
            <a:ext cx="844983" cy="283514"/>
          </a:xfrm>
          <a:prstGeom prst="rect">
            <a:avLst/>
          </a:prstGeom>
          <a:noFill/>
        </p:spPr>
      </p:pic>
      <p:pic>
        <p:nvPicPr>
          <p:cNvPr id="51" name="Picture 2" descr="http://globedia.com/imagenes/noticias/2011/3/2/coche-electrico-mejor-2020_1_60959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836" y="4185313"/>
            <a:ext cx="935018" cy="282270"/>
          </a:xfrm>
          <a:prstGeom prst="rect">
            <a:avLst/>
          </a:prstGeom>
          <a:noFill/>
          <a:extLst>
            <a:ext uri="{909E8E84-426E-40DD-AFC4-6F175D3DCCD1}">
              <a14:hiddenFill xmlns:a14="http://schemas.microsoft.com/office/drawing/2010/main">
                <a:solidFill>
                  <a:srgbClr val="FFFFFF"/>
                </a:solidFill>
              </a14:hiddenFill>
            </a:ext>
          </a:extLst>
        </p:spPr>
      </p:pic>
      <p:sp>
        <p:nvSpPr>
          <p:cNvPr id="35" name="Text Box 15"/>
          <p:cNvSpPr txBox="1">
            <a:spLocks noChangeArrowheads="1"/>
          </p:cNvSpPr>
          <p:nvPr/>
        </p:nvSpPr>
        <p:spPr bwMode="gray">
          <a:xfrm>
            <a:off x="1933217" y="2928344"/>
            <a:ext cx="2812624" cy="609104"/>
          </a:xfrm>
          <a:prstGeom prst="roundRect">
            <a:avLst>
              <a:gd name="adj" fmla="val 10832"/>
            </a:avLst>
          </a:prstGeom>
          <a:ln>
            <a:headEnd/>
            <a:tailEnd/>
          </a:ln>
        </p:spPr>
        <p:style>
          <a:lnRef idx="1">
            <a:schemeClr val="accent1"/>
          </a:lnRef>
          <a:fillRef idx="3">
            <a:schemeClr val="accent1"/>
          </a:fillRef>
          <a:effectRef idx="2">
            <a:schemeClr val="accent1"/>
          </a:effectRef>
          <a:fontRef idx="minor">
            <a:schemeClr val="lt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bg1"/>
                </a:solidFill>
                <a:latin typeface="+mj-lt"/>
              </a:rPr>
              <a:t>Casación del mercado intradiario</a:t>
            </a:r>
            <a:endParaRPr lang="es-ES_tradnl" sz="1400" dirty="0">
              <a:solidFill>
                <a:schemeClr val="bg1"/>
              </a:solidFill>
              <a:latin typeface="+mj-lt"/>
            </a:endParaRPr>
          </a:p>
        </p:txBody>
      </p:sp>
      <p:sp>
        <p:nvSpPr>
          <p:cNvPr id="16" name="Text Box 15"/>
          <p:cNvSpPr txBox="1">
            <a:spLocks noChangeArrowheads="1"/>
          </p:cNvSpPr>
          <p:nvPr/>
        </p:nvSpPr>
        <p:spPr bwMode="gray">
          <a:xfrm>
            <a:off x="1933217" y="4142905"/>
            <a:ext cx="2812624" cy="568327"/>
          </a:xfrm>
          <a:prstGeom prst="roundRect">
            <a:avLst>
              <a:gd name="adj" fmla="val 10832"/>
            </a:avLst>
          </a:prstGeom>
          <a:ln>
            <a:headEnd/>
            <a:tailEnd/>
          </a:ln>
        </p:spPr>
        <p:style>
          <a:lnRef idx="1">
            <a:schemeClr val="accent5"/>
          </a:lnRef>
          <a:fillRef idx="2">
            <a:schemeClr val="accent5"/>
          </a:fillRef>
          <a:effectRef idx="1">
            <a:schemeClr val="accent5"/>
          </a:effectRef>
          <a:fontRef idx="minor">
            <a:schemeClr val="dk1"/>
          </a:fontRef>
        </p:style>
        <p:txBody>
          <a:bodyPr wrap="square" lIns="0" tIns="36000" rIns="36000" bIns="0" anchor="ctr">
            <a:noAutofit/>
          </a:bodyPr>
          <a:lstStyle>
            <a:defPPr>
              <a:defRPr lang="en-US"/>
            </a:defPPr>
            <a:lvl1pPr algn="ctr">
              <a:spcBef>
                <a:spcPts val="1000"/>
              </a:spcBef>
              <a:defRPr sz="1200" b="1">
                <a:solidFill>
                  <a:schemeClr val="accent1"/>
                </a:solidFill>
                <a:latin typeface="+mj-lt"/>
              </a:defRPr>
            </a:lvl1pPr>
          </a:lstStyle>
          <a:p>
            <a:r>
              <a:rPr lang="es-ES_tradnl" dirty="0" smtClean="0"/>
              <a:t>Gestión de desvíos y restricciones técnicas</a:t>
            </a:r>
            <a:endParaRPr lang="es-ES_tradnl" dirty="0"/>
          </a:p>
        </p:txBody>
      </p:sp>
      <p:sp>
        <p:nvSpPr>
          <p:cNvPr id="27" name="Text Box 15"/>
          <p:cNvSpPr txBox="1">
            <a:spLocks noChangeArrowheads="1"/>
          </p:cNvSpPr>
          <p:nvPr/>
        </p:nvSpPr>
        <p:spPr bwMode="gray">
          <a:xfrm>
            <a:off x="2098317" y="6101416"/>
            <a:ext cx="2428876" cy="312430"/>
          </a:xfrm>
          <a:prstGeom prst="roundRect">
            <a:avLst>
              <a:gd name="adj" fmla="val 10832"/>
            </a:avLst>
          </a:prstGeom>
          <a:ln>
            <a:headEnd/>
            <a:tailEnd/>
          </a:ln>
        </p:spPr>
        <p:style>
          <a:lnRef idx="1">
            <a:schemeClr val="accent5"/>
          </a:lnRef>
          <a:fillRef idx="2">
            <a:schemeClr val="accent5"/>
          </a:fillRef>
          <a:effectRef idx="1">
            <a:schemeClr val="accent5"/>
          </a:effectRef>
          <a:fontRef idx="minor">
            <a:schemeClr val="dk1"/>
          </a:fontRef>
        </p:style>
        <p:txBody>
          <a:bodyPr wrap="square" lIns="0" tIns="36000" rIns="36000" bIns="0" anchor="ctr">
            <a:noAutofit/>
          </a:bodyPr>
          <a:lstStyle>
            <a:defPPr>
              <a:defRPr lang="en-US"/>
            </a:defPPr>
            <a:lvl1pPr algn="ctr">
              <a:spcBef>
                <a:spcPts val="1000"/>
              </a:spcBef>
              <a:defRPr sz="1200" b="1">
                <a:solidFill>
                  <a:schemeClr val="accent1"/>
                </a:solidFill>
                <a:latin typeface="+mj-lt"/>
              </a:defRPr>
            </a:lvl1pPr>
          </a:lstStyle>
          <a:p>
            <a:r>
              <a:rPr lang="es-ES_tradnl" dirty="0"/>
              <a:t>Operación Tiempo Real</a:t>
            </a:r>
          </a:p>
        </p:txBody>
      </p:sp>
      <p:sp>
        <p:nvSpPr>
          <p:cNvPr id="21" name="Title 1"/>
          <p:cNvSpPr txBox="1">
            <a:spLocks/>
          </p:cNvSpPr>
          <p:nvPr/>
        </p:nvSpPr>
        <p:spPr>
          <a:xfrm>
            <a:off x="447330" y="113919"/>
            <a:ext cx="8229600" cy="783654"/>
          </a:xfrm>
          <a:prstGeom prst="rect">
            <a:avLst/>
          </a:prstGeom>
        </p:spPr>
        <p:txBody>
          <a:bodyPr lIns="0" bIns="0" anchor="b" anchorCtr="0"/>
          <a:lstStyle>
            <a:lvl1pPr algn="l" rtl="0" eaLnBrk="1" fontAlgn="base" hangingPunct="1">
              <a:lnSpc>
                <a:spcPts val="2600"/>
              </a:lnSpc>
              <a:spcBef>
                <a:spcPct val="0"/>
              </a:spcBef>
              <a:spcAft>
                <a:spcPct val="0"/>
              </a:spcAft>
              <a:buFont typeface="Arial" charset="0"/>
              <a:defRPr sz="2600" kern="1200" spc="-100" baseline="0">
                <a:solidFill>
                  <a:srgbClr val="003344"/>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s-ES_tradnl" dirty="0" smtClean="0"/>
              <a:t>Mercado Mayorista de compra – venta de energía</a:t>
            </a:r>
            <a:br>
              <a:rPr lang="es-ES_tradnl" dirty="0" smtClean="0"/>
            </a:br>
            <a:r>
              <a:rPr lang="es-ES_tradnl" b="1" dirty="0" smtClean="0"/>
              <a:t>Mercado intradiario</a:t>
            </a:r>
            <a:endParaRPr lang="es-ES_tradnl" b="1" dirty="0"/>
          </a:p>
        </p:txBody>
      </p:sp>
      <p:sp>
        <p:nvSpPr>
          <p:cNvPr id="24" name="Text Placeholder 1"/>
          <p:cNvSpPr>
            <a:spLocks noGrp="1"/>
          </p:cNvSpPr>
          <p:nvPr>
            <p:ph type="body" sz="quarter" idx="10"/>
          </p:nvPr>
        </p:nvSpPr>
        <p:spPr>
          <a:xfrm>
            <a:off x="6006905" y="1172070"/>
            <a:ext cx="2997395" cy="5369827"/>
          </a:xfrm>
          <a:prstGeom prst="rect">
            <a:avLst/>
          </a:prstGeom>
          <a:ln w="12700"/>
        </p:spPr>
        <p:style>
          <a:lnRef idx="2">
            <a:schemeClr val="accent1"/>
          </a:lnRef>
          <a:fillRef idx="1">
            <a:schemeClr val="lt1"/>
          </a:fillRef>
          <a:effectRef idx="0">
            <a:schemeClr val="accent1"/>
          </a:effectRef>
          <a:fontRef idx="minor">
            <a:schemeClr val="dk1"/>
          </a:fontRef>
        </p:style>
        <p:txBody>
          <a:bodyPr lIns="72000" rIns="36000" anchor="ctr">
            <a:noAutofit/>
          </a:bodyPr>
          <a:lstStyle/>
          <a:p>
            <a:pPr marL="0" indent="0" algn="ctr">
              <a:spcBef>
                <a:spcPts val="600"/>
              </a:spcBef>
              <a:spcAft>
                <a:spcPts val="600"/>
              </a:spcAft>
            </a:pPr>
            <a:r>
              <a:rPr lang="es-ES_tradnl" sz="1400" b="1" dirty="0" smtClean="0">
                <a:solidFill>
                  <a:schemeClr val="accent1"/>
                </a:solidFill>
                <a:latin typeface="Arial" pitchFamily="34" charset="0"/>
                <a:ea typeface="Arial" pitchFamily="-105" charset="-52"/>
                <a:cs typeface="Arial" pitchFamily="34" charset="0"/>
              </a:rPr>
              <a:t>CARACTERÍSTICAS DEL MERCADO INTRADIARIO</a:t>
            </a:r>
          </a:p>
          <a:p>
            <a:pPr marL="171450" indent="-171450">
              <a:spcBef>
                <a:spcPts val="600"/>
              </a:spcBef>
              <a:spcAft>
                <a:spcPts val="600"/>
              </a:spcAft>
              <a:buFont typeface="Arial" pitchFamily="34" charset="0"/>
              <a:buChar char="•"/>
            </a:pPr>
            <a:r>
              <a:rPr lang="es-ES_tradnl" sz="1400" dirty="0" smtClean="0">
                <a:solidFill>
                  <a:schemeClr val="accent1"/>
                </a:solidFill>
                <a:latin typeface="Arial" pitchFamily="34" charset="0"/>
                <a:ea typeface="Arial" pitchFamily="-105" charset="-52"/>
                <a:cs typeface="Arial" pitchFamily="34" charset="0"/>
              </a:rPr>
              <a:t>Mercado de ajustes sobre la programación diaria viable (D-1)</a:t>
            </a:r>
          </a:p>
          <a:p>
            <a:pPr marL="171450" indent="-171450">
              <a:spcBef>
                <a:spcPts val="600"/>
              </a:spcBef>
              <a:spcAft>
                <a:spcPts val="600"/>
              </a:spcAft>
              <a:buFont typeface="Arial" pitchFamily="34" charset="0"/>
              <a:buChar char="•"/>
            </a:pPr>
            <a:r>
              <a:rPr lang="es-ES_tradnl" sz="1400" dirty="0" smtClean="0">
                <a:solidFill>
                  <a:schemeClr val="accent1"/>
                </a:solidFill>
                <a:latin typeface="Arial" pitchFamily="34" charset="0"/>
                <a:ea typeface="Arial" pitchFamily="-105" charset="-52"/>
                <a:cs typeface="Arial" pitchFamily="34" charset="0"/>
              </a:rPr>
              <a:t>Existen seis sesiones a lo largo del día</a:t>
            </a:r>
          </a:p>
          <a:p>
            <a:pPr marL="171450" indent="-171450">
              <a:spcBef>
                <a:spcPts val="600"/>
              </a:spcBef>
              <a:spcAft>
                <a:spcPts val="600"/>
              </a:spcAft>
              <a:buFont typeface="Arial" pitchFamily="34" charset="0"/>
              <a:buChar char="•"/>
            </a:pPr>
            <a:r>
              <a:rPr lang="es-ES_tradnl" sz="1400" dirty="0" smtClean="0">
                <a:solidFill>
                  <a:schemeClr val="accent1"/>
                </a:solidFill>
                <a:latin typeface="Arial" pitchFamily="34" charset="0"/>
                <a:ea typeface="Arial" pitchFamily="-105" charset="-52"/>
                <a:cs typeface="Arial" pitchFamily="34" charset="0"/>
              </a:rPr>
              <a:t>No es obligatorio participar en él</a:t>
            </a:r>
          </a:p>
          <a:p>
            <a:pPr marL="171450" indent="-171450">
              <a:spcBef>
                <a:spcPts val="600"/>
              </a:spcBef>
              <a:spcAft>
                <a:spcPts val="600"/>
              </a:spcAft>
              <a:buFont typeface="Arial" pitchFamily="34" charset="0"/>
              <a:buChar char="•"/>
            </a:pPr>
            <a:r>
              <a:rPr lang="es-ES_tradnl" sz="1400" dirty="0" smtClean="0">
                <a:solidFill>
                  <a:schemeClr val="accent1"/>
                </a:solidFill>
                <a:latin typeface="Arial" pitchFamily="34" charset="0"/>
                <a:ea typeface="Arial" pitchFamily="-105" charset="-52"/>
                <a:cs typeface="Arial" pitchFamily="34" charset="0"/>
              </a:rPr>
              <a:t>Agentes participantes:</a:t>
            </a:r>
            <a:endParaRPr lang="es-ES_tradnl" sz="1400" dirty="0">
              <a:solidFill>
                <a:schemeClr val="accent1"/>
              </a:solidFill>
              <a:latin typeface="Arial" pitchFamily="34" charset="0"/>
              <a:ea typeface="Arial" pitchFamily="-105" charset="-52"/>
              <a:cs typeface="Arial" pitchFamily="34" charset="0"/>
            </a:endParaRPr>
          </a:p>
          <a:p>
            <a:pPr marL="363538" indent="-171450">
              <a:spcBef>
                <a:spcPts val="600"/>
              </a:spcBef>
              <a:spcAft>
                <a:spcPts val="600"/>
              </a:spcAft>
              <a:buFont typeface="Courier New" pitchFamily="49" charset="0"/>
              <a:buChar char="o"/>
            </a:pPr>
            <a:r>
              <a:rPr lang="es-ES_tradnl" sz="1400" dirty="0" smtClean="0">
                <a:solidFill>
                  <a:schemeClr val="accent1"/>
                </a:solidFill>
                <a:latin typeface="Arial" pitchFamily="34" charset="0"/>
                <a:ea typeface="Arial" pitchFamily="-105" charset="-52"/>
                <a:cs typeface="Arial" pitchFamily="34" charset="0"/>
              </a:rPr>
              <a:t>Todos los agentes de venta que lo deseen</a:t>
            </a:r>
          </a:p>
          <a:p>
            <a:pPr marL="363538" indent="-171450">
              <a:spcBef>
                <a:spcPts val="600"/>
              </a:spcBef>
              <a:spcAft>
                <a:spcPts val="600"/>
              </a:spcAft>
              <a:buFont typeface="Courier New" pitchFamily="49" charset="0"/>
              <a:buChar char="o"/>
            </a:pPr>
            <a:r>
              <a:rPr lang="es-ES_tradnl" sz="1400" dirty="0" smtClean="0">
                <a:solidFill>
                  <a:schemeClr val="accent1"/>
                </a:solidFill>
                <a:latin typeface="Arial" pitchFamily="34" charset="0"/>
                <a:ea typeface="Arial" pitchFamily="-105" charset="-52"/>
                <a:cs typeface="Arial" pitchFamily="34" charset="0"/>
              </a:rPr>
              <a:t>Los agentes compradores que hayan participado en el mercado diario o en contratos bilaterales físicos</a:t>
            </a:r>
          </a:p>
          <a:p>
            <a:pPr marL="171450" indent="-171450">
              <a:spcBef>
                <a:spcPts val="600"/>
              </a:spcBef>
              <a:spcAft>
                <a:spcPts val="600"/>
              </a:spcAft>
              <a:buFont typeface="Arial" pitchFamily="34" charset="0"/>
              <a:buChar char="•"/>
            </a:pPr>
            <a:r>
              <a:rPr lang="es-ES_tradnl" sz="1400" dirty="0" smtClean="0">
                <a:solidFill>
                  <a:schemeClr val="accent1"/>
                </a:solidFill>
                <a:latin typeface="Arial" pitchFamily="34" charset="0"/>
                <a:ea typeface="Arial" pitchFamily="-105" charset="-52"/>
                <a:cs typeface="Arial" pitchFamily="34" charset="0"/>
              </a:rPr>
              <a:t>Precio único para cada hora y cada sesión: precio marginal horario</a:t>
            </a:r>
          </a:p>
        </p:txBody>
      </p:sp>
      <p:sp>
        <p:nvSpPr>
          <p:cNvPr id="26" name="Text Box 15"/>
          <p:cNvSpPr txBox="1">
            <a:spLocks noChangeArrowheads="1"/>
          </p:cNvSpPr>
          <p:nvPr/>
        </p:nvSpPr>
        <p:spPr bwMode="gray">
          <a:xfrm>
            <a:off x="794117" y="1172070"/>
            <a:ext cx="5033661" cy="448461"/>
          </a:xfrm>
          <a:prstGeom prst="roundRect">
            <a:avLst>
              <a:gd name="adj" fmla="val 0"/>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accent1"/>
                </a:solidFill>
                <a:latin typeface="+mj-lt"/>
              </a:rPr>
              <a:t>PROGRAMA DIARIO VIABLE (PDV)</a:t>
            </a:r>
          </a:p>
        </p:txBody>
      </p:sp>
      <p:cxnSp>
        <p:nvCxnSpPr>
          <p:cNvPr id="28" name="Straight Arrow Connector 27"/>
          <p:cNvCxnSpPr/>
          <p:nvPr/>
        </p:nvCxnSpPr>
        <p:spPr>
          <a:xfrm>
            <a:off x="501944" y="2089860"/>
            <a:ext cx="0" cy="450907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07200" y="3751400"/>
            <a:ext cx="761932" cy="307777"/>
          </a:xfrm>
          <a:prstGeom prst="rect">
            <a:avLst/>
          </a:prstGeom>
          <a:noFill/>
        </p:spPr>
        <p:txBody>
          <a:bodyPr wrap="square" rtlCol="0">
            <a:spAutoFit/>
          </a:bodyPr>
          <a:lstStyle/>
          <a:p>
            <a:r>
              <a:rPr lang="es-ES" sz="1400" b="1" dirty="0" smtClean="0"/>
              <a:t>D</a:t>
            </a:r>
            <a:endParaRPr lang="pt-PT" sz="1400" b="1" dirty="0"/>
          </a:p>
        </p:txBody>
      </p:sp>
      <p:sp>
        <p:nvSpPr>
          <p:cNvPr id="31" name="Isosceles Triangle 30"/>
          <p:cNvSpPr/>
          <p:nvPr/>
        </p:nvSpPr>
        <p:spPr>
          <a:xfrm rot="10800000">
            <a:off x="2456487" y="1719951"/>
            <a:ext cx="1708921" cy="14855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2" name="Isosceles Triangle 31"/>
          <p:cNvSpPr/>
          <p:nvPr/>
        </p:nvSpPr>
        <p:spPr>
          <a:xfrm rot="10800000">
            <a:off x="2456487" y="3751951"/>
            <a:ext cx="1708921" cy="14855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3" name="Isosceles Triangle 32"/>
          <p:cNvSpPr/>
          <p:nvPr/>
        </p:nvSpPr>
        <p:spPr>
          <a:xfrm rot="10800000">
            <a:off x="2456487" y="4906610"/>
            <a:ext cx="1708921" cy="14855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Box 15"/>
          <p:cNvSpPr txBox="1">
            <a:spLocks noChangeArrowheads="1"/>
          </p:cNvSpPr>
          <p:nvPr/>
        </p:nvSpPr>
        <p:spPr bwMode="gray">
          <a:xfrm>
            <a:off x="794117" y="5147170"/>
            <a:ext cx="5033661" cy="448461"/>
          </a:xfrm>
          <a:prstGeom prst="roundRect">
            <a:avLst>
              <a:gd name="adj" fmla="val 0"/>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a:solidFill>
                  <a:schemeClr val="accent1"/>
                </a:solidFill>
                <a:latin typeface="+mj-lt"/>
              </a:rPr>
              <a:t>Programación Horaria Final</a:t>
            </a:r>
          </a:p>
        </p:txBody>
      </p:sp>
      <p:sp>
        <p:nvSpPr>
          <p:cNvPr id="36" name="Isosceles Triangle 35"/>
          <p:cNvSpPr/>
          <p:nvPr/>
        </p:nvSpPr>
        <p:spPr>
          <a:xfrm rot="10800000">
            <a:off x="2456487" y="5687017"/>
            <a:ext cx="1708921" cy="14855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Box 15"/>
          <p:cNvSpPr txBox="1">
            <a:spLocks noChangeArrowheads="1"/>
          </p:cNvSpPr>
          <p:nvPr/>
        </p:nvSpPr>
        <p:spPr bwMode="gray">
          <a:xfrm>
            <a:off x="786761" y="5835569"/>
            <a:ext cx="5045663" cy="712094"/>
          </a:xfrm>
          <a:prstGeom prst="roundRect">
            <a:avLst>
              <a:gd name="adj" fmla="val 10832"/>
            </a:avLst>
          </a:prstGeom>
          <a:noFill/>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endParaRPr lang="es-ES_tradnl" dirty="0" smtClean="0">
              <a:solidFill>
                <a:schemeClr val="accent1"/>
              </a:solidFill>
              <a:latin typeface="+mj-lt"/>
            </a:endParaRPr>
          </a:p>
        </p:txBody>
      </p:sp>
      <p:pic>
        <p:nvPicPr>
          <p:cNvPr id="38" name="Picture 2" descr="http://globedia.com/imagenes/noticias/2011/3/2/coche-electrico-mejor-2020_1_60959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836" y="5975361"/>
            <a:ext cx="935018" cy="28227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3105" y="2154247"/>
            <a:ext cx="892974" cy="560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Isosceles Triangle 44"/>
          <p:cNvSpPr/>
          <p:nvPr/>
        </p:nvSpPr>
        <p:spPr>
          <a:xfrm rot="5400000">
            <a:off x="2289869" y="2460443"/>
            <a:ext cx="666273" cy="97027"/>
          </a:xfrm>
          <a:prstGeom prst="triangle">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6" name="Isosceles Triangle 45"/>
          <p:cNvSpPr/>
          <p:nvPr/>
        </p:nvSpPr>
        <p:spPr>
          <a:xfrm rot="5400000" flipV="1">
            <a:off x="3688773" y="2458349"/>
            <a:ext cx="666273" cy="101218"/>
          </a:xfrm>
          <a:prstGeom prst="triangle">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47" name="Straight Arrow Connector 46"/>
          <p:cNvCxnSpPr/>
          <p:nvPr/>
        </p:nvCxnSpPr>
        <p:spPr>
          <a:xfrm>
            <a:off x="501944" y="1252222"/>
            <a:ext cx="0" cy="6162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107200" y="1261616"/>
            <a:ext cx="761932" cy="307777"/>
          </a:xfrm>
          <a:prstGeom prst="rect">
            <a:avLst/>
          </a:prstGeom>
          <a:noFill/>
        </p:spPr>
        <p:txBody>
          <a:bodyPr wrap="square" rtlCol="0">
            <a:spAutoFit/>
          </a:bodyPr>
          <a:lstStyle/>
          <a:p>
            <a:r>
              <a:rPr lang="es-ES" sz="1400" b="1" dirty="0" smtClean="0"/>
              <a:t>D-1</a:t>
            </a:r>
            <a:endParaRPr lang="pt-PT" sz="1400" b="1" dirty="0"/>
          </a:p>
        </p:txBody>
      </p:sp>
    </p:spTree>
    <p:extLst>
      <p:ext uri="{BB962C8B-B14F-4D97-AF65-F5344CB8AC3E}">
        <p14:creationId xmlns:p14="http://schemas.microsoft.com/office/powerpoint/2010/main" val="27048200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Box 15"/>
          <p:cNvSpPr txBox="1">
            <a:spLocks noChangeArrowheads="1"/>
          </p:cNvSpPr>
          <p:nvPr/>
        </p:nvSpPr>
        <p:spPr bwMode="gray">
          <a:xfrm>
            <a:off x="4248443" y="1161827"/>
            <a:ext cx="4572000" cy="2966723"/>
          </a:xfrm>
          <a:prstGeom prst="roundRect">
            <a:avLst>
              <a:gd name="adj" fmla="val 10832"/>
            </a:avLst>
          </a:prstGeom>
          <a:ln w="12700">
            <a:prstDash val="dash"/>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t">
            <a:noAutofit/>
          </a:bodyPr>
          <a:lstStyle>
            <a:defPPr>
              <a:defRPr lang="en-US"/>
            </a:defPPr>
            <a:lvl1pPr algn="ctr">
              <a:spcBef>
                <a:spcPct val="50000"/>
              </a:spcBef>
              <a:defRPr sz="1200" b="1"/>
            </a:lvl1pPr>
          </a:lstStyle>
          <a:p>
            <a:pPr>
              <a:spcBef>
                <a:spcPts val="1000"/>
              </a:spcBef>
            </a:pPr>
            <a:r>
              <a:rPr lang="es-ES_tradnl" sz="2000" dirty="0" smtClean="0">
                <a:solidFill>
                  <a:schemeClr val="accent1"/>
                </a:solidFill>
                <a:latin typeface="+mj-lt"/>
              </a:rPr>
              <a:t>Precio</a:t>
            </a:r>
          </a:p>
        </p:txBody>
      </p:sp>
      <p:sp>
        <p:nvSpPr>
          <p:cNvPr id="82" name="Text Box 15"/>
          <p:cNvSpPr txBox="1">
            <a:spLocks noChangeArrowheads="1"/>
          </p:cNvSpPr>
          <p:nvPr/>
        </p:nvSpPr>
        <p:spPr bwMode="gray">
          <a:xfrm>
            <a:off x="396145" y="4617373"/>
            <a:ext cx="4931230" cy="1584646"/>
          </a:xfrm>
          <a:prstGeom prst="roundRect">
            <a:avLst>
              <a:gd name="adj" fmla="val 10832"/>
            </a:avLst>
          </a:prstGeom>
          <a:ln w="12700">
            <a:noFill/>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t">
            <a:noAutofit/>
          </a:bodyPr>
          <a:lstStyle>
            <a:defPPr>
              <a:defRPr lang="en-US"/>
            </a:defPPr>
            <a:lvl1pPr algn="ctr">
              <a:spcBef>
                <a:spcPct val="50000"/>
              </a:spcBef>
              <a:defRPr sz="1200" b="1"/>
            </a:lvl1pPr>
          </a:lstStyle>
          <a:p>
            <a:pPr algn="l">
              <a:spcBef>
                <a:spcPts val="1000"/>
              </a:spcBef>
            </a:pPr>
            <a:r>
              <a:rPr lang="es-ES_tradnl" sz="1400" dirty="0" smtClean="0">
                <a:solidFill>
                  <a:schemeClr val="accent1"/>
                </a:solidFill>
                <a:latin typeface="+mj-lt"/>
              </a:rPr>
              <a:t>Algunos factores que Influyen en el aumento o disminución del precio:</a:t>
            </a:r>
          </a:p>
          <a:p>
            <a:pPr algn="l">
              <a:spcBef>
                <a:spcPts val="1000"/>
              </a:spcBef>
            </a:pPr>
            <a:r>
              <a:rPr lang="es-ES_tradnl" b="0" dirty="0" smtClean="0">
                <a:solidFill>
                  <a:schemeClr val="accent1"/>
                </a:solidFill>
                <a:latin typeface="+mj-lt"/>
              </a:rPr>
              <a:t>P1 - Aumento de la producción con energías renovable disminuye el precio de la energía</a:t>
            </a:r>
          </a:p>
          <a:p>
            <a:pPr algn="l">
              <a:spcBef>
                <a:spcPts val="1000"/>
              </a:spcBef>
            </a:pPr>
            <a:r>
              <a:rPr lang="es-ES_tradnl" b="0" dirty="0" smtClean="0">
                <a:solidFill>
                  <a:schemeClr val="accent1"/>
                </a:solidFill>
                <a:latin typeface="+mj-lt"/>
              </a:rPr>
              <a:t>P2 - Aumento del precio del Gas Natural aumenta el precio</a:t>
            </a:r>
          </a:p>
          <a:p>
            <a:pPr algn="l">
              <a:spcBef>
                <a:spcPts val="1000"/>
              </a:spcBef>
            </a:pPr>
            <a:r>
              <a:rPr lang="es-ES_tradnl" b="0" dirty="0" smtClean="0">
                <a:solidFill>
                  <a:schemeClr val="accent1"/>
                </a:solidFill>
                <a:latin typeface="+mj-lt"/>
              </a:rPr>
              <a:t>P3 - Las paradas de las centrales nucleares aumentan el precio</a:t>
            </a:r>
            <a:endParaRPr lang="es-ES_tradnl" b="0" dirty="0">
              <a:solidFill>
                <a:schemeClr val="accent1"/>
              </a:solidFill>
              <a:latin typeface="+mj-lt"/>
            </a:endParaRPr>
          </a:p>
          <a:p>
            <a:pPr marL="285750" indent="-285750" algn="l">
              <a:spcBef>
                <a:spcPts val="1000"/>
              </a:spcBef>
              <a:buFont typeface="Arial" pitchFamily="34" charset="0"/>
              <a:buChar char="•"/>
            </a:pPr>
            <a:endParaRPr lang="es-ES_tradnl" sz="1400" dirty="0" smtClean="0">
              <a:solidFill>
                <a:schemeClr val="accent1"/>
              </a:solidFill>
              <a:latin typeface="+mj-lt"/>
            </a:endParaRPr>
          </a:p>
        </p:txBody>
      </p:sp>
      <p:sp>
        <p:nvSpPr>
          <p:cNvPr id="5" name="Slide Number Placeholder 4"/>
          <p:cNvSpPr>
            <a:spLocks noGrp="1"/>
          </p:cNvSpPr>
          <p:nvPr>
            <p:ph type="sldNum" sz="quarter" idx="4"/>
          </p:nvPr>
        </p:nvSpPr>
        <p:spPr/>
        <p:txBody>
          <a:bodyPr/>
          <a:lstStyle/>
          <a:p>
            <a:pPr>
              <a:defRPr/>
            </a:pPr>
            <a:fld id="{90CBDC3A-D49F-4631-A8C7-55D59B33E5FA}" type="slidenum">
              <a:rPr lang="en-US" smtClean="0"/>
              <a:pPr>
                <a:defRPr/>
              </a:pPr>
              <a:t>13</a:t>
            </a:fld>
            <a:endParaRPr lang="en-US" dirty="0"/>
          </a:p>
        </p:txBody>
      </p:sp>
      <p:sp>
        <p:nvSpPr>
          <p:cNvPr id="72" name="Text Box 15"/>
          <p:cNvSpPr txBox="1">
            <a:spLocks noChangeArrowheads="1"/>
          </p:cNvSpPr>
          <p:nvPr/>
        </p:nvSpPr>
        <p:spPr bwMode="gray">
          <a:xfrm>
            <a:off x="492640" y="1161827"/>
            <a:ext cx="3377611" cy="2966724"/>
          </a:xfrm>
          <a:prstGeom prst="roundRect">
            <a:avLst>
              <a:gd name="adj" fmla="val 10832"/>
            </a:avLst>
          </a:prstGeom>
          <a:ln w="12700">
            <a:prstDash val="dash"/>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t">
            <a:noAutofit/>
          </a:bodyPr>
          <a:lstStyle>
            <a:defPPr>
              <a:defRPr lang="en-US"/>
            </a:defPPr>
            <a:lvl1pPr algn="ctr">
              <a:spcBef>
                <a:spcPct val="50000"/>
              </a:spcBef>
              <a:defRPr sz="1200" b="1"/>
            </a:lvl1pPr>
          </a:lstStyle>
          <a:p>
            <a:pPr>
              <a:spcBef>
                <a:spcPts val="1000"/>
              </a:spcBef>
            </a:pPr>
            <a:r>
              <a:rPr lang="es-ES_tradnl" sz="2000" dirty="0" smtClean="0">
                <a:solidFill>
                  <a:schemeClr val="accent1"/>
                </a:solidFill>
                <a:latin typeface="+mj-lt"/>
              </a:rPr>
              <a:t>Mercados</a:t>
            </a:r>
          </a:p>
        </p:txBody>
      </p:sp>
      <p:sp>
        <p:nvSpPr>
          <p:cNvPr id="73" name="Text Placeholder 1"/>
          <p:cNvSpPr txBox="1">
            <a:spLocks/>
          </p:cNvSpPr>
          <p:nvPr/>
        </p:nvSpPr>
        <p:spPr>
          <a:xfrm>
            <a:off x="773723" y="1626802"/>
            <a:ext cx="2764113" cy="467390"/>
          </a:xfrm>
          <a:prstGeom prst="rect">
            <a:avLst/>
          </a:prstGeom>
          <a:ln w="12700"/>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ts val="0"/>
              </a:spcBef>
            </a:pPr>
            <a:r>
              <a:rPr lang="es-ES_tradnl" sz="1800" spc="0" dirty="0" smtClean="0">
                <a:solidFill>
                  <a:schemeClr val="accent1"/>
                </a:solidFill>
              </a:rPr>
              <a:t>Mercado a Plazo</a:t>
            </a:r>
          </a:p>
        </p:txBody>
      </p:sp>
      <p:sp>
        <p:nvSpPr>
          <p:cNvPr id="74" name="Text Placeholder 1"/>
          <p:cNvSpPr txBox="1">
            <a:spLocks/>
          </p:cNvSpPr>
          <p:nvPr/>
        </p:nvSpPr>
        <p:spPr>
          <a:xfrm>
            <a:off x="4684542" y="1626803"/>
            <a:ext cx="3717064" cy="467389"/>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pPr>
            <a:r>
              <a:rPr lang="es-ES_tradnl" sz="1400" spc="0" dirty="0" smtClean="0">
                <a:solidFill>
                  <a:schemeClr val="accent1"/>
                </a:solidFill>
              </a:rPr>
              <a:t>Precio pactado entre las dos partes</a:t>
            </a:r>
          </a:p>
        </p:txBody>
      </p:sp>
      <p:sp>
        <p:nvSpPr>
          <p:cNvPr id="76" name="Text Placeholder 1"/>
          <p:cNvSpPr txBox="1">
            <a:spLocks/>
          </p:cNvSpPr>
          <p:nvPr/>
        </p:nvSpPr>
        <p:spPr>
          <a:xfrm>
            <a:off x="773720" y="2259842"/>
            <a:ext cx="2764113" cy="1647437"/>
          </a:xfrm>
          <a:prstGeom prst="rect">
            <a:avLst/>
          </a:prstGeom>
          <a:ln w="12700"/>
        </p:spPr>
        <p:style>
          <a:lnRef idx="2">
            <a:schemeClr val="accent1"/>
          </a:lnRef>
          <a:fillRef idx="1">
            <a:schemeClr val="lt1"/>
          </a:fillRef>
          <a:effectRef idx="0">
            <a:schemeClr val="accent1"/>
          </a:effectRef>
          <a:fontRef idx="minor">
            <a:schemeClr val="dk1"/>
          </a:fontRef>
        </p:style>
        <p:txBody>
          <a:bodyPr lIns="72000" tIns="0" rIns="72000" bIns="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ts val="400"/>
              </a:spcBef>
              <a:spcAft>
                <a:spcPts val="1200"/>
              </a:spcAft>
            </a:pPr>
            <a:r>
              <a:rPr lang="es-ES_tradnl" sz="1800" spc="0" dirty="0" smtClean="0">
                <a:solidFill>
                  <a:schemeClr val="accent1"/>
                </a:solidFill>
              </a:rPr>
              <a:t>Mercado Diario</a:t>
            </a:r>
          </a:p>
          <a:p>
            <a:pPr algn="ctr">
              <a:lnSpc>
                <a:spcPct val="100000"/>
              </a:lnSpc>
              <a:spcBef>
                <a:spcPts val="400"/>
              </a:spcBef>
              <a:spcAft>
                <a:spcPts val="1200"/>
              </a:spcAft>
            </a:pPr>
            <a:endParaRPr lang="es-ES_tradnl" sz="1800" spc="0" dirty="0" smtClean="0">
              <a:solidFill>
                <a:schemeClr val="accent1"/>
              </a:solidFill>
            </a:endParaRPr>
          </a:p>
          <a:p>
            <a:pPr algn="ctr">
              <a:lnSpc>
                <a:spcPct val="100000"/>
              </a:lnSpc>
              <a:spcBef>
                <a:spcPts val="400"/>
              </a:spcBef>
              <a:spcAft>
                <a:spcPts val="1200"/>
              </a:spcAft>
            </a:pPr>
            <a:r>
              <a:rPr lang="es-ES_tradnl" sz="1800" spc="0" dirty="0" smtClean="0">
                <a:solidFill>
                  <a:schemeClr val="accent1"/>
                </a:solidFill>
              </a:rPr>
              <a:t>Mercado Intradiario</a:t>
            </a:r>
          </a:p>
        </p:txBody>
      </p:sp>
      <p:cxnSp>
        <p:nvCxnSpPr>
          <p:cNvPr id="80" name="Straight Arrow Connector 79"/>
          <p:cNvCxnSpPr>
            <a:stCxn id="73" idx="3"/>
            <a:endCxn id="74" idx="1"/>
          </p:cNvCxnSpPr>
          <p:nvPr/>
        </p:nvCxnSpPr>
        <p:spPr>
          <a:xfrm>
            <a:off x="3537836" y="1860497"/>
            <a:ext cx="1146706" cy="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76" idx="3"/>
            <a:endCxn id="9" idx="1"/>
          </p:cNvCxnSpPr>
          <p:nvPr/>
        </p:nvCxnSpPr>
        <p:spPr>
          <a:xfrm>
            <a:off x="3537833" y="3083561"/>
            <a:ext cx="1123503"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28633" y="4170754"/>
            <a:ext cx="3673177" cy="2650834"/>
            <a:chOff x="5220657" y="4077750"/>
            <a:chExt cx="3673177" cy="2650834"/>
          </a:xfrm>
        </p:grpSpPr>
        <p:sp>
          <p:nvSpPr>
            <p:cNvPr id="8" name="TextBox 7"/>
            <p:cNvSpPr txBox="1"/>
            <p:nvPr/>
          </p:nvSpPr>
          <p:spPr>
            <a:xfrm>
              <a:off x="5701939" y="4554747"/>
              <a:ext cx="2011680" cy="400110"/>
            </a:xfrm>
            <a:prstGeom prst="rect">
              <a:avLst/>
            </a:prstGeom>
            <a:noFill/>
          </p:spPr>
          <p:txBody>
            <a:bodyPr wrap="square" rtlCol="0">
              <a:spAutoFit/>
            </a:bodyPr>
            <a:lstStyle/>
            <a:p>
              <a:r>
                <a:rPr lang="es-ES" sz="1000" dirty="0" smtClean="0"/>
                <a:t>Aumento o disminución de centrales con precio instrumenta</a:t>
              </a:r>
              <a:endParaRPr lang="en-US" sz="1000" dirty="0"/>
            </a:p>
          </p:txBody>
        </p:sp>
        <p:cxnSp>
          <p:nvCxnSpPr>
            <p:cNvPr id="13" name="Straight Arrow Connector 12"/>
            <p:cNvCxnSpPr/>
            <p:nvPr/>
          </p:nvCxnSpPr>
          <p:spPr>
            <a:xfrm flipV="1">
              <a:off x="5589989" y="4077750"/>
              <a:ext cx="0" cy="2366854"/>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589989" y="6444604"/>
              <a:ext cx="3303845"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589989" y="4460522"/>
              <a:ext cx="2285831"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868699" y="4460522"/>
              <a:ext cx="265814" cy="32412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134513" y="4784651"/>
              <a:ext cx="0" cy="141736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134513" y="6202019"/>
              <a:ext cx="457200" cy="24258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589989" y="6444604"/>
              <a:ext cx="207026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7669842" y="6289428"/>
              <a:ext cx="372916" cy="15517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8042758" y="5914919"/>
              <a:ext cx="277225" cy="37451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589989" y="6421702"/>
              <a:ext cx="2070268" cy="1"/>
            </a:xfrm>
            <a:prstGeom prst="line">
              <a:avLst/>
            </a:prstGeom>
            <a:ln w="19050">
              <a:solidFill>
                <a:srgbClr val="2C6FA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7660257" y="6073984"/>
              <a:ext cx="382501" cy="347721"/>
            </a:xfrm>
            <a:prstGeom prst="line">
              <a:avLst/>
            </a:prstGeom>
            <a:ln w="19050">
              <a:solidFill>
                <a:srgbClr val="2C6FA6"/>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8042758" y="5409697"/>
              <a:ext cx="332415" cy="664287"/>
            </a:xfrm>
            <a:prstGeom prst="line">
              <a:avLst/>
            </a:prstGeom>
            <a:ln w="19050">
              <a:solidFill>
                <a:srgbClr val="2C6FA6"/>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589988" y="6392319"/>
              <a:ext cx="14400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29988" y="6181706"/>
              <a:ext cx="449114" cy="21061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8" name="Straight Connector 77"/>
            <p:cNvCxnSpPr>
              <a:endCxn id="84" idx="2"/>
            </p:cNvCxnSpPr>
            <p:nvPr/>
          </p:nvCxnSpPr>
          <p:spPr>
            <a:xfrm flipV="1">
              <a:off x="7479102" y="5036701"/>
              <a:ext cx="740419" cy="1145006"/>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182326" y="6073984"/>
              <a:ext cx="311304" cy="215444"/>
            </a:xfrm>
            <a:prstGeom prst="rect">
              <a:avLst/>
            </a:prstGeom>
            <a:noFill/>
          </p:spPr>
          <p:txBody>
            <a:bodyPr wrap="none" rtlCol="0">
              <a:spAutoFit/>
            </a:bodyPr>
            <a:lstStyle/>
            <a:p>
              <a:r>
                <a:rPr lang="es-ES" sz="800" b="1" dirty="0" smtClean="0">
                  <a:solidFill>
                    <a:schemeClr val="accent2"/>
                  </a:solidFill>
                </a:rPr>
                <a:t>P1</a:t>
              </a:r>
              <a:endParaRPr lang="en-US" sz="800" b="1" dirty="0">
                <a:solidFill>
                  <a:schemeClr val="accent2"/>
                </a:solidFill>
              </a:endParaRPr>
            </a:p>
          </p:txBody>
        </p:sp>
        <p:sp>
          <p:nvSpPr>
            <p:cNvPr id="83" name="TextBox 82"/>
            <p:cNvSpPr txBox="1"/>
            <p:nvPr/>
          </p:nvSpPr>
          <p:spPr>
            <a:xfrm>
              <a:off x="8159120" y="5674374"/>
              <a:ext cx="311304" cy="215444"/>
            </a:xfrm>
            <a:prstGeom prst="rect">
              <a:avLst/>
            </a:prstGeom>
            <a:noFill/>
          </p:spPr>
          <p:txBody>
            <a:bodyPr wrap="none" rtlCol="0">
              <a:spAutoFit/>
            </a:bodyPr>
            <a:lstStyle/>
            <a:p>
              <a:r>
                <a:rPr lang="es-ES" sz="800" b="1" dirty="0" smtClean="0">
                  <a:solidFill>
                    <a:srgbClr val="2C6FA6"/>
                  </a:solidFill>
                </a:rPr>
                <a:t>P2</a:t>
              </a:r>
              <a:endParaRPr lang="en-US" sz="800" b="1" dirty="0">
                <a:solidFill>
                  <a:srgbClr val="2C6FA6"/>
                </a:solidFill>
              </a:endParaRPr>
            </a:p>
          </p:txBody>
        </p:sp>
        <p:sp>
          <p:nvSpPr>
            <p:cNvPr id="84" name="TextBox 83"/>
            <p:cNvSpPr txBox="1"/>
            <p:nvPr/>
          </p:nvSpPr>
          <p:spPr>
            <a:xfrm>
              <a:off x="8063869" y="4821257"/>
              <a:ext cx="311304" cy="215444"/>
            </a:xfrm>
            <a:prstGeom prst="rect">
              <a:avLst/>
            </a:prstGeom>
            <a:noFill/>
          </p:spPr>
          <p:txBody>
            <a:bodyPr wrap="none" rtlCol="0">
              <a:spAutoFit/>
            </a:bodyPr>
            <a:lstStyle/>
            <a:p>
              <a:r>
                <a:rPr lang="es-ES" sz="800" b="1" dirty="0" smtClean="0"/>
                <a:t>P3</a:t>
              </a:r>
              <a:endParaRPr lang="en-US" sz="800" b="1" dirty="0"/>
            </a:p>
          </p:txBody>
        </p:sp>
        <p:sp>
          <p:nvSpPr>
            <p:cNvPr id="57" name="TextBox 56"/>
            <p:cNvSpPr txBox="1"/>
            <p:nvPr/>
          </p:nvSpPr>
          <p:spPr>
            <a:xfrm>
              <a:off x="5220657" y="4175362"/>
              <a:ext cx="369332" cy="622927"/>
            </a:xfrm>
            <a:prstGeom prst="rect">
              <a:avLst/>
            </a:prstGeom>
            <a:noFill/>
          </p:spPr>
          <p:txBody>
            <a:bodyPr vert="vert270" wrap="none" rtlCol="0">
              <a:spAutoFit/>
            </a:bodyPr>
            <a:lstStyle/>
            <a:p>
              <a:r>
                <a:rPr lang="es-ES" sz="1200" dirty="0" smtClean="0"/>
                <a:t>€/MWh </a:t>
              </a:r>
              <a:endParaRPr lang="en-US" sz="1200" dirty="0"/>
            </a:p>
          </p:txBody>
        </p:sp>
        <p:sp>
          <p:nvSpPr>
            <p:cNvPr id="38" name="TextBox 37"/>
            <p:cNvSpPr txBox="1"/>
            <p:nvPr/>
          </p:nvSpPr>
          <p:spPr>
            <a:xfrm rot="5400000">
              <a:off x="7986637" y="6318215"/>
              <a:ext cx="369332" cy="451406"/>
            </a:xfrm>
            <a:prstGeom prst="rect">
              <a:avLst/>
            </a:prstGeom>
            <a:noFill/>
          </p:spPr>
          <p:txBody>
            <a:bodyPr vert="vert270" wrap="none" rtlCol="0">
              <a:spAutoFit/>
            </a:bodyPr>
            <a:lstStyle/>
            <a:p>
              <a:r>
                <a:rPr lang="es-ES" sz="1200" dirty="0" smtClean="0"/>
                <a:t>MWh</a:t>
              </a:r>
              <a:endParaRPr lang="en-US" sz="1200" dirty="0"/>
            </a:p>
          </p:txBody>
        </p:sp>
      </p:grpSp>
      <p:sp>
        <p:nvSpPr>
          <p:cNvPr id="37" name="Title 1"/>
          <p:cNvSpPr txBox="1">
            <a:spLocks/>
          </p:cNvSpPr>
          <p:nvPr/>
        </p:nvSpPr>
        <p:spPr>
          <a:xfrm>
            <a:off x="447330" y="113919"/>
            <a:ext cx="8229600" cy="783654"/>
          </a:xfrm>
          <a:prstGeom prst="rect">
            <a:avLst/>
          </a:prstGeom>
        </p:spPr>
        <p:txBody>
          <a:bodyPr lIns="0" bIns="0" anchor="b" anchorCtr="0"/>
          <a:lstStyle>
            <a:lvl1pPr algn="l" rtl="0" eaLnBrk="1" fontAlgn="base" hangingPunct="1">
              <a:lnSpc>
                <a:spcPts val="2600"/>
              </a:lnSpc>
              <a:spcBef>
                <a:spcPct val="0"/>
              </a:spcBef>
              <a:spcAft>
                <a:spcPct val="0"/>
              </a:spcAft>
              <a:buFont typeface="Arial" charset="0"/>
              <a:defRPr sz="2600" kern="1200" spc="-100" baseline="0">
                <a:solidFill>
                  <a:srgbClr val="003344"/>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s-ES_tradnl" dirty="0" smtClean="0"/>
              <a:t>Mercado Mayorista de compra – venta de energía</a:t>
            </a:r>
            <a:br>
              <a:rPr lang="es-ES_tradnl" dirty="0" smtClean="0"/>
            </a:br>
            <a:r>
              <a:rPr lang="es-ES_tradnl" b="1" dirty="0" smtClean="0"/>
              <a:t>Fijación de precios</a:t>
            </a:r>
            <a:endParaRPr lang="es-ES_tradnl" b="1" dirty="0"/>
          </a:p>
        </p:txBody>
      </p:sp>
      <p:grpSp>
        <p:nvGrpSpPr>
          <p:cNvPr id="49" name="Group 48"/>
          <p:cNvGrpSpPr/>
          <p:nvPr/>
        </p:nvGrpSpPr>
        <p:grpSpPr>
          <a:xfrm>
            <a:off x="2002760" y="2915331"/>
            <a:ext cx="306037" cy="305037"/>
            <a:chOff x="1357123" y="1943345"/>
            <a:chExt cx="491441" cy="491441"/>
          </a:xfrm>
        </p:grpSpPr>
        <p:sp>
          <p:nvSpPr>
            <p:cNvPr id="50" name="Rectangle 49"/>
            <p:cNvSpPr/>
            <p:nvPr/>
          </p:nvSpPr>
          <p:spPr>
            <a:xfrm>
              <a:off x="1543527" y="1943345"/>
              <a:ext cx="118633" cy="491441"/>
            </a:xfrm>
            <a:prstGeom prst="rect">
              <a:avLst/>
            </a:prstGeom>
            <a:solidFill>
              <a:srgbClr val="99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2" name="Rectangle 51"/>
            <p:cNvSpPr/>
            <p:nvPr/>
          </p:nvSpPr>
          <p:spPr>
            <a:xfrm rot="5400000">
              <a:off x="1543527" y="1943345"/>
              <a:ext cx="118633" cy="491441"/>
            </a:xfrm>
            <a:prstGeom prst="rect">
              <a:avLst/>
            </a:prstGeom>
            <a:solidFill>
              <a:srgbClr val="99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aphicFrame>
        <p:nvGraphicFramePr>
          <p:cNvPr id="9" name="Table 8"/>
          <p:cNvGraphicFramePr>
            <a:graphicFrameLocks noGrp="1"/>
          </p:cNvGraphicFramePr>
          <p:nvPr>
            <p:extLst>
              <p:ext uri="{D42A27DB-BD31-4B8C-83A1-F6EECF244321}">
                <p14:modId xmlns:p14="http://schemas.microsoft.com/office/powerpoint/2010/main" val="1920603854"/>
              </p:ext>
            </p:extLst>
          </p:nvPr>
        </p:nvGraphicFramePr>
        <p:xfrm>
          <a:off x="4661336" y="2259844"/>
          <a:ext cx="3717064" cy="1647435"/>
        </p:xfrm>
        <a:graphic>
          <a:graphicData uri="http://schemas.openxmlformats.org/drawingml/2006/table">
            <a:tbl>
              <a:tblPr firstRow="1" bandRow="1">
                <a:tableStyleId>{C083E6E3-FA7D-4D7B-A595-EF9225AFEA82}</a:tableStyleId>
              </a:tblPr>
              <a:tblGrid>
                <a:gridCol w="2458536"/>
                <a:gridCol w="1258528"/>
              </a:tblGrid>
              <a:tr h="329487">
                <a:tc>
                  <a:txBody>
                    <a:bodyPr/>
                    <a:lstStyle/>
                    <a:p>
                      <a:r>
                        <a:rPr lang="es-ES" sz="1400" dirty="0" smtClean="0">
                          <a:solidFill>
                            <a:schemeClr val="accent1"/>
                          </a:solidFill>
                        </a:rPr>
                        <a:t>Marginal Casación</a:t>
                      </a:r>
                      <a:endParaRPr lang="es-ES" sz="14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s-ES" sz="1200" dirty="0" smtClean="0">
                          <a:solidFill>
                            <a:schemeClr val="accent1"/>
                          </a:solidFill>
                        </a:rPr>
                        <a:t>85.02%</a:t>
                      </a:r>
                      <a:endParaRPr lang="es-ES" sz="12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9487">
                <a:tc>
                  <a:txBody>
                    <a:bodyPr/>
                    <a:lstStyle/>
                    <a:p>
                      <a:r>
                        <a:rPr lang="es-ES" sz="1400" dirty="0" smtClean="0">
                          <a:solidFill>
                            <a:schemeClr val="accent1"/>
                          </a:solidFill>
                        </a:rPr>
                        <a:t>Restricciones Técnicas</a:t>
                      </a:r>
                      <a:endParaRPr lang="es-ES" sz="14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s-ES" sz="1200" dirty="0" smtClean="0">
                          <a:solidFill>
                            <a:schemeClr val="accent1"/>
                          </a:solidFill>
                        </a:rPr>
                        <a:t>5.68%</a:t>
                      </a:r>
                      <a:endParaRPr lang="es-ES" sz="12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9487">
                <a:tc>
                  <a:txBody>
                    <a:bodyPr/>
                    <a:lstStyle/>
                    <a:p>
                      <a:r>
                        <a:rPr lang="es-ES" sz="1400" dirty="0" smtClean="0">
                          <a:solidFill>
                            <a:schemeClr val="accent1"/>
                          </a:solidFill>
                        </a:rPr>
                        <a:t>Mercado </a:t>
                      </a:r>
                      <a:r>
                        <a:rPr lang="es-ES" sz="1400" dirty="0" err="1" smtClean="0">
                          <a:solidFill>
                            <a:schemeClr val="accent1"/>
                          </a:solidFill>
                        </a:rPr>
                        <a:t>Intradiario</a:t>
                      </a:r>
                      <a:endParaRPr lang="es-ES" sz="14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s-ES" sz="1200" dirty="0" smtClean="0">
                          <a:solidFill>
                            <a:schemeClr val="accent1"/>
                          </a:solidFill>
                        </a:rPr>
                        <a:t>-0.05%</a:t>
                      </a:r>
                      <a:endParaRPr lang="es-ES" sz="12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9487">
                <a:tc>
                  <a:txBody>
                    <a:bodyPr/>
                    <a:lstStyle/>
                    <a:p>
                      <a:r>
                        <a:rPr lang="es-ES" sz="1400" dirty="0" smtClean="0">
                          <a:solidFill>
                            <a:schemeClr val="accent1"/>
                          </a:solidFill>
                        </a:rPr>
                        <a:t>Pagos por Capacidad</a:t>
                      </a:r>
                      <a:endParaRPr lang="es-ES" sz="14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s-ES" sz="1200" dirty="0" smtClean="0">
                          <a:solidFill>
                            <a:schemeClr val="accent1"/>
                          </a:solidFill>
                        </a:rPr>
                        <a:t>6.65%</a:t>
                      </a:r>
                      <a:endParaRPr lang="es-ES" sz="12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9487">
                <a:tc>
                  <a:txBody>
                    <a:bodyPr/>
                    <a:lstStyle/>
                    <a:p>
                      <a:r>
                        <a:rPr lang="es-ES" sz="1400" dirty="0" smtClean="0">
                          <a:solidFill>
                            <a:schemeClr val="accent1"/>
                          </a:solidFill>
                        </a:rPr>
                        <a:t>Servicios</a:t>
                      </a:r>
                      <a:r>
                        <a:rPr lang="es-ES" sz="1400" baseline="0" dirty="0" smtClean="0">
                          <a:solidFill>
                            <a:schemeClr val="accent1"/>
                          </a:solidFill>
                        </a:rPr>
                        <a:t> Complementarios</a:t>
                      </a:r>
                      <a:endParaRPr lang="es-ES" sz="14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s-ES" sz="1200" dirty="0" smtClean="0">
                          <a:solidFill>
                            <a:schemeClr val="accent1"/>
                          </a:solidFill>
                        </a:rPr>
                        <a:t>2.70%</a:t>
                      </a:r>
                      <a:endParaRPr lang="es-ES" sz="1200" dirty="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8689096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a:defRPr/>
            </a:pPr>
            <a:fld id="{90CBDC3A-D49F-4631-A8C7-55D59B33E5FA}" type="slidenum">
              <a:rPr lang="en-US" smtClean="0"/>
              <a:pPr>
                <a:defRPr/>
              </a:pPr>
              <a:t>14</a:t>
            </a:fld>
            <a:endParaRPr lang="en-US" dirty="0"/>
          </a:p>
        </p:txBody>
      </p:sp>
      <p:sp>
        <p:nvSpPr>
          <p:cNvPr id="6" name="Title 1"/>
          <p:cNvSpPr txBox="1">
            <a:spLocks/>
          </p:cNvSpPr>
          <p:nvPr/>
        </p:nvSpPr>
        <p:spPr>
          <a:xfrm>
            <a:off x="447330" y="113919"/>
            <a:ext cx="8229600" cy="783654"/>
          </a:xfrm>
          <a:prstGeom prst="rect">
            <a:avLst/>
          </a:prstGeom>
        </p:spPr>
        <p:txBody>
          <a:bodyPr lIns="0" bIns="0" anchor="b" anchorCtr="0"/>
          <a:lstStyle>
            <a:lvl1pPr algn="l" rtl="0" eaLnBrk="1" fontAlgn="base" hangingPunct="1">
              <a:lnSpc>
                <a:spcPts val="2600"/>
              </a:lnSpc>
              <a:spcBef>
                <a:spcPct val="0"/>
              </a:spcBef>
              <a:spcAft>
                <a:spcPct val="0"/>
              </a:spcAft>
              <a:buFont typeface="Arial" charset="0"/>
              <a:defRPr sz="2600" kern="1200" spc="-100" baseline="0">
                <a:solidFill>
                  <a:srgbClr val="003344"/>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s-ES_tradnl" dirty="0" smtClean="0"/>
              <a:t>Panorama Energético en España</a:t>
            </a:r>
            <a:endParaRPr lang="es-ES_tradnl" b="1" dirty="0"/>
          </a:p>
        </p:txBody>
      </p:sp>
      <p:graphicFrame>
        <p:nvGraphicFramePr>
          <p:cNvPr id="3" name="Table 2"/>
          <p:cNvGraphicFramePr>
            <a:graphicFrameLocks noGrp="1"/>
          </p:cNvGraphicFramePr>
          <p:nvPr>
            <p:extLst>
              <p:ext uri="{D42A27DB-BD31-4B8C-83A1-F6EECF244321}">
                <p14:modId xmlns:p14="http://schemas.microsoft.com/office/powerpoint/2010/main" val="2136813339"/>
              </p:ext>
            </p:extLst>
          </p:nvPr>
        </p:nvGraphicFramePr>
        <p:xfrm>
          <a:off x="447330" y="3548530"/>
          <a:ext cx="4662552" cy="1259840"/>
        </p:xfrm>
        <a:graphic>
          <a:graphicData uri="http://schemas.openxmlformats.org/drawingml/2006/table">
            <a:tbl>
              <a:tblPr firstRow="1" bandRow="1">
                <a:tableStyleId>{FABFCF23-3B69-468F-B69F-88F6DE6A72F2}</a:tableStyleId>
              </a:tblPr>
              <a:tblGrid>
                <a:gridCol w="1144802"/>
                <a:gridCol w="849854"/>
                <a:gridCol w="828339"/>
                <a:gridCol w="989703"/>
                <a:gridCol w="849854"/>
              </a:tblGrid>
              <a:tr h="370840">
                <a:tc>
                  <a:txBody>
                    <a:bodyPr/>
                    <a:lstStyle/>
                    <a:p>
                      <a:pPr algn="l"/>
                      <a:r>
                        <a:rPr lang="es-ES" sz="1400" dirty="0" smtClean="0"/>
                        <a:t>Precio*</a:t>
                      </a:r>
                      <a:r>
                        <a:rPr lang="es-ES" sz="1400" baseline="0" dirty="0" smtClean="0"/>
                        <a:t/>
                      </a:r>
                      <a:br>
                        <a:rPr lang="es-ES" sz="1400" baseline="0" dirty="0" smtClean="0"/>
                      </a:br>
                      <a:r>
                        <a:rPr lang="es-ES" sz="1400" dirty="0" smtClean="0"/>
                        <a:t>(c€/</a:t>
                      </a:r>
                      <a:r>
                        <a:rPr lang="es-ES" sz="1400" dirty="0" err="1" smtClean="0"/>
                        <a:t>kWh</a:t>
                      </a:r>
                      <a:r>
                        <a:rPr lang="es-ES" sz="1400" dirty="0" smtClean="0"/>
                        <a:t>)</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España</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Francia</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Alemania</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UK</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es-ES" sz="1400" dirty="0" smtClean="0"/>
                        <a:t>Industriales</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1,55</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8,09</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8,95</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0,97</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es-ES" sz="1400" dirty="0" smtClean="0"/>
                        <a:t>Domésticos</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7,66</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9,86</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4,41</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6,03</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725114639"/>
              </p:ext>
            </p:extLst>
          </p:nvPr>
        </p:nvGraphicFramePr>
        <p:xfrm>
          <a:off x="447330" y="1162126"/>
          <a:ext cx="4651795" cy="2225040"/>
        </p:xfrm>
        <a:graphic>
          <a:graphicData uri="http://schemas.openxmlformats.org/drawingml/2006/table">
            <a:tbl>
              <a:tblPr firstRow="1" bandRow="1">
                <a:tableStyleId>{FABFCF23-3B69-468F-B69F-88F6DE6A72F2}</a:tableStyleId>
              </a:tblPr>
              <a:tblGrid>
                <a:gridCol w="3124209"/>
                <a:gridCol w="1527586"/>
              </a:tblGrid>
              <a:tr h="370840">
                <a:tc>
                  <a:txBody>
                    <a:bodyPr/>
                    <a:lstStyle/>
                    <a:p>
                      <a:pPr algn="l"/>
                      <a:r>
                        <a:rPr lang="es-ES" sz="1400" dirty="0" smtClean="0"/>
                        <a:t>Parámetros Físicos</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España</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l"/>
                      <a:r>
                        <a:rPr lang="es-ES" sz="1400" dirty="0" smtClean="0"/>
                        <a:t>Capacidad Instalada (GW)</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02,5</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l"/>
                      <a:r>
                        <a:rPr lang="es-ES" sz="1400" dirty="0" smtClean="0"/>
                        <a:t>Potencia</a:t>
                      </a:r>
                      <a:r>
                        <a:rPr lang="es-ES" sz="1400" baseline="0" dirty="0" smtClean="0"/>
                        <a:t> Punta (GW)</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43,53</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l"/>
                      <a:r>
                        <a:rPr lang="es-ES" sz="1400" dirty="0" smtClean="0"/>
                        <a:t>P </a:t>
                      </a:r>
                      <a:r>
                        <a:rPr lang="es-ES" sz="1400" baseline="0" dirty="0" err="1" smtClean="0"/>
                        <a:t>máx</a:t>
                      </a:r>
                      <a:r>
                        <a:rPr lang="es-ES" sz="1400" baseline="0" dirty="0" smtClean="0"/>
                        <a:t>/ P instalada</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42,5%</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l"/>
                      <a:r>
                        <a:rPr lang="es-ES" sz="1400" dirty="0" smtClean="0"/>
                        <a:t>Demanda Energía anual (</a:t>
                      </a:r>
                      <a:r>
                        <a:rPr lang="es-ES" sz="1400" dirty="0" err="1" smtClean="0"/>
                        <a:t>TWh</a:t>
                      </a:r>
                      <a:r>
                        <a:rPr lang="es-ES" sz="1400" dirty="0" smtClean="0"/>
                        <a:t>)</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250</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l"/>
                      <a:r>
                        <a:rPr lang="es-ES" sz="1400" dirty="0" smtClean="0"/>
                        <a:t>Red</a:t>
                      </a:r>
                      <a:r>
                        <a:rPr lang="es-ES" sz="1400" baseline="0" dirty="0" smtClean="0"/>
                        <a:t> de Transporte (km)</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41,369</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396847803"/>
              </p:ext>
            </p:extLst>
          </p:nvPr>
        </p:nvGraphicFramePr>
        <p:xfrm>
          <a:off x="447330" y="4980790"/>
          <a:ext cx="5211193" cy="1407160"/>
        </p:xfrm>
        <a:graphic>
          <a:graphicData uri="http://schemas.openxmlformats.org/drawingml/2006/table">
            <a:tbl>
              <a:tblPr firstRow="1" bandRow="1">
                <a:tableStyleId>{FABFCF23-3B69-468F-B69F-88F6DE6A72F2}</a:tableStyleId>
              </a:tblPr>
              <a:tblGrid>
                <a:gridCol w="1392228"/>
                <a:gridCol w="1199933"/>
                <a:gridCol w="822504"/>
                <a:gridCol w="816348"/>
                <a:gridCol w="980180"/>
              </a:tblGrid>
              <a:tr h="370840">
                <a:tc>
                  <a:txBody>
                    <a:bodyPr/>
                    <a:lstStyle/>
                    <a:p>
                      <a:pPr algn="l"/>
                      <a:r>
                        <a:rPr lang="es-ES" sz="1400" dirty="0" smtClean="0"/>
                        <a:t>Calidad de Suministro</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España</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Países</a:t>
                      </a:r>
                      <a:r>
                        <a:rPr lang="es-ES" sz="1400" baseline="0" dirty="0" smtClean="0"/>
                        <a:t> Bajos</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EEUU</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Nueva Zelanda</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l"/>
                      <a:r>
                        <a:rPr lang="es-ES" sz="1400" dirty="0" smtClean="0"/>
                        <a:t>TIEPI (h)</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12</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0,3</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2</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2</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l"/>
                      <a:r>
                        <a:rPr lang="es-ES" sz="1400" dirty="0" smtClean="0"/>
                        <a:t>NIEPI (nº de ocurrencias)</a:t>
                      </a:r>
                      <a:endParaRPr lang="es-ES" sz="1400" dirty="0"/>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47</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0,23</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7</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400" dirty="0" smtClean="0"/>
                        <a:t>1</a:t>
                      </a:r>
                      <a:endParaRPr lang="es-ES" sz="14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10" name="Chart 9"/>
          <p:cNvGraphicFramePr>
            <a:graphicFrameLocks/>
          </p:cNvGraphicFramePr>
          <p:nvPr>
            <p:extLst>
              <p:ext uri="{D42A27DB-BD31-4B8C-83A1-F6EECF244321}">
                <p14:modId xmlns:p14="http://schemas.microsoft.com/office/powerpoint/2010/main" val="2589771860"/>
              </p:ext>
            </p:extLst>
          </p:nvPr>
        </p:nvGraphicFramePr>
        <p:xfrm>
          <a:off x="5180694" y="2229524"/>
          <a:ext cx="4630279" cy="328915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5863392" y="6222116"/>
            <a:ext cx="2813538" cy="261610"/>
          </a:xfrm>
          <a:prstGeom prst="rect">
            <a:avLst/>
          </a:prstGeom>
          <a:noFill/>
        </p:spPr>
        <p:txBody>
          <a:bodyPr wrap="square" rtlCol="0">
            <a:spAutoFit/>
          </a:bodyPr>
          <a:lstStyle/>
          <a:p>
            <a:r>
              <a:rPr lang="es-ES" sz="1100" i="1" dirty="0" smtClean="0"/>
              <a:t>* Precio final facturado</a:t>
            </a:r>
            <a:endParaRPr lang="pt-PT" sz="1100" i="1" dirty="0"/>
          </a:p>
        </p:txBody>
      </p:sp>
    </p:spTree>
    <p:extLst>
      <p:ext uri="{BB962C8B-B14F-4D97-AF65-F5344CB8AC3E}">
        <p14:creationId xmlns:p14="http://schemas.microsoft.com/office/powerpoint/2010/main" val="11270538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1"/>
          </p:nvPr>
        </p:nvSpPr>
        <p:spPr>
          <a:xfrm>
            <a:off x="446151" y="525183"/>
            <a:ext cx="8251698" cy="5807635"/>
          </a:xfrm>
        </p:spPr>
        <p:txBody>
          <a:bodyPr>
            <a:noAutofit/>
          </a:bodyPr>
          <a:lstStyle/>
          <a:p>
            <a:pPr>
              <a:spcBef>
                <a:spcPts val="1200"/>
              </a:spcBef>
              <a:spcAft>
                <a:spcPts val="600"/>
              </a:spcAft>
            </a:pPr>
            <a:r>
              <a:rPr lang="es-ES_tradnl" dirty="0">
                <a:solidFill>
                  <a:schemeClr val="bg1">
                    <a:lumMod val="65000"/>
                  </a:schemeClr>
                </a:solidFill>
              </a:rPr>
              <a:t>Esquema General.</a:t>
            </a:r>
          </a:p>
          <a:p>
            <a:pPr>
              <a:spcBef>
                <a:spcPts val="1200"/>
              </a:spcBef>
              <a:spcAft>
                <a:spcPts val="600"/>
              </a:spcAft>
            </a:pPr>
            <a:r>
              <a:rPr lang="es-ES_tradnl" dirty="0">
                <a:solidFill>
                  <a:schemeClr val="bg1">
                    <a:lumMod val="65000"/>
                  </a:schemeClr>
                </a:solidFill>
              </a:rPr>
              <a:t>Introducción a la cadena de valor.</a:t>
            </a:r>
          </a:p>
          <a:p>
            <a:pPr>
              <a:spcBef>
                <a:spcPts val="1200"/>
              </a:spcBef>
              <a:spcAft>
                <a:spcPts val="600"/>
              </a:spcAft>
            </a:pPr>
            <a:r>
              <a:rPr lang="es-ES_tradnl" dirty="0" smtClean="0">
                <a:solidFill>
                  <a:schemeClr val="bg1">
                    <a:lumMod val="65000"/>
                  </a:schemeClr>
                </a:solidFill>
              </a:rPr>
              <a:t>Remuneración Actividades Liberalizadas </a:t>
            </a:r>
          </a:p>
          <a:p>
            <a:pPr>
              <a:spcBef>
                <a:spcPts val="1200"/>
              </a:spcBef>
              <a:spcAft>
                <a:spcPts val="600"/>
              </a:spcAft>
            </a:pPr>
            <a:r>
              <a:rPr lang="es-ES_tradnl" dirty="0">
                <a:solidFill>
                  <a:schemeClr val="tx1"/>
                </a:solidFill>
              </a:rPr>
              <a:t>Remuneración de Actividades Reguladas</a:t>
            </a:r>
          </a:p>
          <a:p>
            <a:pPr>
              <a:spcBef>
                <a:spcPts val="1200"/>
              </a:spcBef>
              <a:spcAft>
                <a:spcPts val="600"/>
              </a:spcAft>
            </a:pPr>
            <a:r>
              <a:rPr lang="es-ES_tradnl" dirty="0" smtClean="0">
                <a:solidFill>
                  <a:schemeClr val="bg1">
                    <a:lumMod val="65000"/>
                  </a:schemeClr>
                </a:solidFill>
              </a:rPr>
              <a:t>Situación en España. Déficit de tarifa</a:t>
            </a:r>
          </a:p>
          <a:p>
            <a:pPr>
              <a:spcBef>
                <a:spcPts val="1200"/>
              </a:spcBef>
              <a:spcAft>
                <a:spcPts val="600"/>
              </a:spcAft>
            </a:pPr>
            <a:r>
              <a:rPr lang="es-ES_tradnl" dirty="0" smtClean="0">
                <a:solidFill>
                  <a:schemeClr val="bg1">
                    <a:lumMod val="65000"/>
                  </a:schemeClr>
                </a:solidFill>
              </a:rPr>
              <a:t>Mapa de procesos.</a:t>
            </a:r>
          </a:p>
          <a:p>
            <a:pPr>
              <a:spcBef>
                <a:spcPts val="1200"/>
              </a:spcBef>
              <a:spcAft>
                <a:spcPts val="600"/>
              </a:spcAft>
            </a:pPr>
            <a:r>
              <a:rPr lang="es-ES_tradnl" dirty="0" smtClean="0">
                <a:solidFill>
                  <a:schemeClr val="bg1">
                    <a:lumMod val="65000"/>
                  </a:schemeClr>
                </a:solidFill>
              </a:rPr>
              <a:t>Nuevas tecnologías.</a:t>
            </a:r>
          </a:p>
          <a:p>
            <a:pPr>
              <a:spcBef>
                <a:spcPts val="1200"/>
              </a:spcBef>
              <a:spcAft>
                <a:spcPts val="600"/>
              </a:spcAft>
            </a:pPr>
            <a:r>
              <a:rPr lang="es-ES_tradnl" dirty="0" smtClean="0">
                <a:solidFill>
                  <a:schemeClr val="bg1">
                    <a:lumMod val="65000"/>
                  </a:schemeClr>
                </a:solidFill>
              </a:rPr>
              <a:t>Offerings de Accenture.</a:t>
            </a:r>
          </a:p>
          <a:p>
            <a:pPr>
              <a:spcBef>
                <a:spcPts val="1200"/>
              </a:spcBef>
              <a:spcAft>
                <a:spcPts val="600"/>
              </a:spcAft>
            </a:pPr>
            <a:r>
              <a:rPr lang="es-ES_tradnl" dirty="0" smtClean="0">
                <a:solidFill>
                  <a:schemeClr val="bg1">
                    <a:lumMod val="65000"/>
                  </a:schemeClr>
                </a:solidFill>
              </a:rPr>
              <a:t>Experiencias Accenture.</a:t>
            </a:r>
          </a:p>
        </p:txBody>
      </p:sp>
      <p:sp>
        <p:nvSpPr>
          <p:cNvPr id="40" name="Slide Number Placeholder 39"/>
          <p:cNvSpPr>
            <a:spLocks noGrp="1"/>
          </p:cNvSpPr>
          <p:nvPr>
            <p:ph type="sldNum" sz="quarter" idx="4"/>
          </p:nvPr>
        </p:nvSpPr>
        <p:spPr/>
        <p:txBody>
          <a:bodyPr/>
          <a:lstStyle/>
          <a:p>
            <a:fld id="{90CBDC3A-D49F-4631-A8C7-55D59B33E5FA}" type="slidenum">
              <a:rPr lang="en-US" smtClean="0"/>
              <a:pPr/>
              <a:t>15</a:t>
            </a:fld>
            <a:endParaRPr lang="en-US" dirty="0"/>
          </a:p>
        </p:txBody>
      </p:sp>
      <p:sp>
        <p:nvSpPr>
          <p:cNvPr id="5" name="Rounded Rectangle 4"/>
          <p:cNvSpPr/>
          <p:nvPr/>
        </p:nvSpPr>
        <p:spPr>
          <a:xfrm>
            <a:off x="281354" y="2293062"/>
            <a:ext cx="8707901" cy="6752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8100452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06618" y="5303735"/>
            <a:ext cx="8319881" cy="1173265"/>
            <a:chOff x="317500" y="5532335"/>
            <a:chExt cx="8509000" cy="970065"/>
          </a:xfrm>
        </p:grpSpPr>
        <p:sp>
          <p:nvSpPr>
            <p:cNvPr id="2" name="L-Shape 1"/>
            <p:cNvSpPr/>
            <p:nvPr/>
          </p:nvSpPr>
          <p:spPr>
            <a:xfrm>
              <a:off x="317500" y="5532335"/>
              <a:ext cx="8509000" cy="970065"/>
            </a:xfrm>
            <a:prstGeom prst="corner">
              <a:avLst>
                <a:gd name="adj1" fmla="val 50000"/>
                <a:gd name="adj2" fmla="val 185184"/>
              </a:avLst>
            </a:prstGeom>
            <a:solidFill>
              <a:srgbClr val="408FCD"/>
            </a:solidFill>
            <a:ln w="127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pt-PT">
                <a:solidFill>
                  <a:schemeClr val="tx1"/>
                </a:solidFill>
                <a:latin typeface="+mj-lt"/>
              </a:endParaRPr>
            </a:p>
          </p:txBody>
        </p:sp>
        <p:sp>
          <p:nvSpPr>
            <p:cNvPr id="21" name="L-Shape 20"/>
            <p:cNvSpPr/>
            <p:nvPr/>
          </p:nvSpPr>
          <p:spPr>
            <a:xfrm flipH="1">
              <a:off x="4762500" y="5532335"/>
              <a:ext cx="4064000" cy="970065"/>
            </a:xfrm>
            <a:prstGeom prst="corner">
              <a:avLst>
                <a:gd name="adj1" fmla="val 50000"/>
                <a:gd name="adj2" fmla="val 191978"/>
              </a:avLst>
            </a:prstGeom>
            <a:solidFill>
              <a:srgbClr val="408FCD"/>
            </a:solidFill>
            <a:ln w="127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pt-PT">
                <a:solidFill>
                  <a:schemeClr val="tx1"/>
                </a:solidFill>
                <a:latin typeface="+mj-lt"/>
              </a:endParaRPr>
            </a:p>
          </p:txBody>
        </p:sp>
      </p:grpSp>
      <p:sp>
        <p:nvSpPr>
          <p:cNvPr id="52" name="Down Arrow Callout 51"/>
          <p:cNvSpPr/>
          <p:nvPr/>
        </p:nvSpPr>
        <p:spPr>
          <a:xfrm>
            <a:off x="6573590" y="2298696"/>
            <a:ext cx="2164010" cy="3005039"/>
          </a:xfrm>
          <a:prstGeom prst="downArrowCallout">
            <a:avLst>
              <a:gd name="adj1" fmla="val 15036"/>
              <a:gd name="adj2" fmla="val 17716"/>
              <a:gd name="adj3" fmla="val 8339"/>
              <a:gd name="adj4" fmla="val 89715"/>
            </a:avLst>
          </a:prstGeom>
          <a:solidFill>
            <a:srgbClr val="408FCD"/>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51" name="Down Arrow Callout 50"/>
          <p:cNvSpPr/>
          <p:nvPr/>
        </p:nvSpPr>
        <p:spPr>
          <a:xfrm>
            <a:off x="2896442" y="2298697"/>
            <a:ext cx="3420684" cy="2702247"/>
          </a:xfrm>
          <a:prstGeom prst="downArrowCallout">
            <a:avLst>
              <a:gd name="adj1" fmla="val 15025"/>
              <a:gd name="adj2" fmla="val 15409"/>
              <a:gd name="adj3" fmla="val 6881"/>
              <a:gd name="adj4" fmla="val 89715"/>
            </a:avLst>
          </a:prstGeom>
          <a:solidFill>
            <a:srgbClr val="FF0000"/>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49" name="Down Arrow Callout 48"/>
          <p:cNvSpPr/>
          <p:nvPr/>
        </p:nvSpPr>
        <p:spPr>
          <a:xfrm>
            <a:off x="506620" y="2298696"/>
            <a:ext cx="2164010" cy="3005039"/>
          </a:xfrm>
          <a:prstGeom prst="downArrowCallout">
            <a:avLst>
              <a:gd name="adj1" fmla="val 25000"/>
              <a:gd name="adj2" fmla="val 25000"/>
              <a:gd name="adj3" fmla="val 9567"/>
              <a:gd name="adj4" fmla="val 89715"/>
            </a:avLst>
          </a:prstGeom>
          <a:solidFill>
            <a:srgbClr val="408FCD"/>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28" name="Title 27"/>
          <p:cNvSpPr>
            <a:spLocks noGrp="1"/>
          </p:cNvSpPr>
          <p:nvPr>
            <p:ph type="title"/>
          </p:nvPr>
        </p:nvSpPr>
        <p:spPr>
          <a:xfrm>
            <a:off x="433262" y="113919"/>
            <a:ext cx="8229600" cy="783654"/>
          </a:xfrm>
        </p:spPr>
        <p:txBody>
          <a:bodyPr/>
          <a:lstStyle/>
          <a:p>
            <a:r>
              <a:rPr lang="es-ES_tradnl" b="1" dirty="0" smtClean="0"/>
              <a:t>Remuneración de Actividades Reguladas</a:t>
            </a:r>
            <a:endParaRPr lang="es-ES_tradnl" b="1" dirty="0"/>
          </a:p>
        </p:txBody>
      </p:sp>
      <p:sp>
        <p:nvSpPr>
          <p:cNvPr id="40" name="Slide Number Placeholder 39"/>
          <p:cNvSpPr>
            <a:spLocks noGrp="1"/>
          </p:cNvSpPr>
          <p:nvPr>
            <p:ph type="sldNum" sz="quarter" idx="4"/>
          </p:nvPr>
        </p:nvSpPr>
        <p:spPr/>
        <p:txBody>
          <a:bodyPr/>
          <a:lstStyle/>
          <a:p>
            <a:pPr>
              <a:defRPr/>
            </a:pPr>
            <a:fld id="{90CBDC3A-D49F-4631-A8C7-55D59B33E5FA}" type="slidenum">
              <a:rPr lang="es-ES_tradnl" smtClean="0">
                <a:latin typeface="+mj-lt"/>
              </a:rPr>
              <a:pPr>
                <a:defRPr/>
              </a:pPr>
              <a:t>16</a:t>
            </a:fld>
            <a:endParaRPr lang="es-ES_tradnl">
              <a:latin typeface="+mj-lt"/>
            </a:endParaRPr>
          </a:p>
        </p:txBody>
      </p:sp>
      <p:sp>
        <p:nvSpPr>
          <p:cNvPr id="3" name="Pentagon 2"/>
          <p:cNvSpPr/>
          <p:nvPr/>
        </p:nvSpPr>
        <p:spPr>
          <a:xfrm>
            <a:off x="506619" y="1321872"/>
            <a:ext cx="2164010" cy="784404"/>
          </a:xfrm>
          <a:prstGeom prst="homePlate">
            <a:avLst>
              <a:gd name="adj" fmla="val 38213"/>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smtClean="0">
                <a:latin typeface="+mj-lt"/>
              </a:rPr>
              <a:t>Generación</a:t>
            </a:r>
            <a:endParaRPr lang="es-ES_tradnl" sz="1400" dirty="0">
              <a:latin typeface="+mj-lt"/>
            </a:endParaRPr>
          </a:p>
        </p:txBody>
      </p:sp>
      <p:sp>
        <p:nvSpPr>
          <p:cNvPr id="26" name="Chevron 25"/>
          <p:cNvSpPr/>
          <p:nvPr/>
        </p:nvSpPr>
        <p:spPr>
          <a:xfrm>
            <a:off x="2715798" y="1321872"/>
            <a:ext cx="1981189" cy="784404"/>
          </a:xfrm>
          <a:prstGeom prst="chevron">
            <a:avLst>
              <a:gd name="adj" fmla="val 38214"/>
            </a:avLst>
          </a:prstGeom>
          <a:solidFill>
            <a:schemeClr val="bg1">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a:latin typeface="+mj-lt"/>
              </a:rPr>
              <a:t>Transporte</a:t>
            </a:r>
          </a:p>
        </p:txBody>
      </p:sp>
      <p:sp>
        <p:nvSpPr>
          <p:cNvPr id="37" name="Chevron 36"/>
          <p:cNvSpPr/>
          <p:nvPr/>
        </p:nvSpPr>
        <p:spPr>
          <a:xfrm>
            <a:off x="4485851" y="1321872"/>
            <a:ext cx="1981189" cy="784404"/>
          </a:xfrm>
          <a:prstGeom prst="chevron">
            <a:avLst>
              <a:gd name="adj" fmla="val 38214"/>
            </a:avLst>
          </a:prstGeom>
          <a:solidFill>
            <a:schemeClr val="bg1">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a:latin typeface="+mj-lt"/>
              </a:rPr>
              <a:t>Distribución</a:t>
            </a:r>
          </a:p>
        </p:txBody>
      </p:sp>
      <p:sp>
        <p:nvSpPr>
          <p:cNvPr id="38" name="Chevron 37"/>
          <p:cNvSpPr/>
          <p:nvPr/>
        </p:nvSpPr>
        <p:spPr>
          <a:xfrm>
            <a:off x="6446132" y="1321872"/>
            <a:ext cx="2207372" cy="784404"/>
          </a:xfrm>
          <a:prstGeom prst="chevron">
            <a:avLst>
              <a:gd name="adj" fmla="val 38214"/>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a:latin typeface="+mj-lt"/>
              </a:rPr>
              <a:t>Comercialización</a:t>
            </a:r>
          </a:p>
        </p:txBody>
      </p:sp>
      <p:sp>
        <p:nvSpPr>
          <p:cNvPr id="41" name="Text Box 15"/>
          <p:cNvSpPr txBox="1">
            <a:spLocks noChangeArrowheads="1"/>
          </p:cNvSpPr>
          <p:nvPr/>
        </p:nvSpPr>
        <p:spPr bwMode="gray">
          <a:xfrm>
            <a:off x="615685" y="2405587"/>
            <a:ext cx="1945879" cy="2186364"/>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oAutofit/>
          </a:bodyPr>
          <a:lstStyle/>
          <a:p>
            <a:pPr algn="ctr">
              <a:spcBef>
                <a:spcPct val="50000"/>
              </a:spcBef>
            </a:pPr>
            <a:r>
              <a:rPr lang="es-ES_tradnl" sz="1200" b="1" dirty="0" smtClean="0">
                <a:solidFill>
                  <a:schemeClr val="accent1"/>
                </a:solidFill>
                <a:latin typeface="+mj-lt"/>
              </a:rPr>
              <a:t>ACTIVIDAD </a:t>
            </a:r>
            <a:r>
              <a:rPr lang="es-ES_tradnl" sz="1200" b="1" dirty="0">
                <a:solidFill>
                  <a:schemeClr val="accent1"/>
                </a:solidFill>
                <a:latin typeface="+mj-lt"/>
              </a:rPr>
              <a:t>LIBERALIZADA</a:t>
            </a:r>
          </a:p>
          <a:p>
            <a:pPr marL="171450" indent="-171450">
              <a:spcBef>
                <a:spcPct val="50000"/>
              </a:spcBef>
              <a:buSzPct val="100000"/>
              <a:buFont typeface="Arial" pitchFamily="34" charset="0"/>
              <a:buChar char="•"/>
            </a:pPr>
            <a:r>
              <a:rPr lang="es-ES_tradnl" sz="1100" dirty="0">
                <a:solidFill>
                  <a:schemeClr val="accent1"/>
                </a:solidFill>
              </a:rPr>
              <a:t>Intensamente competitiva</a:t>
            </a:r>
          </a:p>
          <a:p>
            <a:pPr marL="171450" indent="-171450">
              <a:spcBef>
                <a:spcPct val="50000"/>
              </a:spcBef>
              <a:buSzPct val="100000"/>
              <a:buFont typeface="Arial" pitchFamily="34" charset="0"/>
              <a:buChar char="•"/>
            </a:pPr>
            <a:r>
              <a:rPr lang="es-ES_tradnl" sz="1100" dirty="0">
                <a:solidFill>
                  <a:schemeClr val="accent1"/>
                </a:solidFill>
              </a:rPr>
              <a:t>Mercado Mayorista</a:t>
            </a:r>
          </a:p>
          <a:p>
            <a:pPr marL="171450" indent="-171450">
              <a:spcBef>
                <a:spcPct val="50000"/>
              </a:spcBef>
              <a:buSzPct val="100000"/>
              <a:buFont typeface="Arial" pitchFamily="34" charset="0"/>
              <a:buChar char="•"/>
            </a:pPr>
            <a:r>
              <a:rPr lang="es-ES_tradnl" sz="1100" dirty="0">
                <a:solidFill>
                  <a:schemeClr val="accent1"/>
                </a:solidFill>
              </a:rPr>
              <a:t>Competencia basada en costes</a:t>
            </a:r>
          </a:p>
          <a:p>
            <a:pPr marL="171450" indent="-171450">
              <a:spcBef>
                <a:spcPct val="50000"/>
              </a:spcBef>
              <a:buSzPct val="100000"/>
              <a:buFont typeface="Arial" pitchFamily="34" charset="0"/>
              <a:buChar char="•"/>
            </a:pPr>
            <a:r>
              <a:rPr lang="es-ES_tradnl" sz="1100" dirty="0" err="1">
                <a:solidFill>
                  <a:schemeClr val="accent1"/>
                </a:solidFill>
              </a:rPr>
              <a:t>Mix</a:t>
            </a:r>
            <a:r>
              <a:rPr lang="es-ES_tradnl" sz="1100" dirty="0">
                <a:solidFill>
                  <a:schemeClr val="accent1"/>
                </a:solidFill>
              </a:rPr>
              <a:t> de generación </a:t>
            </a:r>
            <a:r>
              <a:rPr lang="es-ES_tradnl" sz="1100" dirty="0" smtClean="0">
                <a:solidFill>
                  <a:schemeClr val="accent1"/>
                </a:solidFill>
              </a:rPr>
              <a:t>diversificado</a:t>
            </a:r>
            <a:endParaRPr lang="es-ES_tradnl" sz="1100" dirty="0">
              <a:solidFill>
                <a:schemeClr val="accent1"/>
              </a:solidFill>
            </a:endParaRPr>
          </a:p>
        </p:txBody>
      </p:sp>
      <p:sp>
        <p:nvSpPr>
          <p:cNvPr id="42" name="Text Box 15"/>
          <p:cNvSpPr txBox="1">
            <a:spLocks noChangeArrowheads="1"/>
          </p:cNvSpPr>
          <p:nvPr/>
        </p:nvSpPr>
        <p:spPr bwMode="gray">
          <a:xfrm>
            <a:off x="3036167" y="2431386"/>
            <a:ext cx="3141234" cy="2159708"/>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oAutofit/>
          </a:bodyPr>
          <a:lstStyle>
            <a:defPPr>
              <a:defRPr lang="en-US"/>
            </a:defPPr>
            <a:lvl1pPr algn="ctr">
              <a:spcBef>
                <a:spcPct val="50000"/>
              </a:spcBef>
              <a:defRPr sz="1200" b="1"/>
            </a:lvl1pPr>
          </a:lstStyle>
          <a:p>
            <a:pPr>
              <a:spcBef>
                <a:spcPts val="1000"/>
              </a:spcBef>
            </a:pPr>
            <a:r>
              <a:rPr lang="es-ES_tradnl" dirty="0" smtClean="0">
                <a:solidFill>
                  <a:schemeClr val="accent1"/>
                </a:solidFill>
                <a:latin typeface="+mj-lt"/>
              </a:rPr>
              <a:t>ACTIVIDADES REGULADAS</a:t>
            </a:r>
          </a:p>
          <a:p>
            <a:pPr marL="171450" indent="-171450" algn="l">
              <a:spcBef>
                <a:spcPts val="600"/>
              </a:spcBef>
              <a:spcAft>
                <a:spcPts val="600"/>
              </a:spcAft>
              <a:buFont typeface="Arial" pitchFamily="34" charset="0"/>
              <a:buChar char="•"/>
            </a:pPr>
            <a:r>
              <a:rPr lang="es-ES_tradnl" sz="1100" b="0" dirty="0">
                <a:solidFill>
                  <a:schemeClr val="accent1"/>
                </a:solidFill>
              </a:rPr>
              <a:t>Monopolio natural debido a los elevados costes fijos </a:t>
            </a:r>
          </a:p>
          <a:p>
            <a:pPr marL="171450" indent="-171450" algn="l">
              <a:spcBef>
                <a:spcPts val="600"/>
              </a:spcBef>
              <a:spcAft>
                <a:spcPts val="600"/>
              </a:spcAft>
              <a:buFont typeface="Arial" pitchFamily="34" charset="0"/>
              <a:buChar char="•"/>
            </a:pPr>
            <a:r>
              <a:rPr lang="es-ES_tradnl" sz="1100" b="0" dirty="0">
                <a:solidFill>
                  <a:schemeClr val="accent1"/>
                </a:solidFill>
              </a:rPr>
              <a:t>Necesidad de expandir la red de manera continua para adecuarse al aumento de demanda</a:t>
            </a:r>
          </a:p>
          <a:p>
            <a:pPr marL="171450" indent="-171450" algn="l">
              <a:spcBef>
                <a:spcPts val="600"/>
              </a:spcBef>
              <a:spcAft>
                <a:spcPts val="600"/>
              </a:spcAft>
              <a:buFont typeface="Arial" pitchFamily="34" charset="0"/>
              <a:buChar char="•"/>
            </a:pPr>
            <a:r>
              <a:rPr lang="es-ES_tradnl" sz="1100" b="0" dirty="0">
                <a:solidFill>
                  <a:schemeClr val="accent1"/>
                </a:solidFill>
              </a:rPr>
              <a:t>Clientes cautivos</a:t>
            </a:r>
          </a:p>
          <a:p>
            <a:pPr marL="171450" indent="-171450" algn="l">
              <a:spcBef>
                <a:spcPts val="600"/>
              </a:spcBef>
              <a:spcAft>
                <a:spcPts val="600"/>
              </a:spcAft>
              <a:buFont typeface="Arial" pitchFamily="34" charset="0"/>
              <a:buChar char="•"/>
            </a:pPr>
            <a:r>
              <a:rPr lang="es-ES_tradnl" sz="1100" b="0" dirty="0">
                <a:solidFill>
                  <a:schemeClr val="accent1"/>
                </a:solidFill>
              </a:rPr>
              <a:t>Eficiencia en costes crítica</a:t>
            </a:r>
          </a:p>
        </p:txBody>
      </p:sp>
      <p:sp>
        <p:nvSpPr>
          <p:cNvPr id="43" name="Text Box 15"/>
          <p:cNvSpPr txBox="1">
            <a:spLocks noChangeArrowheads="1"/>
          </p:cNvSpPr>
          <p:nvPr/>
        </p:nvSpPr>
        <p:spPr bwMode="gray">
          <a:xfrm>
            <a:off x="6682656" y="2442240"/>
            <a:ext cx="1945879" cy="214971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oAutofit/>
          </a:bodyPr>
          <a:lstStyle/>
          <a:p>
            <a:pPr algn="ctr">
              <a:spcBef>
                <a:spcPts val="1200"/>
              </a:spcBef>
            </a:pPr>
            <a:r>
              <a:rPr lang="es-ES_tradnl" sz="1200" b="1" dirty="0" smtClean="0">
                <a:solidFill>
                  <a:schemeClr val="accent1"/>
                </a:solidFill>
                <a:latin typeface="+mj-lt"/>
              </a:rPr>
              <a:t>ACTIVIDAD LIBERALIZADA</a:t>
            </a:r>
            <a:endParaRPr lang="es-ES_tradnl" sz="1200" b="1" dirty="0">
              <a:solidFill>
                <a:schemeClr val="accent1"/>
              </a:solidFill>
              <a:latin typeface="+mj-lt"/>
            </a:endParaRPr>
          </a:p>
          <a:p>
            <a:pPr marL="171450" indent="-171450">
              <a:spcBef>
                <a:spcPts val="1200"/>
              </a:spcBef>
              <a:buFont typeface="Arial" pitchFamily="34" charset="0"/>
              <a:buChar char="•"/>
            </a:pPr>
            <a:r>
              <a:rPr lang="es-ES_tradnl" sz="1100" dirty="0">
                <a:solidFill>
                  <a:schemeClr val="accent1"/>
                </a:solidFill>
              </a:rPr>
              <a:t>Actividad competitiva</a:t>
            </a:r>
          </a:p>
          <a:p>
            <a:pPr marL="171450" indent="-171450">
              <a:spcBef>
                <a:spcPts val="1200"/>
              </a:spcBef>
              <a:buFont typeface="Arial" pitchFamily="34" charset="0"/>
              <a:buChar char="•"/>
            </a:pPr>
            <a:r>
              <a:rPr lang="es-ES_tradnl" sz="1100" dirty="0">
                <a:solidFill>
                  <a:schemeClr val="accent1"/>
                </a:solidFill>
              </a:rPr>
              <a:t>Mercado Minorista y Mayorista</a:t>
            </a:r>
          </a:p>
          <a:p>
            <a:pPr marL="171450" indent="-171450">
              <a:spcBef>
                <a:spcPts val="1200"/>
              </a:spcBef>
              <a:buFont typeface="Arial" pitchFamily="34" charset="0"/>
              <a:buChar char="•"/>
            </a:pPr>
            <a:r>
              <a:rPr lang="es-ES_tradnl" sz="1100" dirty="0">
                <a:solidFill>
                  <a:schemeClr val="accent1"/>
                </a:solidFill>
              </a:rPr>
              <a:t>Protección a consumidores vulnerables</a:t>
            </a:r>
          </a:p>
        </p:txBody>
      </p:sp>
      <p:sp>
        <p:nvSpPr>
          <p:cNvPr id="55" name="Text Box 15"/>
          <p:cNvSpPr txBox="1">
            <a:spLocks noChangeArrowheads="1"/>
          </p:cNvSpPr>
          <p:nvPr/>
        </p:nvSpPr>
        <p:spPr bwMode="gray">
          <a:xfrm>
            <a:off x="506620" y="5994400"/>
            <a:ext cx="8165810" cy="370888"/>
          </a:xfrm>
          <a:prstGeom prst="roundRect">
            <a:avLst>
              <a:gd name="adj" fmla="val 10832"/>
            </a:avLst>
          </a:prstGeom>
          <a:noFill/>
          <a:ln w="12700">
            <a:noFill/>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600" dirty="0" smtClean="0">
                <a:solidFill>
                  <a:schemeClr val="bg1"/>
                </a:solidFill>
                <a:latin typeface="+mj-lt"/>
              </a:rPr>
              <a:t>MERCADO MAYORISTA DE COMPRA-VENTA DE ENERGÍA</a:t>
            </a:r>
            <a:endParaRPr lang="es-ES_tradnl" sz="1600" dirty="0">
              <a:solidFill>
                <a:schemeClr val="bg1"/>
              </a:solidFill>
              <a:latin typeface="+mj-lt"/>
            </a:endParaRPr>
          </a:p>
        </p:txBody>
      </p:sp>
      <p:sp>
        <p:nvSpPr>
          <p:cNvPr id="48" name="Rectangle 47"/>
          <p:cNvSpPr/>
          <p:nvPr/>
        </p:nvSpPr>
        <p:spPr>
          <a:xfrm>
            <a:off x="2896442" y="5010535"/>
            <a:ext cx="3506534" cy="759279"/>
          </a:xfrm>
          <a:prstGeom prst="rect">
            <a:avLst/>
          </a:prstGeom>
          <a:solidFill>
            <a:srgbClr val="FF0000"/>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50" name="Text Box 15"/>
          <p:cNvSpPr txBox="1">
            <a:spLocks noChangeArrowheads="1"/>
          </p:cNvSpPr>
          <p:nvPr/>
        </p:nvSpPr>
        <p:spPr bwMode="gray">
          <a:xfrm>
            <a:off x="3046589" y="5158160"/>
            <a:ext cx="3141234" cy="49435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accent1"/>
                </a:solidFill>
                <a:latin typeface="+mj-lt"/>
              </a:rPr>
              <a:t>MODELO RETRIBUTIVO FIJADO POR LA REGULACIÓN</a:t>
            </a:r>
            <a:endParaRPr lang="es-ES_tradnl" sz="1400" dirty="0">
              <a:solidFill>
                <a:schemeClr val="accent1"/>
              </a:solidFill>
              <a:latin typeface="+mj-lt"/>
            </a:endParaRPr>
          </a:p>
        </p:txBody>
      </p:sp>
    </p:spTree>
    <p:extLst>
      <p:ext uri="{BB962C8B-B14F-4D97-AF65-F5344CB8AC3E}">
        <p14:creationId xmlns:p14="http://schemas.microsoft.com/office/powerpoint/2010/main" val="7783659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23385" y="3207247"/>
            <a:ext cx="2565550" cy="331621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8" name="Title 27"/>
          <p:cNvSpPr>
            <a:spLocks noGrp="1"/>
          </p:cNvSpPr>
          <p:nvPr>
            <p:ph type="title"/>
          </p:nvPr>
        </p:nvSpPr>
        <p:spPr>
          <a:xfrm>
            <a:off x="433262" y="113919"/>
            <a:ext cx="8229600" cy="783654"/>
          </a:xfrm>
        </p:spPr>
        <p:txBody>
          <a:bodyPr/>
          <a:lstStyle/>
          <a:p>
            <a:r>
              <a:rPr lang="es-ES_tradnl" b="1" dirty="0" smtClean="0"/>
              <a:t>Negocio en Actividades Reguladas</a:t>
            </a:r>
            <a:endParaRPr lang="es-ES_tradnl" b="1" dirty="0"/>
          </a:p>
        </p:txBody>
      </p:sp>
      <p:sp>
        <p:nvSpPr>
          <p:cNvPr id="40" name="Slide Number Placeholder 39"/>
          <p:cNvSpPr>
            <a:spLocks noGrp="1"/>
          </p:cNvSpPr>
          <p:nvPr>
            <p:ph type="sldNum" sz="quarter" idx="4"/>
          </p:nvPr>
        </p:nvSpPr>
        <p:spPr/>
        <p:txBody>
          <a:bodyPr/>
          <a:lstStyle/>
          <a:p>
            <a:pPr>
              <a:defRPr/>
            </a:pPr>
            <a:fld id="{90CBDC3A-D49F-4631-A8C7-55D59B33E5FA}" type="slidenum">
              <a:rPr lang="es-ES_tradnl" smtClean="0">
                <a:latin typeface="+mj-lt"/>
              </a:rPr>
              <a:pPr>
                <a:defRPr/>
              </a:pPr>
              <a:t>17</a:t>
            </a:fld>
            <a:endParaRPr lang="es-ES_tradnl">
              <a:latin typeface="+mj-lt"/>
            </a:endParaRPr>
          </a:p>
        </p:txBody>
      </p:sp>
      <p:sp>
        <p:nvSpPr>
          <p:cNvPr id="20" name="Pentagon 19"/>
          <p:cNvSpPr/>
          <p:nvPr/>
        </p:nvSpPr>
        <p:spPr>
          <a:xfrm>
            <a:off x="506619" y="1321872"/>
            <a:ext cx="2164010" cy="784404"/>
          </a:xfrm>
          <a:prstGeom prst="homePlate">
            <a:avLst>
              <a:gd name="adj" fmla="val 38213"/>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b="1" dirty="0" smtClean="0"/>
              <a:t>Remuneración marcada por la Regulación</a:t>
            </a:r>
            <a:endParaRPr lang="es-ES_tradnl" sz="1400" dirty="0">
              <a:latin typeface="+mj-lt"/>
            </a:endParaRPr>
          </a:p>
        </p:txBody>
      </p:sp>
      <p:sp>
        <p:nvSpPr>
          <p:cNvPr id="22" name="Pentagon 21"/>
          <p:cNvSpPr/>
          <p:nvPr/>
        </p:nvSpPr>
        <p:spPr>
          <a:xfrm>
            <a:off x="506619" y="4775031"/>
            <a:ext cx="2164010" cy="784404"/>
          </a:xfrm>
          <a:prstGeom prst="homePlate">
            <a:avLst>
              <a:gd name="adj" fmla="val 38213"/>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b="1" dirty="0" smtClean="0"/>
              <a:t>OPEX</a:t>
            </a:r>
            <a:endParaRPr lang="es-ES_tradnl" sz="1400" dirty="0">
              <a:latin typeface="+mj-lt"/>
            </a:endParaRPr>
          </a:p>
        </p:txBody>
      </p:sp>
      <p:sp>
        <p:nvSpPr>
          <p:cNvPr id="5" name="Rectangle 4"/>
          <p:cNvSpPr/>
          <p:nvPr/>
        </p:nvSpPr>
        <p:spPr>
          <a:xfrm>
            <a:off x="3078502" y="1244891"/>
            <a:ext cx="5519460" cy="1754326"/>
          </a:xfrm>
          <a:prstGeom prst="rect">
            <a:avLst/>
          </a:prstGeom>
        </p:spPr>
        <p:txBody>
          <a:bodyPr wrap="none">
            <a:spAutoFit/>
          </a:bodyPr>
          <a:lstStyle/>
          <a:p>
            <a:r>
              <a:rPr lang="es-ES_tradnl" b="1" dirty="0"/>
              <a:t>Las tarifas de </a:t>
            </a:r>
            <a:r>
              <a:rPr lang="es-ES_tradnl" b="1" dirty="0" smtClean="0"/>
              <a:t>acceso</a:t>
            </a:r>
          </a:p>
          <a:p>
            <a:r>
              <a:rPr lang="es-ES_tradnl" b="1" dirty="0"/>
              <a:t>Liquidación de los ingresos del </a:t>
            </a:r>
            <a:r>
              <a:rPr lang="es-ES_tradnl" b="1" dirty="0" smtClean="0"/>
              <a:t>sistema</a:t>
            </a:r>
          </a:p>
          <a:p>
            <a:r>
              <a:rPr lang="es-ES_tradnl" b="1" dirty="0"/>
              <a:t>Modelos retributivos de las actividades </a:t>
            </a:r>
            <a:r>
              <a:rPr lang="es-ES_tradnl" b="1" dirty="0" smtClean="0"/>
              <a:t>regulada</a:t>
            </a:r>
          </a:p>
          <a:p>
            <a:pPr marL="742950" lvl="1" indent="-285750">
              <a:buFont typeface="Arial" pitchFamily="34" charset="0"/>
              <a:buChar char="•"/>
            </a:pPr>
            <a:r>
              <a:rPr lang="es-ES_tradnl" b="1" dirty="0" smtClean="0"/>
              <a:t>Incentivo a las inversiones	 (CAPEX)</a:t>
            </a:r>
          </a:p>
          <a:p>
            <a:pPr marL="742950" lvl="1" indent="-285750">
              <a:buFont typeface="Arial" pitchFamily="34" charset="0"/>
              <a:buChar char="•"/>
            </a:pPr>
            <a:r>
              <a:rPr lang="es-ES_tradnl" b="1" dirty="0" smtClean="0"/>
              <a:t>Reconocimiento de la Eficiencia (OPEX)</a:t>
            </a:r>
            <a:endParaRPr lang="es-ES_tradnl" b="1" dirty="0"/>
          </a:p>
          <a:p>
            <a:endParaRPr lang="es-ES_tradnl" dirty="0"/>
          </a:p>
        </p:txBody>
      </p:sp>
      <p:sp>
        <p:nvSpPr>
          <p:cNvPr id="23" name="Pentagon 22"/>
          <p:cNvSpPr/>
          <p:nvPr/>
        </p:nvSpPr>
        <p:spPr>
          <a:xfrm>
            <a:off x="506619" y="3310511"/>
            <a:ext cx="2164010" cy="784404"/>
          </a:xfrm>
          <a:prstGeom prst="homePlate">
            <a:avLst>
              <a:gd name="adj" fmla="val 38213"/>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b="1" dirty="0" smtClean="0"/>
              <a:t>CAPEX</a:t>
            </a:r>
            <a:endParaRPr lang="es-ES_tradnl" sz="1400" dirty="0">
              <a:latin typeface="+mj-lt"/>
            </a:endParaRPr>
          </a:p>
        </p:txBody>
      </p:sp>
      <p:cxnSp>
        <p:nvCxnSpPr>
          <p:cNvPr id="7" name="Straight Connector 6"/>
          <p:cNvCxnSpPr/>
          <p:nvPr/>
        </p:nvCxnSpPr>
        <p:spPr>
          <a:xfrm>
            <a:off x="506619" y="2888171"/>
            <a:ext cx="8124425"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230902" y="3174302"/>
            <a:ext cx="4395755" cy="1107996"/>
          </a:xfrm>
          <a:prstGeom prst="rect">
            <a:avLst/>
          </a:prstGeom>
        </p:spPr>
        <p:txBody>
          <a:bodyPr wrap="none">
            <a:spAutoFit/>
          </a:bodyPr>
          <a:lstStyle/>
          <a:p>
            <a:r>
              <a:rPr lang="es-ES_tradnl" sz="1600" b="1" dirty="0" smtClean="0"/>
              <a:t>Gestión eficiente de inversiones en activos</a:t>
            </a:r>
          </a:p>
          <a:p>
            <a:r>
              <a:rPr lang="es-ES_tradnl" sz="1600" b="1" dirty="0" smtClean="0"/>
              <a:t>Rentabilizar inversiones</a:t>
            </a:r>
          </a:p>
          <a:p>
            <a:r>
              <a:rPr lang="es-ES_tradnl" sz="1600" b="1" dirty="0" smtClean="0"/>
              <a:t>Gestión integrada del ciclo de activos </a:t>
            </a:r>
          </a:p>
          <a:p>
            <a:r>
              <a:rPr lang="es-ES_tradnl" sz="1600" b="1" dirty="0" smtClean="0"/>
              <a:t>Nuevas tecnologías</a:t>
            </a:r>
            <a:endParaRPr lang="es-ES_tradnl" sz="1600" dirty="0"/>
          </a:p>
        </p:txBody>
      </p:sp>
      <p:sp>
        <p:nvSpPr>
          <p:cNvPr id="29" name="Rectangle 28"/>
          <p:cNvSpPr/>
          <p:nvPr/>
        </p:nvSpPr>
        <p:spPr>
          <a:xfrm>
            <a:off x="3268356" y="4496256"/>
            <a:ext cx="5551520" cy="2554545"/>
          </a:xfrm>
          <a:prstGeom prst="rect">
            <a:avLst/>
          </a:prstGeom>
        </p:spPr>
        <p:txBody>
          <a:bodyPr wrap="none">
            <a:spAutoFit/>
          </a:bodyPr>
          <a:lstStyle/>
          <a:p>
            <a:pPr marL="0" lvl="1"/>
            <a:r>
              <a:rPr lang="es-ES_tradnl" sz="1600" b="1" dirty="0"/>
              <a:t>Gestión eficiente de las operaciones</a:t>
            </a:r>
          </a:p>
          <a:p>
            <a:r>
              <a:rPr lang="es-ES_tradnl" sz="1600" b="1" dirty="0" smtClean="0"/>
              <a:t>Costes en Redes y Comercial:</a:t>
            </a:r>
          </a:p>
          <a:p>
            <a:pPr marL="742950" lvl="1" indent="-285750">
              <a:buFont typeface="Arial" pitchFamily="34" charset="0"/>
              <a:buChar char="•"/>
            </a:pPr>
            <a:r>
              <a:rPr lang="es-ES_tradnl" sz="1600" b="1" dirty="0" smtClean="0"/>
              <a:t>Costes de operación y mantenimiento</a:t>
            </a:r>
          </a:p>
          <a:p>
            <a:pPr marL="1200150" lvl="2" indent="-285750">
              <a:buFont typeface="Arial" pitchFamily="34" charset="0"/>
              <a:buChar char="•"/>
            </a:pPr>
            <a:r>
              <a:rPr lang="es-ES_tradnl" sz="1600" b="1" dirty="0" smtClean="0"/>
              <a:t>Material y mano </a:t>
            </a:r>
            <a:r>
              <a:rPr lang="es-ES_tradnl" sz="1600" b="1" dirty="0"/>
              <a:t>de obra (propio y externo</a:t>
            </a:r>
            <a:r>
              <a:rPr lang="es-ES_tradnl" sz="1600" b="1" dirty="0" smtClean="0"/>
              <a:t>)</a:t>
            </a:r>
          </a:p>
          <a:p>
            <a:pPr marL="1200150" lvl="2" indent="-285750">
              <a:buFont typeface="Arial" pitchFamily="34" charset="0"/>
              <a:buChar char="•"/>
            </a:pPr>
            <a:r>
              <a:rPr lang="es-ES_tradnl" sz="1600" b="1" dirty="0" smtClean="0"/>
              <a:t>Ciclo comercial</a:t>
            </a:r>
          </a:p>
          <a:p>
            <a:pPr marL="742950" lvl="1" indent="-285750">
              <a:buFont typeface="Arial" pitchFamily="34" charset="0"/>
              <a:buChar char="•"/>
            </a:pPr>
            <a:r>
              <a:rPr lang="es-ES_tradnl" sz="1600" b="1" dirty="0" smtClean="0"/>
              <a:t>Costes de comunicaciones y estructura</a:t>
            </a:r>
          </a:p>
          <a:p>
            <a:pPr marL="742950" lvl="1" indent="-285750">
              <a:buFont typeface="Arial" pitchFamily="34" charset="0"/>
              <a:buChar char="•"/>
            </a:pPr>
            <a:r>
              <a:rPr lang="es-ES_tradnl" sz="1600" b="1" dirty="0" smtClean="0"/>
              <a:t>…</a:t>
            </a:r>
          </a:p>
          <a:p>
            <a:r>
              <a:rPr lang="es-ES_tradnl" sz="1600" b="1" dirty="0" smtClean="0"/>
              <a:t>Penalizaciones por calidad</a:t>
            </a:r>
          </a:p>
          <a:p>
            <a:r>
              <a:rPr lang="es-ES_tradnl" sz="1600" b="1" dirty="0" smtClean="0"/>
              <a:t>Recuperación de energía</a:t>
            </a:r>
          </a:p>
          <a:p>
            <a:pPr lvl="1"/>
            <a:r>
              <a:rPr lang="es-ES_tradnl" sz="1600" b="1" dirty="0"/>
              <a:t>	</a:t>
            </a:r>
            <a:endParaRPr lang="es-ES_tradnl" sz="1600" dirty="0"/>
          </a:p>
        </p:txBody>
      </p:sp>
      <p:sp>
        <p:nvSpPr>
          <p:cNvPr id="8" name="Down Arrow 7"/>
          <p:cNvSpPr/>
          <p:nvPr/>
        </p:nvSpPr>
        <p:spPr>
          <a:xfrm>
            <a:off x="1170877" y="2319453"/>
            <a:ext cx="562712" cy="85864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0" name="Text Box 15"/>
          <p:cNvSpPr txBox="1">
            <a:spLocks noChangeArrowheads="1"/>
          </p:cNvSpPr>
          <p:nvPr/>
        </p:nvSpPr>
        <p:spPr bwMode="gray">
          <a:xfrm>
            <a:off x="687688" y="5842804"/>
            <a:ext cx="1670377" cy="49435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accent1"/>
                </a:solidFill>
                <a:latin typeface="+mj-lt"/>
              </a:rPr>
              <a:t>OPTIMO?</a:t>
            </a:r>
            <a:endParaRPr lang="es-ES_tradnl" sz="1400" dirty="0">
              <a:solidFill>
                <a:schemeClr val="accent1"/>
              </a:solidFill>
              <a:latin typeface="+mj-lt"/>
            </a:endParaRPr>
          </a:p>
        </p:txBody>
      </p:sp>
      <p:sp>
        <p:nvSpPr>
          <p:cNvPr id="31" name="Pentagon 30"/>
          <p:cNvSpPr/>
          <p:nvPr/>
        </p:nvSpPr>
        <p:spPr>
          <a:xfrm>
            <a:off x="1126271" y="4198891"/>
            <a:ext cx="793213" cy="473469"/>
          </a:xfrm>
          <a:prstGeom prst="homePlate">
            <a:avLst>
              <a:gd name="adj" fmla="val 0"/>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3600" b="1" dirty="0" smtClean="0"/>
              <a:t>+</a:t>
            </a:r>
            <a:endParaRPr lang="es-ES_tradnl" sz="3600" dirty="0">
              <a:latin typeface="+mj-lt"/>
            </a:endParaRPr>
          </a:p>
        </p:txBody>
      </p:sp>
      <p:sp>
        <p:nvSpPr>
          <p:cNvPr id="32" name="Text Box 15"/>
          <p:cNvSpPr txBox="1">
            <a:spLocks noChangeArrowheads="1"/>
          </p:cNvSpPr>
          <p:nvPr/>
        </p:nvSpPr>
        <p:spPr bwMode="gray">
          <a:xfrm>
            <a:off x="1622462" y="2319453"/>
            <a:ext cx="1266473" cy="49435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100" dirty="0" smtClean="0">
                <a:solidFill>
                  <a:schemeClr val="accent1"/>
                </a:solidFill>
                <a:latin typeface="+mj-lt"/>
              </a:rPr>
              <a:t>FIJO Y DECRECIENTE</a:t>
            </a:r>
            <a:endParaRPr lang="es-ES_tradnl" sz="1100" dirty="0">
              <a:solidFill>
                <a:schemeClr val="accent1"/>
              </a:solidFill>
              <a:latin typeface="+mj-lt"/>
            </a:endParaRPr>
          </a:p>
        </p:txBody>
      </p:sp>
      <p:cxnSp>
        <p:nvCxnSpPr>
          <p:cNvPr id="33" name="Straight Connector 32"/>
          <p:cNvCxnSpPr/>
          <p:nvPr/>
        </p:nvCxnSpPr>
        <p:spPr>
          <a:xfrm>
            <a:off x="3367668" y="4435625"/>
            <a:ext cx="545220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9576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p:cNvSpPr>
            <a:spLocks noGrp="1"/>
          </p:cNvSpPr>
          <p:nvPr>
            <p:ph type="body" sz="quarter" idx="10"/>
          </p:nvPr>
        </p:nvSpPr>
        <p:spPr>
          <a:xfrm>
            <a:off x="5079215" y="1904099"/>
            <a:ext cx="3861987" cy="4645603"/>
          </a:xfrm>
          <a:prstGeom prst="rect">
            <a:avLst/>
          </a:prstGeom>
          <a:ln w="12700">
            <a:noFill/>
          </a:ln>
        </p:spPr>
        <p:style>
          <a:lnRef idx="2">
            <a:schemeClr val="accent1"/>
          </a:lnRef>
          <a:fillRef idx="1">
            <a:schemeClr val="lt1"/>
          </a:fillRef>
          <a:effectRef idx="0">
            <a:schemeClr val="accent1"/>
          </a:effectRef>
          <a:fontRef idx="minor">
            <a:schemeClr val="dk1"/>
          </a:fontRef>
        </p:style>
        <p:txBody>
          <a:bodyPr lIns="72000" rIns="36000" anchor="ctr">
            <a:noAutofit/>
          </a:bodyPr>
          <a:lstStyle/>
          <a:p>
            <a:pPr marL="285750" indent="-285750">
              <a:spcBef>
                <a:spcPts val="400"/>
              </a:spcBef>
              <a:spcAft>
                <a:spcPts val="300"/>
              </a:spcAft>
              <a:buFont typeface="Arial" pitchFamily="34" charset="0"/>
              <a:buChar char="•"/>
            </a:pPr>
            <a:r>
              <a:rPr lang="es-ES_tradnl" sz="1100" dirty="0" smtClean="0">
                <a:solidFill>
                  <a:schemeClr val="accent1"/>
                </a:solidFill>
              </a:rPr>
              <a:t>Son </a:t>
            </a:r>
            <a:r>
              <a:rPr lang="es-ES_tradnl" sz="1100" dirty="0">
                <a:solidFill>
                  <a:schemeClr val="accent1"/>
                </a:solidFill>
              </a:rPr>
              <a:t>los peajes por el uso de las redes de transporte y distribución, aunque también incluyen otros costes regulados</a:t>
            </a:r>
          </a:p>
          <a:p>
            <a:pPr marL="285750" indent="-285750">
              <a:spcBef>
                <a:spcPts val="400"/>
              </a:spcBef>
              <a:spcAft>
                <a:spcPts val="300"/>
              </a:spcAft>
              <a:buFont typeface="Arial" pitchFamily="34" charset="0"/>
              <a:buChar char="•"/>
            </a:pPr>
            <a:r>
              <a:rPr lang="es-ES_tradnl" sz="1100" dirty="0">
                <a:solidFill>
                  <a:schemeClr val="accent1"/>
                </a:solidFill>
              </a:rPr>
              <a:t>Son únicas en todo el territorio español</a:t>
            </a:r>
          </a:p>
          <a:p>
            <a:pPr marL="285750" indent="-285750">
              <a:spcBef>
                <a:spcPts val="400"/>
              </a:spcBef>
              <a:spcAft>
                <a:spcPts val="300"/>
              </a:spcAft>
              <a:buFont typeface="Arial" pitchFamily="34" charset="0"/>
              <a:buChar char="•"/>
            </a:pPr>
            <a:r>
              <a:rPr lang="es-ES_tradnl" sz="1100" dirty="0">
                <a:solidFill>
                  <a:schemeClr val="accent1"/>
                </a:solidFill>
              </a:rPr>
              <a:t>Su estructura se establece en el R.D. 1164/2001 de 26.10.01 y en el R.D. 1435/2002 para b.t.</a:t>
            </a:r>
          </a:p>
          <a:p>
            <a:pPr marL="285750" indent="-285750">
              <a:spcBef>
                <a:spcPts val="400"/>
              </a:spcBef>
              <a:spcAft>
                <a:spcPts val="300"/>
              </a:spcAft>
              <a:buFont typeface="Arial" pitchFamily="34" charset="0"/>
              <a:buChar char="•"/>
            </a:pPr>
            <a:r>
              <a:rPr lang="es-ES_tradnl" sz="1100" dirty="0">
                <a:solidFill>
                  <a:schemeClr val="accent1"/>
                </a:solidFill>
              </a:rPr>
              <a:t>Se revisan anualmente por años naturales y también pueden ser revisadas </a:t>
            </a:r>
            <a:r>
              <a:rPr lang="es-ES_tradnl" sz="1100" dirty="0" smtClean="0">
                <a:solidFill>
                  <a:schemeClr val="accent1"/>
                </a:solidFill>
              </a:rPr>
              <a:t>trimestralmente </a:t>
            </a:r>
            <a:r>
              <a:rPr lang="es-ES_tradnl" sz="1100" dirty="0">
                <a:solidFill>
                  <a:schemeClr val="accent1"/>
                </a:solidFill>
              </a:rPr>
              <a:t>(R.D. 1202/2010) si:</a:t>
            </a:r>
          </a:p>
          <a:p>
            <a:pPr marL="742950" lvl="1" indent="-285750">
              <a:spcBef>
                <a:spcPts val="400"/>
              </a:spcBef>
              <a:spcAft>
                <a:spcPts val="300"/>
              </a:spcAft>
              <a:buFont typeface="Courier New" pitchFamily="49" charset="0"/>
              <a:buChar char="o"/>
            </a:pPr>
            <a:r>
              <a:rPr lang="es-ES_tradnl" sz="1100" dirty="0">
                <a:solidFill>
                  <a:schemeClr val="accent1"/>
                </a:solidFill>
              </a:rPr>
              <a:t>Se producen eventuales desfases en las liquidaciones </a:t>
            </a:r>
            <a:endParaRPr lang="es-ES_tradnl" sz="1100" dirty="0" smtClean="0">
              <a:solidFill>
                <a:schemeClr val="accent1"/>
              </a:solidFill>
            </a:endParaRPr>
          </a:p>
          <a:p>
            <a:pPr marL="742950" lvl="1" indent="-285750">
              <a:spcBef>
                <a:spcPts val="400"/>
              </a:spcBef>
              <a:spcAft>
                <a:spcPts val="300"/>
              </a:spcAft>
              <a:buFont typeface="Courier New" pitchFamily="49" charset="0"/>
              <a:buChar char="o"/>
            </a:pPr>
            <a:r>
              <a:rPr lang="es-ES_tradnl" sz="1100" dirty="0" smtClean="0">
                <a:solidFill>
                  <a:schemeClr val="accent1"/>
                </a:solidFill>
              </a:rPr>
              <a:t>Se </a:t>
            </a:r>
            <a:r>
              <a:rPr lang="es-ES_tradnl" sz="1100" dirty="0">
                <a:solidFill>
                  <a:schemeClr val="accent1"/>
                </a:solidFill>
              </a:rPr>
              <a:t>producen cambios regulatorios </a:t>
            </a:r>
            <a:endParaRPr lang="es-ES_tradnl" sz="1100" dirty="0" smtClean="0">
              <a:solidFill>
                <a:schemeClr val="accent1"/>
              </a:solidFill>
            </a:endParaRPr>
          </a:p>
          <a:p>
            <a:pPr marL="742950" lvl="1" indent="-285750">
              <a:spcBef>
                <a:spcPts val="400"/>
              </a:spcBef>
              <a:spcAft>
                <a:spcPts val="300"/>
              </a:spcAft>
              <a:buFont typeface="Courier New" pitchFamily="49" charset="0"/>
              <a:buChar char="o"/>
            </a:pPr>
            <a:r>
              <a:rPr lang="es-ES_tradnl" sz="1100" dirty="0" smtClean="0">
                <a:solidFill>
                  <a:schemeClr val="accent1"/>
                </a:solidFill>
              </a:rPr>
              <a:t>Se </a:t>
            </a:r>
            <a:r>
              <a:rPr lang="es-ES_tradnl" sz="1100" dirty="0">
                <a:solidFill>
                  <a:schemeClr val="accent1"/>
                </a:solidFill>
              </a:rPr>
              <a:t>producen circunstancias </a:t>
            </a:r>
            <a:r>
              <a:rPr lang="es-ES_tradnl" sz="1100" dirty="0" smtClean="0">
                <a:solidFill>
                  <a:schemeClr val="accent1"/>
                </a:solidFill>
              </a:rPr>
              <a:t>especiales</a:t>
            </a:r>
          </a:p>
          <a:p>
            <a:pPr marL="285750" indent="-285750">
              <a:spcBef>
                <a:spcPts val="400"/>
              </a:spcBef>
              <a:spcAft>
                <a:spcPts val="300"/>
              </a:spcAft>
              <a:buFont typeface="Arial" pitchFamily="34" charset="0"/>
              <a:buChar char="•"/>
            </a:pPr>
            <a:r>
              <a:rPr lang="es-ES_tradnl" sz="1100" dirty="0" smtClean="0">
                <a:solidFill>
                  <a:schemeClr val="accent1"/>
                </a:solidFill>
              </a:rPr>
              <a:t>Las cobran, en primera instancia, las empresas comercializadoras y, posteriormente las distribuidoras a las comercializadoras</a:t>
            </a:r>
          </a:p>
          <a:p>
            <a:pPr marL="285750" indent="-285750">
              <a:spcBef>
                <a:spcPts val="400"/>
              </a:spcBef>
              <a:spcAft>
                <a:spcPts val="300"/>
              </a:spcAft>
              <a:buFont typeface="Arial" pitchFamily="34" charset="0"/>
              <a:buChar char="•"/>
            </a:pPr>
            <a:r>
              <a:rPr lang="es-ES_tradnl" sz="1100" dirty="0" smtClean="0">
                <a:solidFill>
                  <a:schemeClr val="accent1"/>
                </a:solidFill>
              </a:rPr>
              <a:t>Están </a:t>
            </a:r>
            <a:r>
              <a:rPr lang="es-ES_tradnl" sz="1100" dirty="0">
                <a:solidFill>
                  <a:schemeClr val="accent1"/>
                </a:solidFill>
              </a:rPr>
              <a:t>estructuradas en función de la tensión de suministro y el número de períodos tarifarios aplicables</a:t>
            </a:r>
          </a:p>
          <a:p>
            <a:pPr marL="285750" indent="-285750">
              <a:spcBef>
                <a:spcPts val="400"/>
              </a:spcBef>
              <a:spcAft>
                <a:spcPts val="300"/>
              </a:spcAft>
              <a:buFont typeface="Arial" pitchFamily="34" charset="0"/>
              <a:buChar char="•"/>
            </a:pPr>
            <a:r>
              <a:rPr lang="es-ES_tradnl" sz="1100" dirty="0">
                <a:solidFill>
                  <a:schemeClr val="accent1"/>
                </a:solidFill>
              </a:rPr>
              <a:t>Tienen complementos por excesos de potencia y energía reactiva</a:t>
            </a:r>
            <a:endParaRPr lang="es-ES" sz="1100" dirty="0">
              <a:solidFill>
                <a:schemeClr val="accent1"/>
              </a:solidFill>
            </a:endParaRPr>
          </a:p>
        </p:txBody>
      </p:sp>
      <p:sp>
        <p:nvSpPr>
          <p:cNvPr id="5" name="Slide Number Placeholder 4"/>
          <p:cNvSpPr>
            <a:spLocks noGrp="1"/>
          </p:cNvSpPr>
          <p:nvPr>
            <p:ph type="sldNum" sz="quarter" idx="4"/>
          </p:nvPr>
        </p:nvSpPr>
        <p:spPr/>
        <p:txBody>
          <a:bodyPr/>
          <a:lstStyle/>
          <a:p>
            <a:pPr>
              <a:defRPr/>
            </a:pPr>
            <a:fld id="{90CBDC3A-D49F-4631-A8C7-55D59B33E5FA}" type="slidenum">
              <a:rPr lang="en-US" smtClean="0"/>
              <a:pPr>
                <a:defRPr/>
              </a:pPr>
              <a:t>18</a:t>
            </a:fld>
            <a:endParaRPr lang="en-US" dirty="0"/>
          </a:p>
        </p:txBody>
      </p:sp>
      <p:pic>
        <p:nvPicPr>
          <p:cNvPr id="7"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52334"/>
          <a:stretch/>
        </p:blipFill>
        <p:spPr bwMode="auto">
          <a:xfrm>
            <a:off x="122856" y="1306278"/>
            <a:ext cx="2276099" cy="5159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1"/>
          <p:cNvSpPr txBox="1">
            <a:spLocks/>
          </p:cNvSpPr>
          <p:nvPr/>
        </p:nvSpPr>
        <p:spPr>
          <a:xfrm>
            <a:off x="599730" y="195979"/>
            <a:ext cx="8229600" cy="783654"/>
          </a:xfrm>
          <a:prstGeom prst="rect">
            <a:avLst/>
          </a:prstGeom>
        </p:spPr>
        <p:txBody>
          <a:bodyPr lIns="0" bIns="0" anchor="b" anchorCtr="0"/>
          <a:lstStyle>
            <a:lvl1pPr algn="l" rtl="0" eaLnBrk="1" fontAlgn="base" hangingPunct="1">
              <a:lnSpc>
                <a:spcPts val="2600"/>
              </a:lnSpc>
              <a:spcBef>
                <a:spcPct val="0"/>
              </a:spcBef>
              <a:spcAft>
                <a:spcPct val="0"/>
              </a:spcAft>
              <a:buFont typeface="Arial" charset="0"/>
              <a:defRPr sz="2600" kern="1200" spc="-100" baseline="0">
                <a:solidFill>
                  <a:srgbClr val="003344"/>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s-ES_tradnl" dirty="0" smtClean="0"/>
              <a:t>Retribución actividades reguladas</a:t>
            </a:r>
            <a:br>
              <a:rPr lang="es-ES_tradnl" dirty="0" smtClean="0"/>
            </a:br>
            <a:r>
              <a:rPr lang="es-ES_tradnl" b="1" dirty="0" smtClean="0"/>
              <a:t>Las tarifas de acceso</a:t>
            </a:r>
            <a:endParaRPr lang="es-ES_tradnl" b="1" dirty="0"/>
          </a:p>
        </p:txBody>
      </p:sp>
      <p:sp>
        <p:nvSpPr>
          <p:cNvPr id="3" name="Right Brace 2"/>
          <p:cNvSpPr/>
          <p:nvPr/>
        </p:nvSpPr>
        <p:spPr>
          <a:xfrm>
            <a:off x="2510393" y="1365731"/>
            <a:ext cx="372656" cy="2504042"/>
          </a:xfrm>
          <a:prstGeom prst="rightBrace">
            <a:avLst/>
          </a:prstGeom>
          <a:ln w="222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4" name="TextBox 3"/>
          <p:cNvSpPr txBox="1"/>
          <p:nvPr/>
        </p:nvSpPr>
        <p:spPr>
          <a:xfrm>
            <a:off x="2883049" y="2233031"/>
            <a:ext cx="2183806" cy="1846659"/>
          </a:xfrm>
          <a:prstGeom prst="rect">
            <a:avLst/>
          </a:prstGeom>
          <a:noFill/>
        </p:spPr>
        <p:txBody>
          <a:bodyPr wrap="square" rtlCol="0">
            <a:spAutoFit/>
          </a:bodyPr>
          <a:lstStyle/>
          <a:p>
            <a:r>
              <a:rPr lang="es-ES_tradnl" sz="1600" b="1" dirty="0">
                <a:solidFill>
                  <a:schemeClr val="accent1"/>
                </a:solidFill>
                <a:latin typeface="+mn-lt"/>
                <a:cs typeface="+mn-cs"/>
              </a:rPr>
              <a:t>Precio de la energía</a:t>
            </a:r>
          </a:p>
          <a:p>
            <a:pPr marL="285750" indent="-285750">
              <a:buFont typeface="Arial" pitchFamily="34" charset="0"/>
              <a:buChar char="•"/>
            </a:pPr>
            <a:r>
              <a:rPr lang="es-ES_tradnl" sz="1400" dirty="0">
                <a:solidFill>
                  <a:schemeClr val="accent1"/>
                </a:solidFill>
                <a:latin typeface="+mn-lt"/>
                <a:cs typeface="+mn-cs"/>
              </a:rPr>
              <a:t>Casación</a:t>
            </a:r>
          </a:p>
          <a:p>
            <a:pPr marL="285750" indent="-285750">
              <a:buFont typeface="Arial" pitchFamily="34" charset="0"/>
              <a:buChar char="•"/>
            </a:pPr>
            <a:r>
              <a:rPr lang="es-ES_tradnl" sz="1400" dirty="0" smtClean="0">
                <a:solidFill>
                  <a:schemeClr val="accent1"/>
                </a:solidFill>
                <a:latin typeface="+mn-lt"/>
                <a:cs typeface="+mn-cs"/>
              </a:rPr>
              <a:t>Restricciones Técnicas</a:t>
            </a:r>
          </a:p>
          <a:p>
            <a:pPr marL="285750" indent="-285750">
              <a:buFont typeface="Arial" pitchFamily="34" charset="0"/>
              <a:buChar char="•"/>
            </a:pPr>
            <a:r>
              <a:rPr lang="es-ES_tradnl" sz="1400" dirty="0" smtClean="0">
                <a:solidFill>
                  <a:schemeClr val="accent1"/>
                </a:solidFill>
                <a:latin typeface="+mn-lt"/>
                <a:cs typeface="+mn-cs"/>
              </a:rPr>
              <a:t>Servicios Complementarios</a:t>
            </a:r>
          </a:p>
          <a:p>
            <a:pPr marL="285750" indent="-285750">
              <a:buFont typeface="Arial" pitchFamily="34" charset="0"/>
              <a:buChar char="•"/>
            </a:pPr>
            <a:r>
              <a:rPr lang="es-ES_tradnl" sz="1400" dirty="0" smtClean="0">
                <a:solidFill>
                  <a:schemeClr val="accent1"/>
                </a:solidFill>
                <a:latin typeface="+mn-lt"/>
                <a:cs typeface="+mn-cs"/>
              </a:rPr>
              <a:t>Mercado </a:t>
            </a:r>
            <a:r>
              <a:rPr lang="es-ES_tradnl" sz="1400" dirty="0" err="1" smtClean="0">
                <a:solidFill>
                  <a:schemeClr val="accent1"/>
                </a:solidFill>
                <a:latin typeface="+mn-lt"/>
                <a:cs typeface="+mn-cs"/>
              </a:rPr>
              <a:t>Intradiario</a:t>
            </a:r>
            <a:endParaRPr lang="es-ES_tradnl" sz="1400" dirty="0" smtClean="0">
              <a:solidFill>
                <a:schemeClr val="accent1"/>
              </a:solidFill>
              <a:latin typeface="+mn-lt"/>
              <a:cs typeface="+mn-cs"/>
            </a:endParaRPr>
          </a:p>
          <a:p>
            <a:pPr marL="285750" indent="-285750">
              <a:buFont typeface="Arial" pitchFamily="34" charset="0"/>
              <a:buChar char="•"/>
            </a:pPr>
            <a:endParaRPr lang="es-ES" sz="1400" dirty="0">
              <a:solidFill>
                <a:schemeClr val="accent1"/>
              </a:solidFill>
              <a:latin typeface="+mn-lt"/>
              <a:cs typeface="+mn-cs"/>
            </a:endParaRPr>
          </a:p>
        </p:txBody>
      </p:sp>
      <p:sp>
        <p:nvSpPr>
          <p:cNvPr id="10" name="Right Brace 9"/>
          <p:cNvSpPr/>
          <p:nvPr/>
        </p:nvSpPr>
        <p:spPr>
          <a:xfrm>
            <a:off x="2510393" y="3872927"/>
            <a:ext cx="372656" cy="2454703"/>
          </a:xfrm>
          <a:prstGeom prst="rightBrace">
            <a:avLst/>
          </a:prstGeom>
          <a:ln w="222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1" name="TextBox 10"/>
          <p:cNvSpPr txBox="1"/>
          <p:nvPr/>
        </p:nvSpPr>
        <p:spPr>
          <a:xfrm>
            <a:off x="2915320" y="4969473"/>
            <a:ext cx="1982611" cy="338554"/>
          </a:xfrm>
          <a:prstGeom prst="rect">
            <a:avLst/>
          </a:prstGeom>
          <a:noFill/>
        </p:spPr>
        <p:txBody>
          <a:bodyPr wrap="square" rtlCol="0">
            <a:spAutoFit/>
          </a:bodyPr>
          <a:lstStyle/>
          <a:p>
            <a:r>
              <a:rPr lang="es-ES_tradnl" sz="1600" b="1" dirty="0" smtClean="0">
                <a:solidFill>
                  <a:schemeClr val="accent1"/>
                </a:solidFill>
                <a:latin typeface="+mn-lt"/>
                <a:cs typeface="+mn-cs"/>
              </a:rPr>
              <a:t>Tarifas de Acceso</a:t>
            </a:r>
            <a:endParaRPr lang="es-ES" sz="1600" b="1" dirty="0">
              <a:solidFill>
                <a:schemeClr val="accent1"/>
              </a:solidFill>
              <a:latin typeface="+mn-lt"/>
              <a:cs typeface="+mn-cs"/>
            </a:endParaRPr>
          </a:p>
        </p:txBody>
      </p:sp>
      <p:grpSp>
        <p:nvGrpSpPr>
          <p:cNvPr id="16" name="Group 15"/>
          <p:cNvGrpSpPr/>
          <p:nvPr/>
        </p:nvGrpSpPr>
        <p:grpSpPr>
          <a:xfrm>
            <a:off x="4994753" y="1022448"/>
            <a:ext cx="4030911" cy="1003160"/>
            <a:chOff x="4897931" y="1216092"/>
            <a:chExt cx="4030911" cy="1003160"/>
          </a:xfrm>
          <a:noFill/>
        </p:grpSpPr>
        <p:sp>
          <p:nvSpPr>
            <p:cNvPr id="14" name="Text Placeholder 1"/>
            <p:cNvSpPr txBox="1">
              <a:spLocks/>
            </p:cNvSpPr>
            <p:nvPr/>
          </p:nvSpPr>
          <p:spPr>
            <a:xfrm>
              <a:off x="4897931" y="1216092"/>
              <a:ext cx="4030911" cy="1003160"/>
            </a:xfrm>
            <a:prstGeom prst="rect">
              <a:avLst/>
            </a:prstGeom>
            <a:grpFill/>
            <a:ln w="12700" cap="flat" cmpd="sng" algn="ctr">
              <a:noFill/>
              <a:prstDash val="solid"/>
            </a:ln>
          </p:spPr>
          <p:style>
            <a:lnRef idx="2">
              <a:schemeClr val="accent1"/>
            </a:lnRef>
            <a:fillRef idx="1">
              <a:schemeClr val="lt1"/>
            </a:fillRef>
            <a:effectRef idx="0">
              <a:schemeClr val="accent1"/>
            </a:effectRef>
            <a:fontRef idx="minor">
              <a:schemeClr val="dk1"/>
            </a:fontRef>
          </p:style>
          <p:txBody>
            <a:bodyPr lIns="72000" rIns="36000" anchor="ctr">
              <a:noAutofit/>
            </a:bodyPr>
            <a:lstStyle>
              <a:lvl1pPr marL="342900" indent="-342900" algn="l" rtl="0" eaLnBrk="1" fontAlgn="base" hangingPunct="1">
                <a:spcBef>
                  <a:spcPct val="20000"/>
                </a:spcBef>
                <a:spcAft>
                  <a:spcPct val="0"/>
                </a:spcAft>
                <a:buFont typeface="Arial" charset="0"/>
                <a:defRPr sz="2600" kern="1200">
                  <a:solidFill>
                    <a:srgbClr val="88DD00"/>
                  </a:solidFill>
                  <a:latin typeface="+mn-lt"/>
                  <a:ea typeface="+mn-ea"/>
                  <a:cs typeface="+mn-cs"/>
                </a:defRPr>
              </a:lvl1pPr>
              <a:lvl2pPr marL="173038" indent="-173038" algn="l" rtl="0" eaLnBrk="1" fontAlgn="base" hangingPunct="1">
                <a:spcBef>
                  <a:spcPct val="20000"/>
                </a:spcBef>
                <a:spcAft>
                  <a:spcPct val="0"/>
                </a:spcAft>
                <a:buFont typeface="Arial" charset="0"/>
                <a:buChar char="•"/>
                <a:defRPr sz="2600" kern="1200">
                  <a:solidFill>
                    <a:schemeClr val="dk1"/>
                  </a:solidFill>
                  <a:latin typeface="+mn-lt"/>
                  <a:ea typeface="+mn-ea"/>
                  <a:cs typeface="+mn-cs"/>
                </a:defRPr>
              </a:lvl2pPr>
              <a:lvl3pPr marL="173038" indent="-173038" algn="l" rtl="0" eaLnBrk="1" fontAlgn="base" hangingPunct="1">
                <a:spcBef>
                  <a:spcPct val="20000"/>
                </a:spcBef>
                <a:spcAft>
                  <a:spcPct val="0"/>
                </a:spcAft>
                <a:buFont typeface="Arial" charset="0"/>
                <a:buChar char="–"/>
                <a:defRPr sz="2400" kern="1200">
                  <a:solidFill>
                    <a:schemeClr val="dk1"/>
                  </a:solidFill>
                  <a:latin typeface="+mn-lt"/>
                  <a:ea typeface="+mn-ea"/>
                  <a:cs typeface="+mn-cs"/>
                </a:defRPr>
              </a:lvl3pPr>
              <a:lvl4pPr marL="173038" indent="-173038" algn="l" rtl="0" eaLnBrk="1" fontAlgn="base" hangingPunct="1">
                <a:spcBef>
                  <a:spcPct val="20000"/>
                </a:spcBef>
                <a:spcAft>
                  <a:spcPct val="0"/>
                </a:spcAft>
                <a:buFont typeface="Arial" charset="0"/>
                <a:buChar char="•"/>
                <a:defRPr sz="2200" kern="1200">
                  <a:solidFill>
                    <a:schemeClr val="dk1"/>
                  </a:solidFill>
                  <a:latin typeface="+mn-lt"/>
                  <a:ea typeface="+mn-ea"/>
                  <a:cs typeface="+mn-cs"/>
                </a:defRPr>
              </a:lvl4pPr>
              <a:lvl5pPr marL="269875" indent="-269875" algn="l" rtl="0" eaLnBrk="1" fontAlgn="base" hangingPunct="1">
                <a:spcBef>
                  <a:spcPct val="20000"/>
                </a:spcBef>
                <a:spcAft>
                  <a:spcPct val="0"/>
                </a:spcAft>
                <a:buFont typeface="Lucida Grande" pitchFamily="-105" charset="0"/>
                <a:buChar char="−"/>
                <a:defRPr sz="2000" kern="120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algn="ctr">
                <a:spcBef>
                  <a:spcPts val="400"/>
                </a:spcBef>
                <a:spcAft>
                  <a:spcPts val="300"/>
                </a:spcAft>
              </a:pPr>
              <a:r>
                <a:rPr lang="es-ES_tradnl" sz="1600" b="1" dirty="0" smtClean="0">
                  <a:solidFill>
                    <a:schemeClr val="accent1"/>
                  </a:solidFill>
                </a:rPr>
                <a:t>Tarifas de Acceso</a:t>
              </a:r>
            </a:p>
            <a:p>
              <a:pPr algn="ctr">
                <a:spcBef>
                  <a:spcPts val="400"/>
                </a:spcBef>
                <a:spcAft>
                  <a:spcPts val="300"/>
                </a:spcAft>
              </a:pPr>
              <a:r>
                <a:rPr lang="es-ES_tradnl" sz="1600" b="1" dirty="0" smtClean="0">
                  <a:solidFill>
                    <a:schemeClr val="accent1"/>
                  </a:solidFill>
                </a:rPr>
                <a:t>Características principales</a:t>
              </a:r>
            </a:p>
          </p:txBody>
        </p:sp>
        <p:cxnSp>
          <p:nvCxnSpPr>
            <p:cNvPr id="15" name="Straight Connector 14"/>
            <p:cNvCxnSpPr/>
            <p:nvPr/>
          </p:nvCxnSpPr>
          <p:spPr>
            <a:xfrm>
              <a:off x="5282005" y="2097743"/>
              <a:ext cx="3414320" cy="0"/>
            </a:xfrm>
            <a:prstGeom prst="line">
              <a:avLst/>
            </a:prstGeom>
            <a:grpFill/>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89169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a:defRPr/>
            </a:pPr>
            <a:fld id="{90CBDC3A-D49F-4631-A8C7-55D59B33E5FA}" type="slidenum">
              <a:rPr lang="en-US" smtClean="0"/>
              <a:pPr>
                <a:defRPr/>
              </a:pPr>
              <a:t>19</a:t>
            </a:fld>
            <a:endParaRPr lang="en-US" dirty="0"/>
          </a:p>
        </p:txBody>
      </p:sp>
      <p:pic>
        <p:nvPicPr>
          <p:cNvPr id="6"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7399" b="2005"/>
          <a:stretch/>
        </p:blipFill>
        <p:spPr bwMode="auto">
          <a:xfrm>
            <a:off x="1516793" y="2282747"/>
            <a:ext cx="6113590" cy="4174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a:xfrm>
            <a:off x="599730" y="195979"/>
            <a:ext cx="8229600" cy="783654"/>
          </a:xfrm>
          <a:prstGeom prst="rect">
            <a:avLst/>
          </a:prstGeom>
        </p:spPr>
        <p:txBody>
          <a:bodyPr lIns="0" bIns="0" anchor="b" anchorCtr="0"/>
          <a:lstStyle>
            <a:lvl1pPr algn="l" rtl="0" eaLnBrk="1" fontAlgn="base" hangingPunct="1">
              <a:lnSpc>
                <a:spcPts val="2600"/>
              </a:lnSpc>
              <a:spcBef>
                <a:spcPct val="0"/>
              </a:spcBef>
              <a:spcAft>
                <a:spcPct val="0"/>
              </a:spcAft>
              <a:buFont typeface="Arial" charset="0"/>
              <a:defRPr sz="2600" kern="1200" spc="-100" baseline="0">
                <a:solidFill>
                  <a:srgbClr val="003344"/>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s-ES_tradnl" dirty="0" smtClean="0"/>
              <a:t>Retribución actividades reguladas</a:t>
            </a:r>
            <a:br>
              <a:rPr lang="es-ES_tradnl" dirty="0" smtClean="0"/>
            </a:br>
            <a:r>
              <a:rPr lang="es-ES_tradnl" b="1" dirty="0" smtClean="0"/>
              <a:t>Liquidación de los ingresos del sistema</a:t>
            </a:r>
            <a:endParaRPr lang="es-ES_tradnl" b="1" dirty="0"/>
          </a:p>
        </p:txBody>
      </p:sp>
      <p:sp>
        <p:nvSpPr>
          <p:cNvPr id="2" name="TextBox 1"/>
          <p:cNvSpPr txBox="1"/>
          <p:nvPr/>
        </p:nvSpPr>
        <p:spPr>
          <a:xfrm>
            <a:off x="580909" y="1082136"/>
            <a:ext cx="7986320" cy="954107"/>
          </a:xfrm>
          <a:prstGeom prst="rect">
            <a:avLst/>
          </a:prstGeom>
          <a:noFill/>
        </p:spPr>
        <p:txBody>
          <a:bodyPr wrap="square" rtlCol="0">
            <a:spAutoFit/>
          </a:bodyPr>
          <a:lstStyle/>
          <a:p>
            <a:pPr marL="171450" indent="-171450">
              <a:buFont typeface="Arial" pitchFamily="34" charset="0"/>
              <a:buChar char="•"/>
            </a:pPr>
            <a:r>
              <a:rPr lang="es-ES" sz="1400" dirty="0">
                <a:solidFill>
                  <a:schemeClr val="accent1"/>
                </a:solidFill>
                <a:latin typeface="+mn-lt"/>
                <a:cs typeface="+mn-cs"/>
              </a:rPr>
              <a:t>Las empresas de distribución no retienen los ingresos procedentes de la facturación de las tarifas de acceso, sino que actúan como meros recaudadores del Sistema. </a:t>
            </a:r>
            <a:endParaRPr lang="es-ES" sz="1400" dirty="0" smtClean="0">
              <a:solidFill>
                <a:schemeClr val="accent1"/>
              </a:solidFill>
              <a:latin typeface="+mn-lt"/>
              <a:cs typeface="+mn-cs"/>
            </a:endParaRPr>
          </a:p>
          <a:p>
            <a:pPr marL="171450" indent="-171450">
              <a:buFont typeface="Arial" pitchFamily="34" charset="0"/>
              <a:buChar char="•"/>
            </a:pPr>
            <a:r>
              <a:rPr lang="es-ES" sz="1400" dirty="0" smtClean="0">
                <a:solidFill>
                  <a:schemeClr val="accent1"/>
                </a:solidFill>
                <a:latin typeface="+mn-lt"/>
                <a:cs typeface="+mn-cs"/>
              </a:rPr>
              <a:t>Los </a:t>
            </a:r>
            <a:r>
              <a:rPr lang="es-ES" sz="1400" dirty="0">
                <a:solidFill>
                  <a:schemeClr val="accent1"/>
                </a:solidFill>
                <a:latin typeface="+mn-lt"/>
                <a:cs typeface="+mn-cs"/>
              </a:rPr>
              <a:t>ingresos correspondientes a estas tarifas son entregados a la CNE (Comisión Nacional de Energía) y pasan a formar parte de su sistema de liquidaciones de las actividades reguladas.</a:t>
            </a:r>
          </a:p>
        </p:txBody>
      </p:sp>
    </p:spTree>
    <p:extLst>
      <p:ext uri="{BB962C8B-B14F-4D97-AF65-F5344CB8AC3E}">
        <p14:creationId xmlns:p14="http://schemas.microsoft.com/office/powerpoint/2010/main" val="41689470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1"/>
          </p:nvPr>
        </p:nvSpPr>
        <p:spPr>
          <a:xfrm>
            <a:off x="446151" y="525183"/>
            <a:ext cx="8251698" cy="5807635"/>
          </a:xfrm>
        </p:spPr>
        <p:txBody>
          <a:bodyPr>
            <a:noAutofit/>
          </a:bodyPr>
          <a:lstStyle/>
          <a:p>
            <a:pPr>
              <a:spcBef>
                <a:spcPts val="1200"/>
              </a:spcBef>
              <a:spcAft>
                <a:spcPts val="600"/>
              </a:spcAft>
            </a:pPr>
            <a:r>
              <a:rPr lang="es-ES_tradnl" dirty="0">
                <a:solidFill>
                  <a:schemeClr val="tx1"/>
                </a:solidFill>
              </a:rPr>
              <a:t>Esquema General.</a:t>
            </a:r>
          </a:p>
          <a:p>
            <a:pPr>
              <a:spcBef>
                <a:spcPts val="1200"/>
              </a:spcBef>
              <a:spcAft>
                <a:spcPts val="600"/>
              </a:spcAft>
            </a:pPr>
            <a:r>
              <a:rPr lang="es-ES_tradnl" dirty="0">
                <a:solidFill>
                  <a:schemeClr val="bg1">
                    <a:lumMod val="65000"/>
                  </a:schemeClr>
                </a:solidFill>
              </a:rPr>
              <a:t>Introducción a la cadena de valor</a:t>
            </a:r>
            <a:r>
              <a:rPr lang="es-ES_tradnl" dirty="0">
                <a:solidFill>
                  <a:schemeClr val="tx1"/>
                </a:solidFill>
              </a:rPr>
              <a:t>.</a:t>
            </a:r>
          </a:p>
          <a:p>
            <a:pPr>
              <a:spcBef>
                <a:spcPts val="1200"/>
              </a:spcBef>
              <a:spcAft>
                <a:spcPts val="600"/>
              </a:spcAft>
            </a:pPr>
            <a:r>
              <a:rPr lang="es-ES_tradnl" dirty="0" smtClean="0">
                <a:solidFill>
                  <a:schemeClr val="bg1">
                    <a:lumMod val="65000"/>
                  </a:schemeClr>
                </a:solidFill>
              </a:rPr>
              <a:t>Remuneración Actividades Liberalizadas </a:t>
            </a:r>
          </a:p>
          <a:p>
            <a:pPr>
              <a:spcBef>
                <a:spcPts val="1200"/>
              </a:spcBef>
              <a:spcAft>
                <a:spcPts val="600"/>
              </a:spcAft>
            </a:pPr>
            <a:r>
              <a:rPr lang="es-ES_tradnl" dirty="0" smtClean="0">
                <a:solidFill>
                  <a:schemeClr val="bg1">
                    <a:lumMod val="65000"/>
                  </a:schemeClr>
                </a:solidFill>
              </a:rPr>
              <a:t>Remuneración de Actividades Reguladas</a:t>
            </a:r>
          </a:p>
          <a:p>
            <a:pPr>
              <a:spcBef>
                <a:spcPts val="1200"/>
              </a:spcBef>
              <a:spcAft>
                <a:spcPts val="600"/>
              </a:spcAft>
            </a:pPr>
            <a:r>
              <a:rPr lang="es-ES_tradnl" dirty="0" smtClean="0">
                <a:solidFill>
                  <a:schemeClr val="bg1">
                    <a:lumMod val="65000"/>
                  </a:schemeClr>
                </a:solidFill>
              </a:rPr>
              <a:t>Situación en España. Déficit de tarifa</a:t>
            </a:r>
          </a:p>
          <a:p>
            <a:pPr>
              <a:spcBef>
                <a:spcPts val="1200"/>
              </a:spcBef>
              <a:spcAft>
                <a:spcPts val="600"/>
              </a:spcAft>
            </a:pPr>
            <a:r>
              <a:rPr lang="es-ES_tradnl" dirty="0" smtClean="0">
                <a:solidFill>
                  <a:schemeClr val="bg1">
                    <a:lumMod val="65000"/>
                  </a:schemeClr>
                </a:solidFill>
              </a:rPr>
              <a:t>Mapa de procesos.</a:t>
            </a:r>
          </a:p>
          <a:p>
            <a:pPr>
              <a:spcBef>
                <a:spcPts val="1200"/>
              </a:spcBef>
              <a:spcAft>
                <a:spcPts val="600"/>
              </a:spcAft>
            </a:pPr>
            <a:r>
              <a:rPr lang="es-ES_tradnl" dirty="0" smtClean="0">
                <a:solidFill>
                  <a:schemeClr val="bg1">
                    <a:lumMod val="65000"/>
                  </a:schemeClr>
                </a:solidFill>
              </a:rPr>
              <a:t>Nuevas tecnologías.</a:t>
            </a:r>
          </a:p>
          <a:p>
            <a:pPr>
              <a:spcBef>
                <a:spcPts val="1200"/>
              </a:spcBef>
              <a:spcAft>
                <a:spcPts val="600"/>
              </a:spcAft>
            </a:pPr>
            <a:r>
              <a:rPr lang="es-ES_tradnl" dirty="0" smtClean="0">
                <a:solidFill>
                  <a:schemeClr val="bg1">
                    <a:lumMod val="65000"/>
                  </a:schemeClr>
                </a:solidFill>
              </a:rPr>
              <a:t>Offerings de Accenture.</a:t>
            </a:r>
          </a:p>
          <a:p>
            <a:pPr>
              <a:spcBef>
                <a:spcPts val="1200"/>
              </a:spcBef>
              <a:spcAft>
                <a:spcPts val="600"/>
              </a:spcAft>
            </a:pPr>
            <a:r>
              <a:rPr lang="es-ES_tradnl" dirty="0" smtClean="0">
                <a:solidFill>
                  <a:schemeClr val="bg1">
                    <a:lumMod val="65000"/>
                  </a:schemeClr>
                </a:solidFill>
              </a:rPr>
              <a:t>Experiencias Accenture.</a:t>
            </a:r>
          </a:p>
        </p:txBody>
      </p:sp>
      <p:sp>
        <p:nvSpPr>
          <p:cNvPr id="40" name="Slide Number Placeholder 39"/>
          <p:cNvSpPr>
            <a:spLocks noGrp="1"/>
          </p:cNvSpPr>
          <p:nvPr>
            <p:ph type="sldNum" sz="quarter" idx="4"/>
          </p:nvPr>
        </p:nvSpPr>
        <p:spPr/>
        <p:txBody>
          <a:bodyPr/>
          <a:lstStyle/>
          <a:p>
            <a:fld id="{90CBDC3A-D49F-4631-A8C7-55D59B33E5FA}" type="slidenum">
              <a:rPr lang="en-US" smtClean="0"/>
              <a:pPr/>
              <a:t>2</a:t>
            </a:fld>
            <a:endParaRPr lang="en-US" dirty="0"/>
          </a:p>
        </p:txBody>
      </p:sp>
      <p:sp>
        <p:nvSpPr>
          <p:cNvPr id="2" name="Rounded Rectangle 1"/>
          <p:cNvSpPr/>
          <p:nvPr/>
        </p:nvSpPr>
        <p:spPr>
          <a:xfrm>
            <a:off x="281354" y="422018"/>
            <a:ext cx="8707901" cy="6752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8411948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39"/>
          <p:cNvSpPr>
            <a:spLocks noGrp="1"/>
          </p:cNvSpPr>
          <p:nvPr>
            <p:ph type="sldNum" sz="quarter" idx="4"/>
          </p:nvPr>
        </p:nvSpPr>
        <p:spPr>
          <a:prstGeom prst="roundRect">
            <a:avLst/>
          </a:prstGeom>
        </p:spPr>
        <p:txBody>
          <a:bodyPr/>
          <a:lstStyle/>
          <a:p>
            <a:pPr>
              <a:defRPr/>
            </a:pPr>
            <a:fld id="{90CBDC3A-D49F-4631-A8C7-55D59B33E5FA}" type="slidenum">
              <a:rPr lang="en-US" smtClean="0"/>
              <a:pPr>
                <a:defRPr/>
              </a:pPr>
              <a:t>20</a:t>
            </a:fld>
            <a:endParaRPr lang="en-US" dirty="0"/>
          </a:p>
        </p:txBody>
      </p:sp>
      <p:pic>
        <p:nvPicPr>
          <p:cNvPr id="2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3896" y="3800925"/>
            <a:ext cx="1358635" cy="1025689"/>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Text Placeholder 1"/>
          <p:cNvSpPr>
            <a:spLocks noGrp="1"/>
          </p:cNvSpPr>
          <p:nvPr>
            <p:ph type="body" sz="quarter" idx="10"/>
          </p:nvPr>
        </p:nvSpPr>
        <p:spPr>
          <a:xfrm>
            <a:off x="424479" y="1831819"/>
            <a:ext cx="2216075" cy="3167320"/>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lstStyle/>
          <a:p>
            <a:pPr marL="171450" indent="-171450">
              <a:spcBef>
                <a:spcPts val="600"/>
              </a:spcBef>
              <a:buFont typeface="Arial" pitchFamily="34" charset="0"/>
              <a:buChar char="•"/>
            </a:pPr>
            <a:r>
              <a:rPr lang="es-ES_tradnl" sz="1100" dirty="0">
                <a:solidFill>
                  <a:schemeClr val="accent1"/>
                </a:solidFill>
                <a:latin typeface="Arial" pitchFamily="34" charset="0"/>
                <a:ea typeface="Arial" pitchFamily="-105" charset="-52"/>
                <a:cs typeface="Arial" pitchFamily="34" charset="0"/>
              </a:rPr>
              <a:t>Reconocimiento de todos los costes y asignación de un factor de rentabilidad.</a:t>
            </a:r>
          </a:p>
          <a:p>
            <a:pPr marL="0" indent="0">
              <a:spcBef>
                <a:spcPts val="600"/>
              </a:spcBef>
            </a:pPr>
            <a:endParaRPr lang="es-ES_tradnl" sz="1100" dirty="0">
              <a:solidFill>
                <a:schemeClr val="accent1"/>
              </a:solidFill>
              <a:latin typeface="Arial" pitchFamily="34" charset="0"/>
              <a:ea typeface="Arial" pitchFamily="-105" charset="-52"/>
              <a:cs typeface="Arial" pitchFamily="34" charset="0"/>
            </a:endParaRPr>
          </a:p>
          <a:p>
            <a:pPr marL="0" indent="0">
              <a:spcBef>
                <a:spcPts val="600"/>
              </a:spcBef>
            </a:pPr>
            <a:r>
              <a:rPr lang="es-ES_tradnl" sz="1200" b="1" dirty="0" err="1">
                <a:solidFill>
                  <a:schemeClr val="accent1"/>
                </a:solidFill>
                <a:latin typeface="Arial" pitchFamily="34" charset="0"/>
                <a:ea typeface="Arial" pitchFamily="-105" charset="-52"/>
                <a:cs typeface="Arial" pitchFamily="34" charset="0"/>
              </a:rPr>
              <a:t>Rt</a:t>
            </a:r>
            <a:r>
              <a:rPr lang="es-ES_tradnl" sz="1200" b="1" dirty="0">
                <a:solidFill>
                  <a:schemeClr val="accent1"/>
                </a:solidFill>
                <a:latin typeface="Arial" pitchFamily="34" charset="0"/>
                <a:ea typeface="Arial" pitchFamily="-105" charset="-52"/>
                <a:cs typeface="Arial" pitchFamily="34" charset="0"/>
              </a:rPr>
              <a:t> = CAPEX + ROE + OPEX</a:t>
            </a:r>
          </a:p>
          <a:p>
            <a:pPr marL="171450" indent="-171450">
              <a:spcBef>
                <a:spcPts val="600"/>
              </a:spcBef>
              <a:buFont typeface="Arial" pitchFamily="34" charset="0"/>
              <a:buChar char="•"/>
            </a:pPr>
            <a:r>
              <a:rPr lang="es-ES_tradnl" sz="1100" dirty="0">
                <a:solidFill>
                  <a:schemeClr val="accent1"/>
                </a:solidFill>
                <a:latin typeface="Arial" pitchFamily="34" charset="0"/>
                <a:ea typeface="Arial" pitchFamily="-105" charset="-52"/>
                <a:cs typeface="Arial" pitchFamily="34" charset="0"/>
              </a:rPr>
              <a:t>La tasa de retorno debe cubrir las inversiones realizadas, así como incentivar </a:t>
            </a:r>
            <a:r>
              <a:rPr lang="es-ES_tradnl" sz="1100" dirty="0" smtClean="0">
                <a:solidFill>
                  <a:schemeClr val="accent1"/>
                </a:solidFill>
                <a:latin typeface="Arial" pitchFamily="34" charset="0"/>
                <a:ea typeface="Arial" pitchFamily="-105" charset="-52"/>
                <a:cs typeface="Arial" pitchFamily="34" charset="0"/>
              </a:rPr>
              <a:t>proyectos </a:t>
            </a:r>
            <a:r>
              <a:rPr lang="es-ES_tradnl" sz="1100" dirty="0">
                <a:solidFill>
                  <a:schemeClr val="accent1"/>
                </a:solidFill>
                <a:latin typeface="Arial" pitchFamily="34" charset="0"/>
                <a:ea typeface="Arial" pitchFamily="-105" charset="-52"/>
                <a:cs typeface="Arial" pitchFamily="34" charset="0"/>
              </a:rPr>
              <a:t>de inversión</a:t>
            </a:r>
          </a:p>
        </p:txBody>
      </p:sp>
      <p:sp>
        <p:nvSpPr>
          <p:cNvPr id="32" name="Text Placeholder 2"/>
          <p:cNvSpPr txBox="1">
            <a:spLocks/>
          </p:cNvSpPr>
          <p:nvPr/>
        </p:nvSpPr>
        <p:spPr>
          <a:xfrm>
            <a:off x="424479" y="1254388"/>
            <a:ext cx="2216075" cy="577430"/>
          </a:xfrm>
          <a:prstGeom prst="rect">
            <a:avLst/>
          </a:prstGeom>
          <a:solidFill>
            <a:schemeClr val="accent1"/>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0" anchor="ctr"/>
          <a:lstStyle>
            <a:lvl1pPr marL="266700" indent="-266700" algn="l" rtl="0" eaLnBrk="1" fontAlgn="base" hangingPunct="1">
              <a:spcBef>
                <a:spcPct val="20000"/>
              </a:spcBef>
              <a:spcAft>
                <a:spcPct val="0"/>
              </a:spcAft>
              <a:buFont typeface="Arial" pitchFamily="34" charset="0"/>
              <a:buChar char="•"/>
              <a:defRPr sz="2600" kern="1200">
                <a:solidFill>
                  <a:srgbClr val="778888"/>
                </a:solidFill>
                <a:latin typeface="Arial" pitchFamily="34" charset="0"/>
                <a:ea typeface="Arial" pitchFamily="-105" charset="-52"/>
                <a:cs typeface="Arial" pitchFamily="34" charset="0"/>
              </a:defRPr>
            </a:lvl1pPr>
            <a:lvl2pPr marL="266700" indent="-266700" algn="l" rtl="0" eaLnBrk="1" fontAlgn="base" hangingPunct="1">
              <a:spcBef>
                <a:spcPct val="20000"/>
              </a:spcBef>
              <a:spcAft>
                <a:spcPct val="0"/>
              </a:spcAft>
              <a:buFont typeface="Arial" pitchFamily="34" charset="0"/>
              <a:buChar char="−"/>
              <a:defRPr sz="2400" kern="1200">
                <a:solidFill>
                  <a:srgbClr val="778888"/>
                </a:solidFill>
                <a:latin typeface="Arial" pitchFamily="34" charset="0"/>
                <a:ea typeface="Arial" pitchFamily="-105" charset="-52"/>
                <a:cs typeface="Arial" pitchFamily="34" charset="0"/>
              </a:defRPr>
            </a:lvl2pPr>
            <a:lvl3pPr marL="266700" indent="-266700" algn="l" rtl="0" eaLnBrk="1" fontAlgn="base" hangingPunct="1">
              <a:spcBef>
                <a:spcPct val="20000"/>
              </a:spcBef>
              <a:spcAft>
                <a:spcPct val="0"/>
              </a:spcAft>
              <a:buFont typeface="Arial" pitchFamily="34" charset="0"/>
              <a:buChar char="•"/>
              <a:defRPr sz="2200" kern="1200">
                <a:solidFill>
                  <a:srgbClr val="778888"/>
                </a:solidFill>
                <a:latin typeface="Arial" pitchFamily="34" charset="0"/>
                <a:ea typeface="Arial" pitchFamily="-105" charset="-52"/>
                <a:cs typeface="Arial" pitchFamily="34" charset="0"/>
              </a:defRPr>
            </a:lvl3pPr>
            <a:lvl4pPr marL="266700" indent="-266700" algn="l" rtl="0" eaLnBrk="1" fontAlgn="base" hangingPunct="1">
              <a:spcBef>
                <a:spcPct val="20000"/>
              </a:spcBef>
              <a:spcAft>
                <a:spcPct val="0"/>
              </a:spcAft>
              <a:buFont typeface="Arial" pitchFamily="34" charset="0"/>
              <a:buChar char="−"/>
              <a:defRPr sz="2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26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s-ES_tradnl" sz="1400" b="1" dirty="0" smtClean="0">
                <a:solidFill>
                  <a:schemeClr val="bg1"/>
                </a:solidFill>
              </a:rPr>
              <a:t>Coste por servicio </a:t>
            </a:r>
            <a:br>
              <a:rPr lang="es-ES_tradnl" sz="1400" b="1" dirty="0" smtClean="0">
                <a:solidFill>
                  <a:schemeClr val="bg1"/>
                </a:solidFill>
              </a:rPr>
            </a:br>
            <a:r>
              <a:rPr lang="es-ES_tradnl" sz="1400" b="1" dirty="0" smtClean="0">
                <a:solidFill>
                  <a:schemeClr val="bg1"/>
                </a:solidFill>
              </a:rPr>
              <a:t>(</a:t>
            </a:r>
            <a:r>
              <a:rPr lang="es-ES_tradnl" sz="1400" b="1" dirty="0" err="1" smtClean="0">
                <a:solidFill>
                  <a:schemeClr val="bg1"/>
                </a:solidFill>
              </a:rPr>
              <a:t>Cost</a:t>
            </a:r>
            <a:r>
              <a:rPr lang="es-ES_tradnl" sz="1400" b="1" dirty="0" smtClean="0">
                <a:solidFill>
                  <a:schemeClr val="bg1"/>
                </a:solidFill>
              </a:rPr>
              <a:t>  plus)</a:t>
            </a:r>
            <a:endParaRPr lang="en-US" sz="1400" b="1" dirty="0">
              <a:solidFill>
                <a:schemeClr val="bg1"/>
              </a:solidFill>
            </a:endParaRPr>
          </a:p>
        </p:txBody>
      </p:sp>
      <p:pic>
        <p:nvPicPr>
          <p:cNvPr id="3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5555" y="3882640"/>
            <a:ext cx="2013921" cy="1050969"/>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Text Placeholder 2"/>
          <p:cNvSpPr txBox="1">
            <a:spLocks/>
          </p:cNvSpPr>
          <p:nvPr/>
        </p:nvSpPr>
        <p:spPr>
          <a:xfrm>
            <a:off x="2758888" y="1254388"/>
            <a:ext cx="2355926" cy="577431"/>
          </a:xfrm>
          <a:prstGeom prst="rect">
            <a:avLst/>
          </a:prstGeom>
          <a:solidFill>
            <a:schemeClr val="accent1"/>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0" anchor="ctr"/>
          <a:lstStyle>
            <a:lvl1pPr marL="0" indent="-342900" algn="ctr" eaLnBrk="1" hangingPunct="1">
              <a:lnSpc>
                <a:spcPct val="100000"/>
              </a:lnSpc>
              <a:spcBef>
                <a:spcPts val="0"/>
              </a:spcBef>
              <a:buFont typeface="Arial" charset="0"/>
              <a:defRPr sz="1400" b="1" spc="-100" baseline="0">
                <a:solidFill>
                  <a:schemeClr val="accent1"/>
                </a:solidFill>
                <a:latin typeface="Arial" pitchFamily="34" charset="0"/>
                <a:ea typeface="Arial" pitchFamily="-105" charset="-52"/>
                <a:cs typeface="Arial" pitchFamily="34" charset="0"/>
              </a:defRPr>
            </a:lvl1pPr>
            <a:lvl2pPr marL="173038" indent="-173038" eaLnBrk="1" hangingPunct="1">
              <a:spcBef>
                <a:spcPct val="20000"/>
              </a:spcBef>
              <a:buFont typeface="Arial" charset="0"/>
              <a:buChar char="•"/>
              <a:defRPr sz="1000">
                <a:solidFill>
                  <a:srgbClr val="778888"/>
                </a:solidFill>
                <a:latin typeface="Arial" pitchFamily="34" charset="0"/>
                <a:ea typeface="Arial" pitchFamily="-105" charset="-52"/>
                <a:cs typeface="Arial" pitchFamily="34" charset="0"/>
              </a:defRPr>
            </a:lvl2pPr>
            <a:lvl3pPr marL="173038" indent="-173038" eaLnBrk="1" hangingPunct="1">
              <a:spcBef>
                <a:spcPct val="20000"/>
              </a:spcBef>
              <a:buFont typeface="Arial" charset="0"/>
              <a:buChar char="–"/>
              <a:defRPr sz="1000">
                <a:solidFill>
                  <a:srgbClr val="778888"/>
                </a:solidFill>
                <a:latin typeface="Arial" pitchFamily="34" charset="0"/>
                <a:ea typeface="Arial" pitchFamily="-105" charset="-52"/>
                <a:cs typeface="Arial" pitchFamily="34" charset="0"/>
              </a:defRPr>
            </a:lvl3pPr>
            <a:lvl4pPr marL="173038" indent="-173038" eaLnBrk="1" hangingPunct="1">
              <a:spcBef>
                <a:spcPct val="20000"/>
              </a:spcBef>
              <a:buFont typeface="Arial" charset="0"/>
              <a:buChar char="•"/>
              <a:defRPr sz="1000">
                <a:solidFill>
                  <a:srgbClr val="778888"/>
                </a:solidFill>
                <a:latin typeface="Arial" pitchFamily="34" charset="0"/>
                <a:ea typeface="Arial" pitchFamily="-105" charset="-52"/>
                <a:cs typeface="Arial" pitchFamily="34" charset="0"/>
              </a:defRPr>
            </a:lvl4pPr>
            <a:lvl5pPr marL="269875" indent="-269875" eaLnBrk="1" hangingPunct="1">
              <a:spcBef>
                <a:spcPct val="20000"/>
              </a:spcBef>
              <a:buFont typeface="Lucida Grande" pitchFamily="-105" charset="0"/>
              <a:buChar char="−"/>
              <a:defRPr sz="1000">
                <a:solidFill>
                  <a:srgbClr val="778888"/>
                </a:solidFill>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r>
              <a:rPr lang="es-ES_tradnl" dirty="0">
                <a:solidFill>
                  <a:schemeClr val="bg1"/>
                </a:solidFill>
              </a:rPr>
              <a:t>Retribución por incentivos</a:t>
            </a:r>
            <a:br>
              <a:rPr lang="es-ES_tradnl" dirty="0">
                <a:solidFill>
                  <a:schemeClr val="bg1"/>
                </a:solidFill>
              </a:rPr>
            </a:br>
            <a:r>
              <a:rPr lang="es-ES_tradnl" dirty="0">
                <a:solidFill>
                  <a:schemeClr val="bg1"/>
                </a:solidFill>
              </a:rPr>
              <a:t>(</a:t>
            </a:r>
            <a:r>
              <a:rPr lang="es-ES_tradnl" dirty="0" err="1">
                <a:solidFill>
                  <a:schemeClr val="bg1"/>
                </a:solidFill>
              </a:rPr>
              <a:t>Revenue</a:t>
            </a:r>
            <a:r>
              <a:rPr lang="es-ES_tradnl" dirty="0">
                <a:solidFill>
                  <a:schemeClr val="bg1"/>
                </a:solidFill>
              </a:rPr>
              <a:t> </a:t>
            </a:r>
            <a:r>
              <a:rPr lang="es-ES_tradnl" dirty="0" err="1">
                <a:solidFill>
                  <a:schemeClr val="bg1"/>
                </a:solidFill>
              </a:rPr>
              <a:t>cap</a:t>
            </a:r>
            <a:r>
              <a:rPr lang="es-ES_tradnl" dirty="0">
                <a:solidFill>
                  <a:schemeClr val="bg1"/>
                </a:solidFill>
              </a:rPr>
              <a:t> )</a:t>
            </a:r>
            <a:endParaRPr lang="en-US" dirty="0">
              <a:solidFill>
                <a:schemeClr val="bg1"/>
              </a:solidFill>
            </a:endParaRPr>
          </a:p>
        </p:txBody>
      </p:sp>
      <p:sp>
        <p:nvSpPr>
          <p:cNvPr id="45" name="Text Placeholder 1"/>
          <p:cNvSpPr txBox="1">
            <a:spLocks/>
          </p:cNvSpPr>
          <p:nvPr/>
        </p:nvSpPr>
        <p:spPr>
          <a:xfrm>
            <a:off x="2758888" y="1831819"/>
            <a:ext cx="2355926" cy="3167319"/>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600"/>
              </a:spcBef>
              <a:buFont typeface="Arial" pitchFamily="34" charset="0"/>
              <a:buChar char="•"/>
            </a:pPr>
            <a:r>
              <a:rPr lang="es-ES_tradnl" sz="1100" spc="0" dirty="0" smtClean="0">
                <a:solidFill>
                  <a:schemeClr val="accent1"/>
                </a:solidFill>
              </a:rPr>
              <a:t>El regulador pone un tope de ingresos mediante un factor de eficiencia asociado al aumento del IPC revisable cada periodo regulatorio.</a:t>
            </a:r>
          </a:p>
          <a:p>
            <a:pPr algn="ctr">
              <a:lnSpc>
                <a:spcPct val="100000"/>
              </a:lnSpc>
              <a:spcBef>
                <a:spcPts val="600"/>
              </a:spcBef>
            </a:pPr>
            <a:r>
              <a:rPr lang="es-ES_tradnl" sz="1200" b="1" spc="0" dirty="0" err="1" smtClean="0">
                <a:solidFill>
                  <a:schemeClr val="accent1"/>
                </a:solidFill>
              </a:rPr>
              <a:t>R</a:t>
            </a:r>
            <a:r>
              <a:rPr lang="es-ES_tradnl" sz="1200" b="1" spc="0" baseline="-25000" dirty="0" err="1" smtClean="0">
                <a:solidFill>
                  <a:schemeClr val="accent1"/>
                </a:solidFill>
              </a:rPr>
              <a:t>t</a:t>
            </a:r>
            <a:r>
              <a:rPr lang="es-ES_tradnl" sz="1200" b="1" spc="0" dirty="0" smtClean="0">
                <a:solidFill>
                  <a:schemeClr val="accent1"/>
                </a:solidFill>
              </a:rPr>
              <a:t> = CAPEX</a:t>
            </a:r>
            <a:r>
              <a:rPr lang="es-ES_tradnl" sz="1200" b="1" spc="0" baseline="-25000" dirty="0" smtClean="0">
                <a:solidFill>
                  <a:schemeClr val="accent1"/>
                </a:solidFill>
              </a:rPr>
              <a:t>(eficientes) </a:t>
            </a:r>
            <a:r>
              <a:rPr lang="es-ES_tradnl" sz="1200" b="1" spc="0" dirty="0">
                <a:solidFill>
                  <a:schemeClr val="accent1"/>
                </a:solidFill>
              </a:rPr>
              <a:t>+ ROE + </a:t>
            </a:r>
            <a:r>
              <a:rPr lang="es-ES_tradnl" sz="1200" b="1" spc="0" dirty="0" smtClean="0">
                <a:solidFill>
                  <a:schemeClr val="accent1"/>
                </a:solidFill>
              </a:rPr>
              <a:t>OPEX</a:t>
            </a:r>
            <a:r>
              <a:rPr lang="es-ES_tradnl" sz="1200" b="1" spc="0" baseline="-25000" dirty="0" smtClean="0">
                <a:solidFill>
                  <a:schemeClr val="accent1"/>
                </a:solidFill>
              </a:rPr>
              <a:t>(eficientes)</a:t>
            </a:r>
          </a:p>
          <a:p>
            <a:pPr algn="ctr">
              <a:lnSpc>
                <a:spcPct val="100000"/>
              </a:lnSpc>
            </a:pPr>
            <a:r>
              <a:rPr lang="es-ES_tradnl" sz="1200" b="1" spc="0" dirty="0" smtClean="0">
                <a:solidFill>
                  <a:schemeClr val="accent1"/>
                </a:solidFill>
              </a:rPr>
              <a:t>R</a:t>
            </a:r>
            <a:r>
              <a:rPr lang="es-ES_tradnl" sz="1200" b="1" spc="0" baseline="-25000" dirty="0" smtClean="0">
                <a:solidFill>
                  <a:schemeClr val="accent1"/>
                </a:solidFill>
              </a:rPr>
              <a:t>t+1</a:t>
            </a:r>
            <a:r>
              <a:rPr lang="es-ES_tradnl" sz="1200" b="1" spc="0" dirty="0" smtClean="0">
                <a:solidFill>
                  <a:schemeClr val="accent1"/>
                </a:solidFill>
              </a:rPr>
              <a:t> = R </a:t>
            </a:r>
            <a:r>
              <a:rPr lang="es-ES_tradnl" sz="1200" b="1" spc="0" baseline="-25000" dirty="0" smtClean="0">
                <a:solidFill>
                  <a:schemeClr val="accent1"/>
                </a:solidFill>
              </a:rPr>
              <a:t>(t) </a:t>
            </a:r>
            <a:r>
              <a:rPr lang="es-ES_tradnl" sz="1200" b="1" spc="0" dirty="0" smtClean="0">
                <a:solidFill>
                  <a:schemeClr val="accent1"/>
                </a:solidFill>
              </a:rPr>
              <a:t>* (IPC – X)</a:t>
            </a:r>
            <a:r>
              <a:rPr lang="es-ES_tradnl" sz="1200" spc="0" dirty="0">
                <a:solidFill>
                  <a:schemeClr val="accent1"/>
                </a:solidFill>
              </a:rPr>
              <a:t> </a:t>
            </a:r>
          </a:p>
          <a:p>
            <a:pPr marL="171450" indent="-171450">
              <a:lnSpc>
                <a:spcPct val="100000"/>
              </a:lnSpc>
              <a:buFont typeface="Arial" pitchFamily="34" charset="0"/>
              <a:buChar char="•"/>
            </a:pPr>
            <a:r>
              <a:rPr lang="es-ES_tradnl" sz="1100" spc="0" dirty="0" smtClean="0">
                <a:solidFill>
                  <a:schemeClr val="accent1"/>
                </a:solidFill>
              </a:rPr>
              <a:t>Desacopla </a:t>
            </a:r>
            <a:r>
              <a:rPr lang="es-ES_tradnl" sz="1100" spc="0" dirty="0">
                <a:solidFill>
                  <a:schemeClr val="accent1"/>
                </a:solidFill>
              </a:rPr>
              <a:t>los ingresos de los </a:t>
            </a:r>
            <a:r>
              <a:rPr lang="es-ES_tradnl" sz="1100" spc="0" dirty="0" smtClean="0">
                <a:solidFill>
                  <a:schemeClr val="accent1"/>
                </a:solidFill>
              </a:rPr>
              <a:t>costes.</a:t>
            </a:r>
            <a:endParaRPr lang="es-ES_tradnl" sz="1100" spc="0" dirty="0">
              <a:solidFill>
                <a:schemeClr val="accent1"/>
              </a:solidFill>
            </a:endParaRPr>
          </a:p>
          <a:p>
            <a:pPr>
              <a:lnSpc>
                <a:spcPct val="100000"/>
              </a:lnSpc>
            </a:pPr>
            <a:endParaRPr lang="es-ES_tradnl" sz="1200" b="1" spc="0" dirty="0" smtClean="0">
              <a:solidFill>
                <a:schemeClr val="accent1"/>
              </a:solidFill>
            </a:endParaRPr>
          </a:p>
        </p:txBody>
      </p:sp>
      <p:sp>
        <p:nvSpPr>
          <p:cNvPr id="46" name="Text Placeholder 2"/>
          <p:cNvSpPr txBox="1">
            <a:spLocks/>
          </p:cNvSpPr>
          <p:nvPr/>
        </p:nvSpPr>
        <p:spPr>
          <a:xfrm>
            <a:off x="5271858" y="1254388"/>
            <a:ext cx="1795251" cy="577430"/>
          </a:xfrm>
          <a:prstGeom prst="rect">
            <a:avLst/>
          </a:prstGeom>
          <a:solidFill>
            <a:schemeClr val="accent1"/>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0" rIns="0" anchor="ctr"/>
          <a:lstStyle>
            <a:lvl1pPr marL="0" indent="-342900" algn="l" rtl="0" eaLnBrk="1" fontAlgn="base" hangingPunct="1">
              <a:lnSpc>
                <a:spcPts val="2400"/>
              </a:lnSpc>
              <a:spcBef>
                <a:spcPts val="0"/>
              </a:spcBef>
              <a:spcAft>
                <a:spcPct val="0"/>
              </a:spcAft>
              <a:buFont typeface="Arial" charset="0"/>
              <a:defRPr sz="2200" kern="1200" spc="-100" baseline="0">
                <a:solidFill>
                  <a:schemeClr val="accent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pPr>
            <a:r>
              <a:rPr lang="es-ES_tradnl" sz="1400" b="1" dirty="0" smtClean="0">
                <a:solidFill>
                  <a:schemeClr val="bg1"/>
                </a:solidFill>
              </a:rPr>
              <a:t>Costes medios </a:t>
            </a:r>
            <a:br>
              <a:rPr lang="es-ES_tradnl" sz="1400" b="1" dirty="0" smtClean="0">
                <a:solidFill>
                  <a:schemeClr val="bg1"/>
                </a:solidFill>
              </a:rPr>
            </a:br>
            <a:r>
              <a:rPr lang="es-ES_tradnl" sz="1400" b="1" dirty="0" smtClean="0">
                <a:solidFill>
                  <a:schemeClr val="bg1"/>
                </a:solidFill>
              </a:rPr>
              <a:t>(</a:t>
            </a:r>
            <a:r>
              <a:rPr lang="es-ES_tradnl" sz="1400" b="1" dirty="0" err="1" smtClean="0">
                <a:solidFill>
                  <a:schemeClr val="bg1"/>
                </a:solidFill>
              </a:rPr>
              <a:t>Yardstick</a:t>
            </a:r>
            <a:r>
              <a:rPr lang="es-ES_tradnl" sz="1400" b="1" dirty="0" smtClean="0">
                <a:solidFill>
                  <a:schemeClr val="bg1"/>
                </a:solidFill>
              </a:rPr>
              <a:t>)</a:t>
            </a:r>
            <a:endParaRPr lang="en-US" sz="1400" b="1" dirty="0">
              <a:solidFill>
                <a:schemeClr val="bg1"/>
              </a:solidFill>
            </a:endParaRPr>
          </a:p>
        </p:txBody>
      </p:sp>
      <p:sp>
        <p:nvSpPr>
          <p:cNvPr id="47" name="Text Placeholder 1"/>
          <p:cNvSpPr txBox="1">
            <a:spLocks/>
          </p:cNvSpPr>
          <p:nvPr/>
        </p:nvSpPr>
        <p:spPr>
          <a:xfrm>
            <a:off x="5271858" y="1831818"/>
            <a:ext cx="1795251" cy="3167319"/>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buFont typeface="Arial" pitchFamily="34" charset="0"/>
              <a:buChar char="•"/>
            </a:pPr>
            <a:r>
              <a:rPr lang="es-ES_tradnl" sz="1100" spc="0" dirty="0" smtClean="0">
                <a:solidFill>
                  <a:schemeClr val="accent1"/>
                </a:solidFill>
              </a:rPr>
              <a:t>Reconocimiento de costes en base a los costes medios de las empresas del sector.</a:t>
            </a:r>
          </a:p>
          <a:p>
            <a:pPr marL="171450" indent="-171450">
              <a:lnSpc>
                <a:spcPct val="100000"/>
              </a:lnSpc>
              <a:buFont typeface="Arial" pitchFamily="34" charset="0"/>
              <a:buChar char="•"/>
            </a:pPr>
            <a:r>
              <a:rPr lang="es-ES_tradnl" sz="1100" spc="0" dirty="0" smtClean="0">
                <a:solidFill>
                  <a:schemeClr val="accent1"/>
                </a:solidFill>
              </a:rPr>
              <a:t>Los ingresos reconocidos para cada empresa no dependen de sus propios costes.</a:t>
            </a:r>
            <a:endParaRPr lang="en-US" sz="1100" spc="0" dirty="0" smtClean="0">
              <a:solidFill>
                <a:schemeClr val="accent1"/>
              </a:solidFill>
            </a:endParaRPr>
          </a:p>
          <a:p>
            <a:pPr marL="171450" indent="-171450">
              <a:lnSpc>
                <a:spcPct val="100000"/>
              </a:lnSpc>
              <a:buFont typeface="Arial" pitchFamily="34" charset="0"/>
              <a:buChar char="•"/>
            </a:pPr>
            <a:r>
              <a:rPr lang="es-ES_tradnl" sz="1100" spc="0" dirty="0" smtClean="0">
                <a:solidFill>
                  <a:schemeClr val="accent1"/>
                </a:solidFill>
              </a:rPr>
              <a:t>Es un mecanismo de competencia indirecta.</a:t>
            </a:r>
          </a:p>
        </p:txBody>
      </p:sp>
      <p:sp>
        <p:nvSpPr>
          <p:cNvPr id="57" name="Text Placeholder 2"/>
          <p:cNvSpPr txBox="1">
            <a:spLocks/>
          </p:cNvSpPr>
          <p:nvPr/>
        </p:nvSpPr>
        <p:spPr>
          <a:xfrm>
            <a:off x="7209051" y="1254388"/>
            <a:ext cx="1795250" cy="577430"/>
          </a:xfrm>
          <a:prstGeom prst="rect">
            <a:avLst/>
          </a:prstGeom>
          <a:solidFill>
            <a:schemeClr val="accent1"/>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0" anchor="ctr"/>
          <a:lstStyle>
            <a:lvl1pPr marL="0" indent="-342900" algn="l" rtl="0" eaLnBrk="1" fontAlgn="base" hangingPunct="1">
              <a:lnSpc>
                <a:spcPts val="2400"/>
              </a:lnSpc>
              <a:spcBef>
                <a:spcPts val="0"/>
              </a:spcBef>
              <a:spcAft>
                <a:spcPct val="0"/>
              </a:spcAft>
              <a:buFont typeface="Arial" charset="0"/>
              <a:defRPr sz="2200" kern="1200" spc="-100" baseline="0">
                <a:solidFill>
                  <a:schemeClr val="accent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ES_tradnl" sz="1400" b="1" dirty="0" smtClean="0">
                <a:solidFill>
                  <a:schemeClr val="bg1"/>
                </a:solidFill>
              </a:rPr>
              <a:t>Red de referencia</a:t>
            </a:r>
            <a:endParaRPr lang="en-US" sz="1400" b="1" dirty="0">
              <a:solidFill>
                <a:schemeClr val="bg1"/>
              </a:solidFill>
            </a:endParaRPr>
          </a:p>
        </p:txBody>
      </p:sp>
      <p:sp>
        <p:nvSpPr>
          <p:cNvPr id="58" name="Text Placeholder 1"/>
          <p:cNvSpPr txBox="1">
            <a:spLocks/>
          </p:cNvSpPr>
          <p:nvPr/>
        </p:nvSpPr>
        <p:spPr>
          <a:xfrm>
            <a:off x="7209051" y="1831819"/>
            <a:ext cx="1795250" cy="3167318"/>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buFont typeface="Arial" pitchFamily="34" charset="0"/>
              <a:buChar char="•"/>
            </a:pPr>
            <a:r>
              <a:rPr lang="es-ES_tradnl" sz="1100" spc="0" dirty="0" smtClean="0">
                <a:solidFill>
                  <a:schemeClr val="accent1"/>
                </a:solidFill>
              </a:rPr>
              <a:t>Herramienta informática que reproduce una red teórica conectando los centros de consumo con la red de transporte de la manera más eficiente.</a:t>
            </a:r>
          </a:p>
          <a:p>
            <a:pPr marL="171450" indent="-171450">
              <a:lnSpc>
                <a:spcPct val="100000"/>
              </a:lnSpc>
              <a:buFont typeface="Arial" pitchFamily="34" charset="0"/>
              <a:buChar char="•"/>
            </a:pPr>
            <a:r>
              <a:rPr lang="es-ES_tradnl" sz="1100" spc="0" dirty="0" smtClean="0">
                <a:solidFill>
                  <a:schemeClr val="accent1"/>
                </a:solidFill>
              </a:rPr>
              <a:t>Permite comparar la red existente frente la red teórica de cara a incentivar el desarrollo eficiente de la misma.</a:t>
            </a:r>
            <a:endParaRPr lang="en-US" sz="1100" spc="0" dirty="0">
              <a:solidFill>
                <a:schemeClr val="accent1"/>
              </a:solidFill>
            </a:endParaRPr>
          </a:p>
        </p:txBody>
      </p:sp>
      <p:sp>
        <p:nvSpPr>
          <p:cNvPr id="61" name="Text Placeholder 1"/>
          <p:cNvSpPr txBox="1">
            <a:spLocks/>
          </p:cNvSpPr>
          <p:nvPr/>
        </p:nvSpPr>
        <p:spPr>
          <a:xfrm>
            <a:off x="424479" y="5089901"/>
            <a:ext cx="2216075" cy="624219"/>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050" spc="0" dirty="0" smtClean="0">
                <a:solidFill>
                  <a:schemeClr val="accent1"/>
                </a:solidFill>
              </a:rPr>
              <a:t>Recuperación de </a:t>
            </a:r>
            <a:r>
              <a:rPr lang="es-ES_tradnl" sz="1050" b="1" spc="0" dirty="0" smtClean="0">
                <a:solidFill>
                  <a:schemeClr val="accent1"/>
                </a:solidFill>
              </a:rPr>
              <a:t>todos</a:t>
            </a:r>
            <a:r>
              <a:rPr lang="es-ES_tradnl" sz="1050" spc="0" dirty="0" smtClean="0">
                <a:solidFill>
                  <a:schemeClr val="accent1"/>
                </a:solidFill>
              </a:rPr>
              <a:t> los costes</a:t>
            </a:r>
          </a:p>
        </p:txBody>
      </p:sp>
      <p:sp>
        <p:nvSpPr>
          <p:cNvPr id="63" name="Text Placeholder 1"/>
          <p:cNvSpPr txBox="1">
            <a:spLocks/>
          </p:cNvSpPr>
          <p:nvPr/>
        </p:nvSpPr>
        <p:spPr>
          <a:xfrm>
            <a:off x="2758888" y="5089901"/>
            <a:ext cx="2355926" cy="624220"/>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050" spc="0" dirty="0" smtClean="0">
                <a:solidFill>
                  <a:schemeClr val="accent1"/>
                </a:solidFill>
              </a:rPr>
              <a:t>Incentiva la eficiencia</a:t>
            </a:r>
            <a:endParaRPr lang="es-ES_tradnl" sz="1050" spc="0" dirty="0">
              <a:solidFill>
                <a:schemeClr val="accent1"/>
              </a:solidFill>
            </a:endParaRPr>
          </a:p>
        </p:txBody>
      </p:sp>
      <p:sp>
        <p:nvSpPr>
          <p:cNvPr id="64" name="Text Placeholder 1"/>
          <p:cNvSpPr txBox="1">
            <a:spLocks/>
          </p:cNvSpPr>
          <p:nvPr/>
        </p:nvSpPr>
        <p:spPr>
          <a:xfrm>
            <a:off x="5271858" y="5089901"/>
            <a:ext cx="1795250" cy="624219"/>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050" spc="0" dirty="0" smtClean="0">
                <a:solidFill>
                  <a:schemeClr val="accent1"/>
                </a:solidFill>
              </a:rPr>
              <a:t>Todas las empresas tiene incentivos en bajar sus costes</a:t>
            </a:r>
            <a:endParaRPr lang="es-ES_tradnl" sz="1050" spc="0" dirty="0">
              <a:solidFill>
                <a:schemeClr val="accent1"/>
              </a:solidFill>
            </a:endParaRPr>
          </a:p>
        </p:txBody>
      </p:sp>
      <p:sp>
        <p:nvSpPr>
          <p:cNvPr id="65" name="Text Placeholder 1"/>
          <p:cNvSpPr txBox="1">
            <a:spLocks/>
          </p:cNvSpPr>
          <p:nvPr/>
        </p:nvSpPr>
        <p:spPr>
          <a:xfrm>
            <a:off x="7209051" y="5089901"/>
            <a:ext cx="1795250" cy="624219"/>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050" spc="0" dirty="0" smtClean="0">
                <a:solidFill>
                  <a:schemeClr val="accent1"/>
                </a:solidFill>
              </a:rPr>
              <a:t>Objetiva y exacta</a:t>
            </a:r>
            <a:endParaRPr lang="es-ES_tradnl" sz="1050" spc="0" dirty="0">
              <a:solidFill>
                <a:schemeClr val="accent1"/>
              </a:solidFill>
            </a:endParaRPr>
          </a:p>
        </p:txBody>
      </p:sp>
      <p:sp>
        <p:nvSpPr>
          <p:cNvPr id="66" name="Text Placeholder 1"/>
          <p:cNvSpPr txBox="1">
            <a:spLocks/>
          </p:cNvSpPr>
          <p:nvPr/>
        </p:nvSpPr>
        <p:spPr>
          <a:xfrm>
            <a:off x="424479" y="5793797"/>
            <a:ext cx="2216075" cy="714980"/>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050" spc="0" dirty="0" smtClean="0">
                <a:solidFill>
                  <a:schemeClr val="accent1"/>
                </a:solidFill>
              </a:rPr>
              <a:t>No incentiva la eficiencia en costes (incentiva la </a:t>
            </a:r>
            <a:r>
              <a:rPr lang="es-ES_tradnl" sz="1050" spc="0" dirty="0" err="1" smtClean="0">
                <a:solidFill>
                  <a:schemeClr val="accent1"/>
                </a:solidFill>
              </a:rPr>
              <a:t>sobreinversion</a:t>
            </a:r>
            <a:r>
              <a:rPr lang="es-ES_tradnl" sz="1050" spc="0" dirty="0" smtClean="0">
                <a:solidFill>
                  <a:schemeClr val="accent1"/>
                </a:solidFill>
              </a:rPr>
              <a:t>)</a:t>
            </a:r>
          </a:p>
        </p:txBody>
      </p:sp>
      <p:sp>
        <p:nvSpPr>
          <p:cNvPr id="68" name="Text Placeholder 1"/>
          <p:cNvSpPr txBox="1">
            <a:spLocks/>
          </p:cNvSpPr>
          <p:nvPr/>
        </p:nvSpPr>
        <p:spPr>
          <a:xfrm>
            <a:off x="2758888" y="5793797"/>
            <a:ext cx="2355926" cy="714981"/>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050" spc="0" dirty="0" smtClean="0">
                <a:solidFill>
                  <a:schemeClr val="accent1"/>
                </a:solidFill>
              </a:rPr>
              <a:t>Posibilidad de </a:t>
            </a:r>
            <a:r>
              <a:rPr lang="es-ES_tradnl" sz="1050" spc="0" dirty="0" err="1" smtClean="0">
                <a:solidFill>
                  <a:schemeClr val="accent1"/>
                </a:solidFill>
              </a:rPr>
              <a:t>sobreremuneraciones</a:t>
            </a:r>
            <a:r>
              <a:rPr lang="es-ES_tradnl" sz="1050" spc="0" dirty="0" smtClean="0">
                <a:solidFill>
                  <a:schemeClr val="accent1"/>
                </a:solidFill>
              </a:rPr>
              <a:t> los primeros periodos regulatorios</a:t>
            </a:r>
            <a:endParaRPr lang="es-ES_tradnl" sz="1050" spc="0" dirty="0">
              <a:solidFill>
                <a:schemeClr val="accent1"/>
              </a:solidFill>
            </a:endParaRPr>
          </a:p>
        </p:txBody>
      </p:sp>
      <p:sp>
        <p:nvSpPr>
          <p:cNvPr id="69" name="Text Placeholder 1"/>
          <p:cNvSpPr txBox="1">
            <a:spLocks/>
          </p:cNvSpPr>
          <p:nvPr/>
        </p:nvSpPr>
        <p:spPr>
          <a:xfrm>
            <a:off x="5271858" y="5793796"/>
            <a:ext cx="1795250" cy="714981"/>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050" spc="0" dirty="0" smtClean="0">
                <a:solidFill>
                  <a:schemeClr val="accent1"/>
                </a:solidFill>
              </a:rPr>
              <a:t>Generalmente las empresas nos son 100% comparables</a:t>
            </a:r>
            <a:endParaRPr lang="es-ES_tradnl" sz="1050" spc="0" dirty="0">
              <a:solidFill>
                <a:schemeClr val="accent1"/>
              </a:solidFill>
            </a:endParaRPr>
          </a:p>
        </p:txBody>
      </p:sp>
      <p:sp>
        <p:nvSpPr>
          <p:cNvPr id="70" name="Text Placeholder 1"/>
          <p:cNvSpPr txBox="1">
            <a:spLocks/>
          </p:cNvSpPr>
          <p:nvPr/>
        </p:nvSpPr>
        <p:spPr>
          <a:xfrm>
            <a:off x="7209051" y="5793796"/>
            <a:ext cx="1795250" cy="714981"/>
          </a:xfrm>
          <a:prstGeom prst="rect">
            <a:avLst/>
          </a:prstGeom>
          <a:ln/>
        </p:spPr>
        <p:style>
          <a:lnRef idx="2">
            <a:schemeClr val="accent1"/>
          </a:lnRef>
          <a:fillRef idx="1">
            <a:schemeClr val="lt1"/>
          </a:fillRef>
          <a:effectRef idx="0">
            <a:schemeClr val="accent1"/>
          </a:effectRef>
          <a:fontRef idx="minor">
            <a:schemeClr val="dk1"/>
          </a:fontRef>
        </p:style>
        <p:txBody>
          <a:bodyPr lIns="72000" rIns="72000" anchor="ctr"/>
          <a:lstStyle>
            <a:lvl1pPr marL="0" indent="0" algn="l" rtl="0" eaLnBrk="1" fontAlgn="base" hangingPunct="1">
              <a:lnSpc>
                <a:spcPts val="2400"/>
              </a:lnSpc>
              <a:spcBef>
                <a:spcPts val="1200"/>
              </a:spcBef>
              <a:spcAft>
                <a:spcPct val="0"/>
              </a:spcAft>
              <a:buFont typeface="Arial" charset="0"/>
              <a:buNone/>
              <a:defRPr sz="2200" kern="1200" spc="-100" baseline="0">
                <a:solidFill>
                  <a:schemeClr val="tx1"/>
                </a:solidFill>
                <a:latin typeface="Arial" pitchFamily="34" charset="0"/>
                <a:ea typeface="Arial" pitchFamily="-105" charset="-52"/>
                <a:cs typeface="Arial" pitchFamily="34" charset="0"/>
              </a:defRPr>
            </a:lvl1pPr>
            <a:lvl2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2pPr>
            <a:lvl3pPr marL="460375" indent="-228600"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3pPr>
            <a:lvl4pPr marL="0" indent="231775" algn="l" rtl="0" eaLnBrk="1" fontAlgn="base" hangingPunct="1">
              <a:lnSpc>
                <a:spcPts val="2200"/>
              </a:lnSpc>
              <a:spcBef>
                <a:spcPts val="1200"/>
              </a:spcBef>
              <a:spcAft>
                <a:spcPct val="0"/>
              </a:spcAft>
              <a:buFont typeface="Arial" charset="0"/>
              <a:buChar char="•"/>
              <a:defRPr sz="2000" kern="1200" spc="-100" baseline="0">
                <a:solidFill>
                  <a:schemeClr val="tx1"/>
                </a:solidFill>
                <a:latin typeface="Arial" pitchFamily="34" charset="0"/>
                <a:ea typeface="Arial" pitchFamily="-105" charset="-52"/>
                <a:cs typeface="Arial" pitchFamily="34" charset="0"/>
              </a:defRPr>
            </a:lvl4pPr>
            <a:lvl5pPr marL="460375" indent="-228600" algn="l" rtl="0" eaLnBrk="1" fontAlgn="base" hangingPunct="1">
              <a:lnSpc>
                <a:spcPts val="2200"/>
              </a:lnSpc>
              <a:spcBef>
                <a:spcPts val="1200"/>
              </a:spcBef>
              <a:spcAft>
                <a:spcPct val="0"/>
              </a:spcAft>
              <a:buFont typeface="Lucida Grande"/>
              <a:buChar char="–"/>
              <a:defRPr sz="2000" kern="1200" spc="-100" baseline="0">
                <a:solidFill>
                  <a:schemeClr val="tx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00000"/>
              </a:lnSpc>
              <a:spcBef>
                <a:spcPts val="0"/>
              </a:spcBef>
              <a:buFont typeface="Arial" pitchFamily="34" charset="0"/>
              <a:buChar char="•"/>
            </a:pPr>
            <a:r>
              <a:rPr lang="es-ES_tradnl" sz="1050" spc="0" dirty="0" smtClean="0">
                <a:solidFill>
                  <a:schemeClr val="accent1"/>
                </a:solidFill>
              </a:rPr>
              <a:t>Difícil de implementar</a:t>
            </a:r>
          </a:p>
          <a:p>
            <a:pPr marL="171450" indent="-171450">
              <a:lnSpc>
                <a:spcPct val="100000"/>
              </a:lnSpc>
              <a:spcBef>
                <a:spcPts val="0"/>
              </a:spcBef>
              <a:buFont typeface="Arial" pitchFamily="34" charset="0"/>
              <a:buChar char="•"/>
            </a:pPr>
            <a:r>
              <a:rPr lang="es-ES_tradnl" sz="1050" spc="0" dirty="0" smtClean="0">
                <a:solidFill>
                  <a:schemeClr val="accent1"/>
                </a:solidFill>
              </a:rPr>
              <a:t>Alta necesidad de sistemas</a:t>
            </a:r>
            <a:endParaRPr lang="es-ES_tradnl" sz="1050" spc="0" dirty="0">
              <a:solidFill>
                <a:schemeClr val="accent1"/>
              </a:solidFill>
            </a:endParaRPr>
          </a:p>
        </p:txBody>
      </p:sp>
      <p:pic>
        <p:nvPicPr>
          <p:cNvPr id="3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06551" y="4003054"/>
            <a:ext cx="2260600" cy="930199"/>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Up Arrow 1"/>
          <p:cNvSpPr/>
          <p:nvPr/>
        </p:nvSpPr>
        <p:spPr>
          <a:xfrm>
            <a:off x="214313" y="5150265"/>
            <a:ext cx="163057" cy="503491"/>
          </a:xfrm>
          <a:prstGeom prst="upArrow">
            <a:avLst/>
          </a:prstGeom>
          <a:solidFill>
            <a:srgbClr val="00B05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Up Arrow 25"/>
          <p:cNvSpPr/>
          <p:nvPr/>
        </p:nvSpPr>
        <p:spPr>
          <a:xfrm rot="10800000">
            <a:off x="214313" y="5899542"/>
            <a:ext cx="163057" cy="503491"/>
          </a:xfrm>
          <a:prstGeom prst="upArrow">
            <a:avLst/>
          </a:prstGeom>
          <a:solidFill>
            <a:srgbClr val="FF000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 name="Title 1"/>
          <p:cNvSpPr txBox="1">
            <a:spLocks/>
          </p:cNvSpPr>
          <p:nvPr/>
        </p:nvSpPr>
        <p:spPr>
          <a:xfrm>
            <a:off x="599730" y="195979"/>
            <a:ext cx="8229600" cy="783654"/>
          </a:xfrm>
          <a:prstGeom prst="rect">
            <a:avLst/>
          </a:prstGeom>
        </p:spPr>
        <p:txBody>
          <a:bodyPr lIns="0" bIns="0" anchor="b" anchorCtr="0"/>
          <a:lstStyle>
            <a:lvl1pPr algn="l" rtl="0" eaLnBrk="1" fontAlgn="base" hangingPunct="1">
              <a:lnSpc>
                <a:spcPts val="2600"/>
              </a:lnSpc>
              <a:spcBef>
                <a:spcPct val="0"/>
              </a:spcBef>
              <a:spcAft>
                <a:spcPct val="0"/>
              </a:spcAft>
              <a:buFont typeface="Arial" charset="0"/>
              <a:defRPr sz="2600" kern="1200" spc="-100" baseline="0">
                <a:solidFill>
                  <a:srgbClr val="003344"/>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s-ES_tradnl" dirty="0" smtClean="0"/>
              <a:t>Retribución actividades reguladas</a:t>
            </a:r>
            <a:br>
              <a:rPr lang="es-ES_tradnl" dirty="0" smtClean="0"/>
            </a:br>
            <a:r>
              <a:rPr lang="es-ES_tradnl" b="1" dirty="0"/>
              <a:t>Modelos retributivos de las actividades reguladas</a:t>
            </a:r>
          </a:p>
        </p:txBody>
      </p:sp>
    </p:spTree>
    <p:extLst>
      <p:ext uri="{BB962C8B-B14F-4D97-AF65-F5344CB8AC3E}">
        <p14:creationId xmlns:p14="http://schemas.microsoft.com/office/powerpoint/2010/main" val="40650196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1"/>
          </p:nvPr>
        </p:nvSpPr>
        <p:spPr>
          <a:xfrm>
            <a:off x="446151" y="525183"/>
            <a:ext cx="8251698" cy="5807635"/>
          </a:xfrm>
        </p:spPr>
        <p:txBody>
          <a:bodyPr>
            <a:noAutofit/>
          </a:bodyPr>
          <a:lstStyle/>
          <a:p>
            <a:pPr>
              <a:spcBef>
                <a:spcPts val="1200"/>
              </a:spcBef>
              <a:spcAft>
                <a:spcPts val="600"/>
              </a:spcAft>
            </a:pPr>
            <a:r>
              <a:rPr lang="es-ES_tradnl" dirty="0">
                <a:solidFill>
                  <a:schemeClr val="bg1">
                    <a:lumMod val="65000"/>
                  </a:schemeClr>
                </a:solidFill>
              </a:rPr>
              <a:t>Esquema General.</a:t>
            </a:r>
          </a:p>
          <a:p>
            <a:pPr>
              <a:spcBef>
                <a:spcPts val="1200"/>
              </a:spcBef>
              <a:spcAft>
                <a:spcPts val="600"/>
              </a:spcAft>
            </a:pPr>
            <a:r>
              <a:rPr lang="es-ES_tradnl" dirty="0">
                <a:solidFill>
                  <a:schemeClr val="bg1">
                    <a:lumMod val="65000"/>
                  </a:schemeClr>
                </a:solidFill>
              </a:rPr>
              <a:t>Introducción a la cadena de valor.</a:t>
            </a:r>
          </a:p>
          <a:p>
            <a:pPr>
              <a:spcBef>
                <a:spcPts val="1200"/>
              </a:spcBef>
              <a:spcAft>
                <a:spcPts val="600"/>
              </a:spcAft>
            </a:pPr>
            <a:r>
              <a:rPr lang="es-ES_tradnl" dirty="0" smtClean="0">
                <a:solidFill>
                  <a:schemeClr val="bg1">
                    <a:lumMod val="65000"/>
                  </a:schemeClr>
                </a:solidFill>
              </a:rPr>
              <a:t>Remuneración Actividades Liberalizadas </a:t>
            </a:r>
          </a:p>
          <a:p>
            <a:pPr>
              <a:spcBef>
                <a:spcPts val="1200"/>
              </a:spcBef>
              <a:spcAft>
                <a:spcPts val="600"/>
              </a:spcAft>
            </a:pPr>
            <a:r>
              <a:rPr lang="es-ES_tradnl" dirty="0" smtClean="0">
                <a:solidFill>
                  <a:schemeClr val="bg1">
                    <a:lumMod val="65000"/>
                  </a:schemeClr>
                </a:solidFill>
              </a:rPr>
              <a:t>Remuneración de Actividades Reguladas</a:t>
            </a:r>
          </a:p>
          <a:p>
            <a:pPr>
              <a:spcBef>
                <a:spcPts val="1200"/>
              </a:spcBef>
              <a:spcAft>
                <a:spcPts val="600"/>
              </a:spcAft>
            </a:pPr>
            <a:r>
              <a:rPr lang="es-ES_tradnl" dirty="0">
                <a:solidFill>
                  <a:schemeClr val="tx1"/>
                </a:solidFill>
              </a:rPr>
              <a:t>Situación en España. Déficit de tarifa</a:t>
            </a:r>
          </a:p>
          <a:p>
            <a:pPr>
              <a:spcBef>
                <a:spcPts val="1200"/>
              </a:spcBef>
              <a:spcAft>
                <a:spcPts val="600"/>
              </a:spcAft>
            </a:pPr>
            <a:r>
              <a:rPr lang="es-ES_tradnl" dirty="0" smtClean="0">
                <a:solidFill>
                  <a:schemeClr val="bg1">
                    <a:lumMod val="65000"/>
                  </a:schemeClr>
                </a:solidFill>
              </a:rPr>
              <a:t>Mapa de procesos.</a:t>
            </a:r>
          </a:p>
          <a:p>
            <a:pPr>
              <a:spcBef>
                <a:spcPts val="1200"/>
              </a:spcBef>
              <a:spcAft>
                <a:spcPts val="600"/>
              </a:spcAft>
            </a:pPr>
            <a:r>
              <a:rPr lang="es-ES_tradnl" dirty="0" smtClean="0">
                <a:solidFill>
                  <a:schemeClr val="bg1">
                    <a:lumMod val="65000"/>
                  </a:schemeClr>
                </a:solidFill>
              </a:rPr>
              <a:t>Nuevas tecnologías.</a:t>
            </a:r>
          </a:p>
          <a:p>
            <a:pPr>
              <a:spcBef>
                <a:spcPts val="1200"/>
              </a:spcBef>
              <a:spcAft>
                <a:spcPts val="600"/>
              </a:spcAft>
            </a:pPr>
            <a:r>
              <a:rPr lang="es-ES_tradnl" dirty="0" smtClean="0">
                <a:solidFill>
                  <a:schemeClr val="bg1">
                    <a:lumMod val="65000"/>
                  </a:schemeClr>
                </a:solidFill>
              </a:rPr>
              <a:t>Offerings de Accenture.</a:t>
            </a:r>
          </a:p>
          <a:p>
            <a:pPr>
              <a:spcBef>
                <a:spcPts val="1200"/>
              </a:spcBef>
              <a:spcAft>
                <a:spcPts val="600"/>
              </a:spcAft>
            </a:pPr>
            <a:r>
              <a:rPr lang="es-ES_tradnl" dirty="0" smtClean="0">
                <a:solidFill>
                  <a:schemeClr val="bg1">
                    <a:lumMod val="65000"/>
                  </a:schemeClr>
                </a:solidFill>
              </a:rPr>
              <a:t>Experiencias Accenture.</a:t>
            </a:r>
          </a:p>
        </p:txBody>
      </p:sp>
      <p:sp>
        <p:nvSpPr>
          <p:cNvPr id="40" name="Slide Number Placeholder 39"/>
          <p:cNvSpPr>
            <a:spLocks noGrp="1"/>
          </p:cNvSpPr>
          <p:nvPr>
            <p:ph type="sldNum" sz="quarter" idx="4"/>
          </p:nvPr>
        </p:nvSpPr>
        <p:spPr/>
        <p:txBody>
          <a:bodyPr/>
          <a:lstStyle/>
          <a:p>
            <a:fld id="{90CBDC3A-D49F-4631-A8C7-55D59B33E5FA}" type="slidenum">
              <a:rPr lang="en-US" smtClean="0"/>
              <a:pPr/>
              <a:t>21</a:t>
            </a:fld>
            <a:endParaRPr lang="en-US" dirty="0"/>
          </a:p>
        </p:txBody>
      </p:sp>
      <p:sp>
        <p:nvSpPr>
          <p:cNvPr id="5" name="Rounded Rectangle 4"/>
          <p:cNvSpPr/>
          <p:nvPr/>
        </p:nvSpPr>
        <p:spPr>
          <a:xfrm>
            <a:off x="281354" y="2883877"/>
            <a:ext cx="8707901" cy="6752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8100452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Situación España</a:t>
            </a:r>
            <a:endParaRPr lang="pt-PT" dirty="0"/>
          </a:p>
        </p:txBody>
      </p:sp>
      <p:sp>
        <p:nvSpPr>
          <p:cNvPr id="5" name="Slide Number Placeholder 4"/>
          <p:cNvSpPr>
            <a:spLocks noGrp="1"/>
          </p:cNvSpPr>
          <p:nvPr>
            <p:ph type="sldNum" sz="quarter" idx="4"/>
          </p:nvPr>
        </p:nvSpPr>
        <p:spPr/>
        <p:txBody>
          <a:bodyPr/>
          <a:lstStyle/>
          <a:p>
            <a:pPr>
              <a:defRPr/>
            </a:pPr>
            <a:fld id="{90CBDC3A-D49F-4631-A8C7-55D59B33E5FA}" type="slidenum">
              <a:rPr lang="en-US" smtClean="0"/>
              <a:pPr>
                <a:defRPr/>
              </a:pPr>
              <a:t>22</a:t>
            </a:fld>
            <a:endParaRPr lang="en-US" dirty="0"/>
          </a:p>
        </p:txBody>
      </p:sp>
      <p:graphicFrame>
        <p:nvGraphicFramePr>
          <p:cNvPr id="7" name="Chart 6"/>
          <p:cNvGraphicFramePr>
            <a:graphicFrameLocks/>
          </p:cNvGraphicFramePr>
          <p:nvPr>
            <p:extLst>
              <p:ext uri="{D42A27DB-BD31-4B8C-83A1-F6EECF244321}">
                <p14:modId xmlns:p14="http://schemas.microsoft.com/office/powerpoint/2010/main" val="942617239"/>
              </p:ext>
            </p:extLst>
          </p:nvPr>
        </p:nvGraphicFramePr>
        <p:xfrm>
          <a:off x="217719" y="1163358"/>
          <a:ext cx="8696326" cy="438971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485055" y="1440357"/>
            <a:ext cx="468630" cy="276999"/>
          </a:xfrm>
          <a:prstGeom prst="rect">
            <a:avLst/>
          </a:prstGeom>
          <a:noFill/>
        </p:spPr>
        <p:txBody>
          <a:bodyPr wrap="square" rtlCol="0">
            <a:spAutoFit/>
          </a:bodyPr>
          <a:lstStyle/>
          <a:p>
            <a:r>
              <a:rPr lang="es-ES" sz="1200" b="1" dirty="0" smtClean="0"/>
              <a:t>M €</a:t>
            </a:r>
            <a:endParaRPr lang="es-ES" sz="1200" b="1" dirty="0"/>
          </a:p>
        </p:txBody>
      </p:sp>
      <p:sp>
        <p:nvSpPr>
          <p:cNvPr id="9" name="Rectangle 8"/>
          <p:cNvSpPr/>
          <p:nvPr/>
        </p:nvSpPr>
        <p:spPr>
          <a:xfrm>
            <a:off x="6616063" y="4513269"/>
            <a:ext cx="873313" cy="3974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s-ES" sz="1200" b="1" dirty="0" smtClean="0"/>
              <a:t>Var. 07-12</a:t>
            </a:r>
          </a:p>
          <a:p>
            <a:pPr algn="ctr"/>
            <a:r>
              <a:rPr lang="es-ES" sz="1200" b="1" dirty="0" smtClean="0"/>
              <a:t>205%</a:t>
            </a:r>
            <a:endParaRPr lang="es-ES" sz="1200" b="1" dirty="0"/>
          </a:p>
        </p:txBody>
      </p:sp>
      <p:sp>
        <p:nvSpPr>
          <p:cNvPr id="10" name="Rectangle 9"/>
          <p:cNvSpPr/>
          <p:nvPr/>
        </p:nvSpPr>
        <p:spPr>
          <a:xfrm>
            <a:off x="6616063" y="3368965"/>
            <a:ext cx="873313" cy="39749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s-ES" sz="1200" b="1" dirty="0" smtClean="0"/>
              <a:t>Var. 07-12 20%</a:t>
            </a:r>
            <a:endParaRPr lang="es-ES" sz="1200" b="1" dirty="0"/>
          </a:p>
        </p:txBody>
      </p:sp>
      <p:graphicFrame>
        <p:nvGraphicFramePr>
          <p:cNvPr id="11" name="Table 10"/>
          <p:cNvGraphicFramePr>
            <a:graphicFrameLocks noGrp="1"/>
          </p:cNvGraphicFramePr>
          <p:nvPr>
            <p:extLst>
              <p:ext uri="{D42A27DB-BD31-4B8C-83A1-F6EECF244321}">
                <p14:modId xmlns:p14="http://schemas.microsoft.com/office/powerpoint/2010/main" val="3128645565"/>
              </p:ext>
            </p:extLst>
          </p:nvPr>
        </p:nvGraphicFramePr>
        <p:xfrm>
          <a:off x="272006" y="5529174"/>
          <a:ext cx="7306633" cy="792480"/>
        </p:xfrm>
        <a:graphic>
          <a:graphicData uri="http://schemas.openxmlformats.org/drawingml/2006/table">
            <a:tbl>
              <a:tblPr firstRow="1" bandRow="1">
                <a:tableStyleId>{5C22544A-7EE6-4342-B048-85BDC9FD1C3A}</a:tableStyleId>
              </a:tblPr>
              <a:tblGrid>
                <a:gridCol w="791533"/>
                <a:gridCol w="1085850"/>
                <a:gridCol w="1085850"/>
                <a:gridCol w="1085850"/>
                <a:gridCol w="1085850"/>
                <a:gridCol w="1085850"/>
                <a:gridCol w="1085850"/>
              </a:tblGrid>
              <a:tr h="225822">
                <a:tc>
                  <a:txBody>
                    <a:bodyPr/>
                    <a:lstStyle/>
                    <a:p>
                      <a:pPr algn="ctr"/>
                      <a:r>
                        <a:rPr lang="es-ES" sz="1000" b="1" dirty="0" smtClean="0">
                          <a:solidFill>
                            <a:schemeClr val="accent6"/>
                          </a:solidFill>
                        </a:rPr>
                        <a:t>Costes </a:t>
                      </a:r>
                      <a:r>
                        <a:rPr lang="es-ES" sz="1000" b="1" baseline="0" dirty="0" smtClean="0">
                          <a:solidFill>
                            <a:schemeClr val="accent6"/>
                          </a:solidFill>
                        </a:rPr>
                        <a:t>(€/</a:t>
                      </a:r>
                      <a:r>
                        <a:rPr lang="es-ES" sz="1000" b="1" baseline="0" dirty="0" err="1" smtClean="0">
                          <a:solidFill>
                            <a:schemeClr val="accent6"/>
                          </a:solidFill>
                        </a:rPr>
                        <a:t>Mwh</a:t>
                      </a:r>
                      <a:r>
                        <a:rPr lang="es-ES" sz="1000" b="1" baseline="0" dirty="0" smtClean="0">
                          <a:solidFill>
                            <a:schemeClr val="accent6"/>
                          </a:solidFill>
                        </a:rPr>
                        <a:t>)</a:t>
                      </a:r>
                      <a:endParaRPr lang="es-ES" sz="1000" b="1" dirty="0">
                        <a:solidFill>
                          <a:schemeClr val="accent6"/>
                        </a:solidFill>
                      </a:endParaRPr>
                    </a:p>
                  </a:txBody>
                  <a:tcPr marL="0"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1" i="0" u="none" strike="noStrike" dirty="0">
                          <a:solidFill>
                            <a:srgbClr val="000000"/>
                          </a:solidFill>
                          <a:effectLst/>
                          <a:latin typeface="Arial" pitchFamily="34" charset="0"/>
                          <a:cs typeface="Arial" pitchFamily="34" charset="0"/>
                        </a:rPr>
                        <a:t>41</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1" i="0" u="none" strike="noStrike" dirty="0">
                          <a:solidFill>
                            <a:srgbClr val="000000"/>
                          </a:solidFill>
                          <a:effectLst/>
                          <a:latin typeface="Arial" pitchFamily="34" charset="0"/>
                          <a:cs typeface="Arial" pitchFamily="34" charset="0"/>
                        </a:rPr>
                        <a:t>5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1" i="0" u="none" strike="noStrike" dirty="0">
                          <a:solidFill>
                            <a:srgbClr val="000000"/>
                          </a:solidFill>
                          <a:effectLst/>
                          <a:latin typeface="Arial" pitchFamily="34" charset="0"/>
                          <a:cs typeface="Arial" pitchFamily="34" charset="0"/>
                        </a:rPr>
                        <a:t>65</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1" i="0" u="none" strike="noStrike" dirty="0">
                          <a:solidFill>
                            <a:srgbClr val="000000"/>
                          </a:solidFill>
                          <a:effectLst/>
                          <a:latin typeface="Arial" pitchFamily="34" charset="0"/>
                          <a:cs typeface="Arial" pitchFamily="34" charset="0"/>
                        </a:rPr>
                        <a:t>69</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1" i="0" u="none" strike="noStrike" dirty="0">
                          <a:solidFill>
                            <a:srgbClr val="000000"/>
                          </a:solidFill>
                          <a:effectLst/>
                          <a:latin typeface="Arial" pitchFamily="34" charset="0"/>
                          <a:cs typeface="Arial" pitchFamily="34" charset="0"/>
                        </a:rPr>
                        <a:t>65</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050" b="1" i="0" u="none" strike="noStrike" dirty="0" smtClean="0">
                          <a:solidFill>
                            <a:srgbClr val="000000"/>
                          </a:solidFill>
                          <a:effectLst/>
                          <a:latin typeface="Arial" pitchFamily="34" charset="0"/>
                          <a:cs typeface="Arial" pitchFamily="34" charset="0"/>
                        </a:rPr>
                        <a:t>83</a:t>
                      </a:r>
                      <a:endParaRPr lang="es-ES" sz="105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225822">
                <a:tc>
                  <a:txBody>
                    <a:bodyPr/>
                    <a:lstStyle/>
                    <a:p>
                      <a:pPr algn="ctr"/>
                      <a:r>
                        <a:rPr lang="es-ES" sz="1000" b="1" dirty="0" smtClean="0">
                          <a:solidFill>
                            <a:schemeClr val="accent6"/>
                          </a:solidFill>
                        </a:rPr>
                        <a:t>Ingresos (€/</a:t>
                      </a:r>
                      <a:r>
                        <a:rPr lang="es-ES" sz="1000" b="1" dirty="0" err="1" smtClean="0">
                          <a:solidFill>
                            <a:schemeClr val="accent6"/>
                          </a:solidFill>
                        </a:rPr>
                        <a:t>MWh</a:t>
                      </a:r>
                      <a:r>
                        <a:rPr lang="es-ES" sz="1000" b="1" dirty="0" smtClean="0">
                          <a:solidFill>
                            <a:schemeClr val="accent6"/>
                          </a:solidFill>
                        </a:rPr>
                        <a:t>)</a:t>
                      </a:r>
                      <a:endParaRPr lang="es-ES" sz="1000" b="1" dirty="0">
                        <a:solidFill>
                          <a:schemeClr val="accent6"/>
                        </a:solidFill>
                      </a:endParaRPr>
                    </a:p>
                  </a:txBody>
                  <a:tcPr marL="0" marR="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b="1" i="0" u="none" strike="noStrike" dirty="0" smtClean="0">
                          <a:solidFill>
                            <a:schemeClr val="tx1"/>
                          </a:solidFill>
                          <a:effectLst/>
                          <a:latin typeface="+mj-lt"/>
                        </a:rPr>
                        <a:t>36</a:t>
                      </a:r>
                      <a:endParaRPr lang="es-ES" sz="1100" b="1" i="0" u="none" strike="noStrike" dirty="0">
                        <a:solidFill>
                          <a:schemeClr val="tx1"/>
                        </a:solidFill>
                        <a:effectLst/>
                        <a:latin typeface="+mj-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b="1" i="0" u="none" strike="noStrike" dirty="0" smtClean="0">
                          <a:solidFill>
                            <a:schemeClr val="tx1"/>
                          </a:solidFill>
                          <a:effectLst/>
                          <a:latin typeface="+mj-lt"/>
                        </a:rPr>
                        <a:t>28</a:t>
                      </a:r>
                      <a:endParaRPr lang="es-ES" sz="1100" b="1" i="0" u="none" strike="noStrike" dirty="0">
                        <a:solidFill>
                          <a:schemeClr val="tx1"/>
                        </a:solidFill>
                        <a:effectLst/>
                        <a:latin typeface="+mj-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b="1" i="0" u="none" strike="noStrike" dirty="0" smtClean="0">
                          <a:solidFill>
                            <a:schemeClr val="tx1"/>
                          </a:solidFill>
                          <a:effectLst/>
                          <a:latin typeface="+mj-lt"/>
                        </a:rPr>
                        <a:t>46</a:t>
                      </a:r>
                      <a:endParaRPr lang="es-ES" sz="1100" b="1" i="0" u="none" strike="noStrike" dirty="0">
                        <a:solidFill>
                          <a:schemeClr val="tx1"/>
                        </a:solidFill>
                        <a:effectLst/>
                        <a:latin typeface="+mj-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b="1" i="0" u="none" strike="noStrike" dirty="0" smtClean="0">
                          <a:solidFill>
                            <a:schemeClr val="tx1"/>
                          </a:solidFill>
                          <a:effectLst/>
                          <a:latin typeface="+mj-lt"/>
                        </a:rPr>
                        <a:t>51</a:t>
                      </a:r>
                      <a:endParaRPr lang="es-ES" sz="1100" b="1" i="0" u="none" strike="noStrike" dirty="0">
                        <a:solidFill>
                          <a:schemeClr val="tx1"/>
                        </a:solidFill>
                        <a:effectLst/>
                        <a:latin typeface="+mj-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b="1" i="0" u="none" strike="noStrike" dirty="0" smtClean="0">
                          <a:solidFill>
                            <a:schemeClr val="tx1"/>
                          </a:solidFill>
                          <a:effectLst/>
                          <a:latin typeface="+mj-lt"/>
                        </a:rPr>
                        <a:t>52</a:t>
                      </a:r>
                      <a:endParaRPr lang="es-ES" sz="1100" b="1" i="0" u="none" strike="noStrike" dirty="0">
                        <a:solidFill>
                          <a:schemeClr val="tx1"/>
                        </a:solidFill>
                        <a:effectLst/>
                        <a:latin typeface="+mj-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s-ES" sz="1100" b="1" i="0" u="none" strike="noStrike" dirty="0" smtClean="0">
                          <a:solidFill>
                            <a:schemeClr val="tx1"/>
                          </a:solidFill>
                          <a:effectLst/>
                          <a:latin typeface="+mj-lt"/>
                        </a:rPr>
                        <a:t>60</a:t>
                      </a:r>
                      <a:endParaRPr lang="es-ES" sz="1100" b="1" i="0" u="none" strike="noStrike" dirty="0">
                        <a:solidFill>
                          <a:schemeClr val="tx1"/>
                        </a:solidFill>
                        <a:effectLst/>
                        <a:latin typeface="+mj-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Title 27"/>
          <p:cNvSpPr txBox="1">
            <a:spLocks/>
          </p:cNvSpPr>
          <p:nvPr/>
        </p:nvSpPr>
        <p:spPr>
          <a:xfrm>
            <a:off x="2806225" y="1369913"/>
            <a:ext cx="3439831" cy="783654"/>
          </a:xfrm>
          <a:prstGeom prst="rect">
            <a:avLst/>
          </a:prstGeom>
        </p:spPr>
        <p:txBody>
          <a:bodyPr lIns="0" bIns="0" anchor="b" anchorCtr="0"/>
          <a:lstStyle>
            <a:lvl1pPr algn="l" rtl="0" eaLnBrk="1" fontAlgn="base" hangingPunct="1">
              <a:lnSpc>
                <a:spcPts val="2600"/>
              </a:lnSpc>
              <a:spcBef>
                <a:spcPct val="0"/>
              </a:spcBef>
              <a:spcAft>
                <a:spcPct val="0"/>
              </a:spcAft>
              <a:buFont typeface="Arial" charset="0"/>
              <a:defRPr sz="2600" kern="1200" spc="-100" baseline="0">
                <a:solidFill>
                  <a:srgbClr val="003344"/>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just">
              <a:lnSpc>
                <a:spcPts val="2200"/>
              </a:lnSpc>
            </a:pPr>
            <a:r>
              <a:rPr lang="es-ES" sz="1200" dirty="0" smtClean="0"/>
              <a:t>Aún a pesar de los cambios introducidos en los últimos años y, especialmente, en 2012 los ingresos y los costes que soporta la tarifa de acceso siguen estando  descompensados</a:t>
            </a:r>
            <a:endParaRPr lang="es-ES" sz="1200" dirty="0"/>
          </a:p>
        </p:txBody>
      </p:sp>
      <p:sp>
        <p:nvSpPr>
          <p:cNvPr id="13" name="Text Box 15"/>
          <p:cNvSpPr txBox="1">
            <a:spLocks noChangeArrowheads="1"/>
          </p:cNvSpPr>
          <p:nvPr/>
        </p:nvSpPr>
        <p:spPr bwMode="gray">
          <a:xfrm>
            <a:off x="4226312" y="200721"/>
            <a:ext cx="4616605" cy="49435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2800" dirty="0" smtClean="0">
                <a:solidFill>
                  <a:schemeClr val="accent1"/>
                </a:solidFill>
                <a:latin typeface="+mj-lt"/>
              </a:rPr>
              <a:t>FIJO Y DECRECIENTE?</a:t>
            </a:r>
            <a:endParaRPr lang="es-ES_tradnl" sz="2800" dirty="0">
              <a:solidFill>
                <a:schemeClr val="accent1"/>
              </a:solidFill>
              <a:latin typeface="+mj-lt"/>
            </a:endParaRPr>
          </a:p>
        </p:txBody>
      </p:sp>
    </p:spTree>
    <p:extLst>
      <p:ext uri="{BB962C8B-B14F-4D97-AF65-F5344CB8AC3E}">
        <p14:creationId xmlns:p14="http://schemas.microsoft.com/office/powerpoint/2010/main" val="34882521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1"/>
          </p:nvPr>
        </p:nvSpPr>
        <p:spPr>
          <a:xfrm>
            <a:off x="446151" y="525183"/>
            <a:ext cx="8251698" cy="5807635"/>
          </a:xfrm>
        </p:spPr>
        <p:txBody>
          <a:bodyPr>
            <a:noAutofit/>
          </a:bodyPr>
          <a:lstStyle/>
          <a:p>
            <a:pPr>
              <a:spcBef>
                <a:spcPts val="1200"/>
              </a:spcBef>
              <a:spcAft>
                <a:spcPts val="600"/>
              </a:spcAft>
            </a:pPr>
            <a:r>
              <a:rPr lang="es-ES_tradnl" dirty="0">
                <a:solidFill>
                  <a:schemeClr val="bg1">
                    <a:lumMod val="65000"/>
                  </a:schemeClr>
                </a:solidFill>
              </a:rPr>
              <a:t>Esquema General.</a:t>
            </a:r>
          </a:p>
          <a:p>
            <a:pPr>
              <a:spcBef>
                <a:spcPts val="1200"/>
              </a:spcBef>
              <a:spcAft>
                <a:spcPts val="600"/>
              </a:spcAft>
            </a:pPr>
            <a:r>
              <a:rPr lang="es-ES_tradnl" dirty="0">
                <a:solidFill>
                  <a:schemeClr val="bg1">
                    <a:lumMod val="65000"/>
                  </a:schemeClr>
                </a:solidFill>
              </a:rPr>
              <a:t>Introducción a la cadena de valor.</a:t>
            </a:r>
          </a:p>
          <a:p>
            <a:pPr>
              <a:spcBef>
                <a:spcPts val="1200"/>
              </a:spcBef>
              <a:spcAft>
                <a:spcPts val="600"/>
              </a:spcAft>
            </a:pPr>
            <a:r>
              <a:rPr lang="es-ES_tradnl" dirty="0" smtClean="0">
                <a:solidFill>
                  <a:schemeClr val="bg1">
                    <a:lumMod val="65000"/>
                  </a:schemeClr>
                </a:solidFill>
              </a:rPr>
              <a:t>Remuneración Actividades Liberalizadas </a:t>
            </a:r>
          </a:p>
          <a:p>
            <a:pPr>
              <a:spcBef>
                <a:spcPts val="1200"/>
              </a:spcBef>
              <a:spcAft>
                <a:spcPts val="600"/>
              </a:spcAft>
            </a:pPr>
            <a:r>
              <a:rPr lang="es-ES_tradnl" dirty="0" smtClean="0">
                <a:solidFill>
                  <a:schemeClr val="bg1">
                    <a:lumMod val="65000"/>
                  </a:schemeClr>
                </a:solidFill>
              </a:rPr>
              <a:t>Remuneración de Actividades Reguladas</a:t>
            </a:r>
          </a:p>
          <a:p>
            <a:pPr>
              <a:spcBef>
                <a:spcPts val="1200"/>
              </a:spcBef>
              <a:spcAft>
                <a:spcPts val="600"/>
              </a:spcAft>
            </a:pPr>
            <a:r>
              <a:rPr lang="es-ES_tradnl" dirty="0" smtClean="0">
                <a:solidFill>
                  <a:schemeClr val="bg1">
                    <a:lumMod val="65000"/>
                  </a:schemeClr>
                </a:solidFill>
              </a:rPr>
              <a:t>Situación en España. Déficit de tarifa</a:t>
            </a:r>
          </a:p>
          <a:p>
            <a:pPr>
              <a:spcBef>
                <a:spcPts val="1200"/>
              </a:spcBef>
              <a:spcAft>
                <a:spcPts val="600"/>
              </a:spcAft>
            </a:pPr>
            <a:r>
              <a:rPr lang="es-ES_tradnl" dirty="0">
                <a:solidFill>
                  <a:schemeClr val="tx1"/>
                </a:solidFill>
              </a:rPr>
              <a:t>Mapa de procesos.</a:t>
            </a:r>
          </a:p>
          <a:p>
            <a:pPr>
              <a:spcBef>
                <a:spcPts val="1200"/>
              </a:spcBef>
              <a:spcAft>
                <a:spcPts val="600"/>
              </a:spcAft>
            </a:pPr>
            <a:r>
              <a:rPr lang="es-ES_tradnl" dirty="0" smtClean="0">
                <a:solidFill>
                  <a:schemeClr val="bg1">
                    <a:lumMod val="65000"/>
                  </a:schemeClr>
                </a:solidFill>
              </a:rPr>
              <a:t>Nuevas tecnologías.</a:t>
            </a:r>
          </a:p>
          <a:p>
            <a:pPr>
              <a:spcBef>
                <a:spcPts val="1200"/>
              </a:spcBef>
              <a:spcAft>
                <a:spcPts val="600"/>
              </a:spcAft>
            </a:pPr>
            <a:r>
              <a:rPr lang="es-ES_tradnl" dirty="0" smtClean="0">
                <a:solidFill>
                  <a:schemeClr val="bg1">
                    <a:lumMod val="65000"/>
                  </a:schemeClr>
                </a:solidFill>
              </a:rPr>
              <a:t>Offerings de Accenture.</a:t>
            </a:r>
          </a:p>
          <a:p>
            <a:pPr>
              <a:spcBef>
                <a:spcPts val="1200"/>
              </a:spcBef>
              <a:spcAft>
                <a:spcPts val="600"/>
              </a:spcAft>
            </a:pPr>
            <a:r>
              <a:rPr lang="es-ES_tradnl" dirty="0" smtClean="0">
                <a:solidFill>
                  <a:schemeClr val="bg1">
                    <a:lumMod val="65000"/>
                  </a:schemeClr>
                </a:solidFill>
              </a:rPr>
              <a:t>Experiencias Accenture.</a:t>
            </a:r>
          </a:p>
        </p:txBody>
      </p:sp>
      <p:sp>
        <p:nvSpPr>
          <p:cNvPr id="40" name="Slide Number Placeholder 39"/>
          <p:cNvSpPr>
            <a:spLocks noGrp="1"/>
          </p:cNvSpPr>
          <p:nvPr>
            <p:ph type="sldNum" sz="quarter" idx="4"/>
          </p:nvPr>
        </p:nvSpPr>
        <p:spPr/>
        <p:txBody>
          <a:bodyPr/>
          <a:lstStyle/>
          <a:p>
            <a:fld id="{90CBDC3A-D49F-4631-A8C7-55D59B33E5FA}" type="slidenum">
              <a:rPr lang="en-US" smtClean="0"/>
              <a:pPr/>
              <a:t>23</a:t>
            </a:fld>
            <a:endParaRPr lang="en-US" dirty="0"/>
          </a:p>
        </p:txBody>
      </p:sp>
      <p:sp>
        <p:nvSpPr>
          <p:cNvPr id="5" name="Rounded Rectangle 4"/>
          <p:cNvSpPr/>
          <p:nvPr/>
        </p:nvSpPr>
        <p:spPr>
          <a:xfrm>
            <a:off x="281354" y="3545059"/>
            <a:ext cx="8707901" cy="6752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8100452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 name="Pentagon 561"/>
          <p:cNvSpPr/>
          <p:nvPr/>
        </p:nvSpPr>
        <p:spPr>
          <a:xfrm>
            <a:off x="2490027" y="1148484"/>
            <a:ext cx="5401435" cy="275185"/>
          </a:xfrm>
          <a:prstGeom prst="homePlate">
            <a:avLst>
              <a:gd name="adj" fmla="val 38213"/>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b="1" dirty="0" smtClean="0"/>
              <a:t>OPEX</a:t>
            </a:r>
            <a:endParaRPr lang="es-ES_tradnl" sz="1400" dirty="0">
              <a:latin typeface="+mj-lt"/>
            </a:endParaRPr>
          </a:p>
        </p:txBody>
      </p:sp>
      <p:sp>
        <p:nvSpPr>
          <p:cNvPr id="563" name="Pentagon 562"/>
          <p:cNvSpPr/>
          <p:nvPr/>
        </p:nvSpPr>
        <p:spPr>
          <a:xfrm>
            <a:off x="73891" y="1157079"/>
            <a:ext cx="2164010" cy="266590"/>
          </a:xfrm>
          <a:prstGeom prst="homePlate">
            <a:avLst>
              <a:gd name="adj" fmla="val 38213"/>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b="1" dirty="0" smtClean="0"/>
              <a:t>CAPEX</a:t>
            </a:r>
            <a:endParaRPr lang="es-ES_tradnl" sz="1400" dirty="0">
              <a:latin typeface="+mj-lt"/>
            </a:endParaRPr>
          </a:p>
        </p:txBody>
      </p:sp>
      <p:sp>
        <p:nvSpPr>
          <p:cNvPr id="564" name="Pentagon 563"/>
          <p:cNvSpPr/>
          <p:nvPr/>
        </p:nvSpPr>
        <p:spPr>
          <a:xfrm flipH="1">
            <a:off x="7921624" y="756282"/>
            <a:ext cx="1150860" cy="784404"/>
          </a:xfrm>
          <a:prstGeom prst="homePlate">
            <a:avLst>
              <a:gd name="adj" fmla="val 0"/>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050" b="1" dirty="0" smtClean="0"/>
              <a:t>Remuneración marcada por la Regulación</a:t>
            </a:r>
            <a:endParaRPr lang="es-ES_tradnl" sz="1050" dirty="0">
              <a:latin typeface="+mj-lt"/>
            </a:endParaRPr>
          </a:p>
        </p:txBody>
      </p:sp>
      <p:sp>
        <p:nvSpPr>
          <p:cNvPr id="551" name="Title 550"/>
          <p:cNvSpPr>
            <a:spLocks noGrp="1"/>
          </p:cNvSpPr>
          <p:nvPr>
            <p:ph type="title"/>
          </p:nvPr>
        </p:nvSpPr>
        <p:spPr/>
        <p:txBody>
          <a:bodyPr/>
          <a:lstStyle/>
          <a:p>
            <a:r>
              <a:rPr lang="es-ES_tradnl" dirty="0">
                <a:solidFill>
                  <a:schemeClr val="tx1"/>
                </a:solidFill>
              </a:rPr>
              <a:t>Mapa de </a:t>
            </a:r>
            <a:r>
              <a:rPr lang="es-ES_tradnl" dirty="0" smtClean="0">
                <a:solidFill>
                  <a:schemeClr val="tx1"/>
                </a:solidFill>
              </a:rPr>
              <a:t>procesos</a:t>
            </a:r>
            <a:br>
              <a:rPr lang="es-ES_tradnl" dirty="0" smtClean="0">
                <a:solidFill>
                  <a:schemeClr val="tx1"/>
                </a:solidFill>
              </a:rPr>
            </a:br>
            <a:r>
              <a:rPr lang="es-ES_tradnl" dirty="0" smtClean="0">
                <a:solidFill>
                  <a:schemeClr val="tx1"/>
                </a:solidFill>
              </a:rPr>
              <a:t>HPUM – T&amp;D</a:t>
            </a:r>
            <a:endParaRPr lang="pt-PT" dirty="0"/>
          </a:p>
        </p:txBody>
      </p:sp>
      <p:sp>
        <p:nvSpPr>
          <p:cNvPr id="553" name="Content Placeholder 552"/>
          <p:cNvSpPr>
            <a:spLocks noGrp="1"/>
          </p:cNvSpPr>
          <p:nvPr>
            <p:ph sz="quarter" idx="11"/>
          </p:nvPr>
        </p:nvSpPr>
        <p:spPr/>
        <p:txBody>
          <a:bodyPr/>
          <a:lstStyle/>
          <a:p>
            <a:endParaRPr lang="pt-PT"/>
          </a:p>
        </p:txBody>
      </p:sp>
      <p:sp>
        <p:nvSpPr>
          <p:cNvPr id="3" name="Slide Number Placeholder 2"/>
          <p:cNvSpPr>
            <a:spLocks noGrp="1"/>
          </p:cNvSpPr>
          <p:nvPr>
            <p:ph type="sldNum" sz="quarter" idx="4"/>
          </p:nvPr>
        </p:nvSpPr>
        <p:spPr/>
        <p:txBody>
          <a:bodyPr/>
          <a:lstStyle/>
          <a:p>
            <a:pPr>
              <a:defRPr/>
            </a:pPr>
            <a:fld id="{90CBDC3A-D49F-4631-A8C7-55D59B33E5FA}" type="slidenum">
              <a:rPr lang="en-US" smtClean="0"/>
              <a:pPr>
                <a:defRPr/>
              </a:pPr>
              <a:t>24</a:t>
            </a:fld>
            <a:endParaRPr lang="en-US" dirty="0"/>
          </a:p>
        </p:txBody>
      </p:sp>
      <p:grpSp>
        <p:nvGrpSpPr>
          <p:cNvPr id="4" name="Group 1666"/>
          <p:cNvGrpSpPr>
            <a:grpSpLocks/>
          </p:cNvGrpSpPr>
          <p:nvPr/>
        </p:nvGrpSpPr>
        <p:grpSpPr bwMode="auto">
          <a:xfrm>
            <a:off x="-2" y="1497467"/>
            <a:ext cx="9144047" cy="5054132"/>
            <a:chOff x="0" y="1212"/>
            <a:chExt cx="5760" cy="2895"/>
          </a:xfrm>
        </p:grpSpPr>
        <p:sp>
          <p:nvSpPr>
            <p:cNvPr id="5" name="AutoShape 561"/>
            <p:cNvSpPr>
              <a:spLocks noChangeAspect="1" noChangeArrowheads="1" noTextEdit="1"/>
            </p:cNvSpPr>
            <p:nvPr/>
          </p:nvSpPr>
          <p:spPr bwMode="auto">
            <a:xfrm>
              <a:off x="0" y="1212"/>
              <a:ext cx="5760" cy="2895"/>
            </a:xfrm>
            <a:prstGeom prst="rect">
              <a:avLst/>
            </a:prstGeom>
            <a:noFill/>
            <a:ln w="9525">
              <a:noFill/>
              <a:miter lim="800000"/>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6" name="Rectangle 562"/>
            <p:cNvSpPr>
              <a:spLocks noChangeArrowheads="1"/>
            </p:cNvSpPr>
            <p:nvPr/>
          </p:nvSpPr>
          <p:spPr bwMode="auto">
            <a:xfrm>
              <a:off x="9" y="1219"/>
              <a:ext cx="5742" cy="2881"/>
            </a:xfrm>
            <a:prstGeom prst="rect">
              <a:avLst/>
            </a:prstGeom>
            <a:solidFill>
              <a:srgbClr val="EAEAEA"/>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7" name="Rectangle 563"/>
            <p:cNvSpPr>
              <a:spLocks noChangeArrowheads="1"/>
            </p:cNvSpPr>
            <p:nvPr/>
          </p:nvSpPr>
          <p:spPr bwMode="auto">
            <a:xfrm>
              <a:off x="33" y="1223"/>
              <a:ext cx="899" cy="2858"/>
            </a:xfrm>
            <a:prstGeom prst="rect">
              <a:avLst/>
            </a:prstGeom>
            <a:solidFill>
              <a:srgbClr val="6A6ACE"/>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8" name="Rectangle 564"/>
            <p:cNvSpPr>
              <a:spLocks noChangeArrowheads="1"/>
            </p:cNvSpPr>
            <p:nvPr/>
          </p:nvSpPr>
          <p:spPr bwMode="auto">
            <a:xfrm>
              <a:off x="33" y="1223"/>
              <a:ext cx="899" cy="2858"/>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9" name="Rectangle 565"/>
            <p:cNvSpPr>
              <a:spLocks noChangeArrowheads="1"/>
            </p:cNvSpPr>
            <p:nvPr/>
          </p:nvSpPr>
          <p:spPr bwMode="auto">
            <a:xfrm>
              <a:off x="145" y="1236"/>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1</a:t>
              </a:r>
              <a:endParaRPr lang="en-US" sz="1800" b="0" kern="0" baseline="0">
                <a:solidFill>
                  <a:sysClr val="windowText" lastClr="000000"/>
                </a:solidFill>
                <a:latin typeface="Arial" charset="0"/>
                <a:ea typeface="ＭＳ Ｐゴシック"/>
                <a:cs typeface="ＭＳ Ｐゴシック"/>
              </a:endParaRPr>
            </a:p>
          </p:txBody>
        </p:sp>
        <p:sp>
          <p:nvSpPr>
            <p:cNvPr id="10" name="Rectangle 566"/>
            <p:cNvSpPr>
              <a:spLocks noChangeArrowheads="1"/>
            </p:cNvSpPr>
            <p:nvPr/>
          </p:nvSpPr>
          <p:spPr bwMode="auto">
            <a:xfrm>
              <a:off x="183" y="1236"/>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11" name="Rectangle 567"/>
            <p:cNvSpPr>
              <a:spLocks noChangeArrowheads="1"/>
            </p:cNvSpPr>
            <p:nvPr/>
          </p:nvSpPr>
          <p:spPr bwMode="auto">
            <a:xfrm>
              <a:off x="223" y="1236"/>
              <a:ext cx="632"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Manage the Asset </a:t>
              </a:r>
              <a:endParaRPr lang="en-US" sz="1800" b="0" kern="0" baseline="0">
                <a:solidFill>
                  <a:sysClr val="windowText" lastClr="000000"/>
                </a:solidFill>
                <a:latin typeface="Arial" charset="0"/>
                <a:ea typeface="ＭＳ Ｐゴシック"/>
                <a:cs typeface="ＭＳ Ｐゴシック"/>
              </a:endParaRPr>
            </a:p>
          </p:txBody>
        </p:sp>
        <p:sp>
          <p:nvSpPr>
            <p:cNvPr id="12" name="Rectangle 568"/>
            <p:cNvSpPr>
              <a:spLocks noChangeArrowheads="1"/>
            </p:cNvSpPr>
            <p:nvPr/>
          </p:nvSpPr>
          <p:spPr bwMode="auto">
            <a:xfrm>
              <a:off x="254" y="1298"/>
              <a:ext cx="468"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Infrastructure</a:t>
              </a:r>
              <a:endParaRPr lang="en-US" sz="1800" b="0" kern="0" baseline="0">
                <a:solidFill>
                  <a:sysClr val="windowText" lastClr="000000"/>
                </a:solidFill>
                <a:latin typeface="Arial" charset="0"/>
                <a:ea typeface="ＭＳ Ｐゴシック"/>
                <a:cs typeface="ＭＳ Ｐゴシック"/>
              </a:endParaRPr>
            </a:p>
          </p:txBody>
        </p:sp>
        <p:sp>
          <p:nvSpPr>
            <p:cNvPr id="13" name="Rectangle 569"/>
            <p:cNvSpPr>
              <a:spLocks noChangeArrowheads="1"/>
            </p:cNvSpPr>
            <p:nvPr/>
          </p:nvSpPr>
          <p:spPr bwMode="auto">
            <a:xfrm>
              <a:off x="69" y="1397"/>
              <a:ext cx="835" cy="823"/>
            </a:xfrm>
            <a:prstGeom prst="rect">
              <a:avLst/>
            </a:prstGeom>
            <a:solidFill>
              <a:srgbClr val="CCCDFF"/>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14" name="Rectangle 570"/>
            <p:cNvSpPr>
              <a:spLocks noChangeArrowheads="1"/>
            </p:cNvSpPr>
            <p:nvPr/>
          </p:nvSpPr>
          <p:spPr bwMode="auto">
            <a:xfrm>
              <a:off x="69" y="1397"/>
              <a:ext cx="835" cy="823"/>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15" name="Rectangle 571"/>
            <p:cNvSpPr>
              <a:spLocks noChangeArrowheads="1"/>
            </p:cNvSpPr>
            <p:nvPr/>
          </p:nvSpPr>
          <p:spPr bwMode="auto">
            <a:xfrm>
              <a:off x="169" y="1411"/>
              <a:ext cx="31"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1</a:t>
              </a:r>
              <a:endParaRPr lang="en-US" sz="1800" b="0" kern="0" baseline="0">
                <a:solidFill>
                  <a:sysClr val="windowText" lastClr="000000"/>
                </a:solidFill>
                <a:latin typeface="Arial" charset="0"/>
                <a:ea typeface="ＭＳ Ｐゴシック"/>
                <a:cs typeface="ＭＳ Ｐゴシック"/>
              </a:endParaRPr>
            </a:p>
          </p:txBody>
        </p:sp>
        <p:sp>
          <p:nvSpPr>
            <p:cNvPr id="16" name="Rectangle 572"/>
            <p:cNvSpPr>
              <a:spLocks noChangeArrowheads="1"/>
            </p:cNvSpPr>
            <p:nvPr/>
          </p:nvSpPr>
          <p:spPr bwMode="auto">
            <a:xfrm>
              <a:off x="200" y="1411"/>
              <a:ext cx="1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17" name="Rectangle 573"/>
            <p:cNvSpPr>
              <a:spLocks noChangeArrowheads="1"/>
            </p:cNvSpPr>
            <p:nvPr/>
          </p:nvSpPr>
          <p:spPr bwMode="auto">
            <a:xfrm>
              <a:off x="215" y="1411"/>
              <a:ext cx="47"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1 </a:t>
              </a:r>
              <a:endParaRPr lang="en-US" sz="1800" b="0" kern="0" baseline="0">
                <a:solidFill>
                  <a:sysClr val="windowText" lastClr="000000"/>
                </a:solidFill>
                <a:latin typeface="Arial" charset="0"/>
                <a:ea typeface="ＭＳ Ｐゴシック"/>
                <a:cs typeface="ＭＳ Ｐゴシック"/>
              </a:endParaRPr>
            </a:p>
          </p:txBody>
        </p:sp>
        <p:sp>
          <p:nvSpPr>
            <p:cNvPr id="18" name="Rectangle 574"/>
            <p:cNvSpPr>
              <a:spLocks noChangeArrowheads="1"/>
            </p:cNvSpPr>
            <p:nvPr/>
          </p:nvSpPr>
          <p:spPr bwMode="auto">
            <a:xfrm>
              <a:off x="261" y="1411"/>
              <a:ext cx="551"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Manage Investments</a:t>
              </a:r>
              <a:endParaRPr lang="en-US" sz="1800" b="0" kern="0" baseline="0">
                <a:solidFill>
                  <a:sysClr val="windowText" lastClr="000000"/>
                </a:solidFill>
                <a:latin typeface="Arial" charset="0"/>
                <a:ea typeface="ＭＳ Ｐゴシック"/>
                <a:cs typeface="ＭＳ Ｐゴシック"/>
              </a:endParaRPr>
            </a:p>
          </p:txBody>
        </p:sp>
        <p:sp>
          <p:nvSpPr>
            <p:cNvPr id="19" name="Rectangle 575"/>
            <p:cNvSpPr>
              <a:spLocks noChangeArrowheads="1"/>
            </p:cNvSpPr>
            <p:nvPr/>
          </p:nvSpPr>
          <p:spPr bwMode="auto">
            <a:xfrm>
              <a:off x="69" y="2248"/>
              <a:ext cx="835" cy="555"/>
            </a:xfrm>
            <a:prstGeom prst="rect">
              <a:avLst/>
            </a:prstGeom>
            <a:solidFill>
              <a:srgbClr val="CCCDFF"/>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0" name="Rectangle 576"/>
            <p:cNvSpPr>
              <a:spLocks noChangeArrowheads="1"/>
            </p:cNvSpPr>
            <p:nvPr/>
          </p:nvSpPr>
          <p:spPr bwMode="auto">
            <a:xfrm>
              <a:off x="69" y="2248"/>
              <a:ext cx="835" cy="555"/>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1" name="Rectangle 577"/>
            <p:cNvSpPr>
              <a:spLocks noChangeArrowheads="1"/>
            </p:cNvSpPr>
            <p:nvPr/>
          </p:nvSpPr>
          <p:spPr bwMode="auto">
            <a:xfrm>
              <a:off x="118" y="2261"/>
              <a:ext cx="31"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1</a:t>
              </a:r>
              <a:endParaRPr lang="en-US" sz="1800" b="0" kern="0" baseline="0">
                <a:solidFill>
                  <a:sysClr val="windowText" lastClr="000000"/>
                </a:solidFill>
                <a:latin typeface="Arial" charset="0"/>
                <a:ea typeface="ＭＳ Ｐゴシック"/>
                <a:cs typeface="ＭＳ Ｐゴシック"/>
              </a:endParaRPr>
            </a:p>
          </p:txBody>
        </p:sp>
        <p:sp>
          <p:nvSpPr>
            <p:cNvPr id="22" name="Rectangle 578"/>
            <p:cNvSpPr>
              <a:spLocks noChangeArrowheads="1"/>
            </p:cNvSpPr>
            <p:nvPr/>
          </p:nvSpPr>
          <p:spPr bwMode="auto">
            <a:xfrm>
              <a:off x="149" y="2261"/>
              <a:ext cx="16"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23" name="Rectangle 579"/>
            <p:cNvSpPr>
              <a:spLocks noChangeArrowheads="1"/>
            </p:cNvSpPr>
            <p:nvPr/>
          </p:nvSpPr>
          <p:spPr bwMode="auto">
            <a:xfrm>
              <a:off x="165" y="2261"/>
              <a:ext cx="47"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2 </a:t>
              </a:r>
              <a:endParaRPr lang="en-US" sz="1800" b="0" kern="0" baseline="0">
                <a:solidFill>
                  <a:sysClr val="windowText" lastClr="000000"/>
                </a:solidFill>
                <a:latin typeface="Arial" charset="0"/>
                <a:ea typeface="ＭＳ Ｐゴシック"/>
                <a:cs typeface="ＭＳ Ｐゴシック"/>
              </a:endParaRPr>
            </a:p>
          </p:txBody>
        </p:sp>
        <p:sp>
          <p:nvSpPr>
            <p:cNvPr id="24" name="Rectangle 580"/>
            <p:cNvSpPr>
              <a:spLocks noChangeArrowheads="1"/>
            </p:cNvSpPr>
            <p:nvPr/>
          </p:nvSpPr>
          <p:spPr bwMode="auto">
            <a:xfrm>
              <a:off x="211" y="2261"/>
              <a:ext cx="653"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Manage Asset Programs</a:t>
              </a:r>
              <a:endParaRPr lang="en-US" sz="1800" b="0" kern="0" baseline="0">
                <a:solidFill>
                  <a:sysClr val="windowText" lastClr="000000"/>
                </a:solidFill>
                <a:latin typeface="Arial" charset="0"/>
                <a:ea typeface="ＭＳ Ｐゴシック"/>
                <a:cs typeface="ＭＳ Ｐゴシック"/>
              </a:endParaRPr>
            </a:p>
          </p:txBody>
        </p:sp>
        <p:sp>
          <p:nvSpPr>
            <p:cNvPr id="25" name="Freeform 581"/>
            <p:cNvSpPr>
              <a:spLocks/>
            </p:cNvSpPr>
            <p:nvPr/>
          </p:nvSpPr>
          <p:spPr bwMode="auto">
            <a:xfrm>
              <a:off x="139" y="2149"/>
              <a:ext cx="79" cy="112"/>
            </a:xfrm>
            <a:custGeom>
              <a:avLst/>
              <a:gdLst>
                <a:gd name="T0" fmla="*/ 13 w 239"/>
                <a:gd name="T1" fmla="*/ 0 h 461"/>
                <a:gd name="T2" fmla="*/ 26 w 239"/>
                <a:gd name="T3" fmla="*/ 7 h 461"/>
                <a:gd name="T4" fmla="*/ 18 w 239"/>
                <a:gd name="T5" fmla="*/ 7 h 461"/>
                <a:gd name="T6" fmla="*/ 18 w 239"/>
                <a:gd name="T7" fmla="*/ 27 h 461"/>
                <a:gd name="T8" fmla="*/ 9 w 239"/>
                <a:gd name="T9" fmla="*/ 27 h 461"/>
                <a:gd name="T10" fmla="*/ 9 w 239"/>
                <a:gd name="T11" fmla="*/ 7 h 461"/>
                <a:gd name="T12" fmla="*/ 0 w 239"/>
                <a:gd name="T13" fmla="*/ 7 h 461"/>
                <a:gd name="T14" fmla="*/ 13 w 239"/>
                <a:gd name="T15" fmla="*/ 0 h 461"/>
                <a:gd name="T16" fmla="*/ 0 60000 65536"/>
                <a:gd name="T17" fmla="*/ 0 60000 65536"/>
                <a:gd name="T18" fmla="*/ 0 60000 65536"/>
                <a:gd name="T19" fmla="*/ 0 60000 65536"/>
                <a:gd name="T20" fmla="*/ 0 60000 65536"/>
                <a:gd name="T21" fmla="*/ 0 60000 65536"/>
                <a:gd name="T22" fmla="*/ 0 60000 65536"/>
                <a:gd name="T23" fmla="*/ 0 60000 65536"/>
                <a:gd name="T24" fmla="*/ 0 w 239"/>
                <a:gd name="T25" fmla="*/ 0 h 461"/>
                <a:gd name="T26" fmla="*/ 239 w 239"/>
                <a:gd name="T27" fmla="*/ 461 h 4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9" h="461">
                  <a:moveTo>
                    <a:pt x="120" y="0"/>
                  </a:moveTo>
                  <a:lnTo>
                    <a:pt x="239" y="121"/>
                  </a:lnTo>
                  <a:lnTo>
                    <a:pt x="160" y="121"/>
                  </a:lnTo>
                  <a:lnTo>
                    <a:pt x="160" y="461"/>
                  </a:lnTo>
                  <a:lnTo>
                    <a:pt x="79" y="461"/>
                  </a:lnTo>
                  <a:lnTo>
                    <a:pt x="79" y="121"/>
                  </a:lnTo>
                  <a:lnTo>
                    <a:pt x="0" y="121"/>
                  </a:lnTo>
                  <a:lnTo>
                    <a:pt x="120" y="0"/>
                  </a:lnTo>
                  <a:close/>
                </a:path>
              </a:pathLst>
            </a:custGeom>
            <a:solidFill>
              <a:srgbClr val="1A1A1A"/>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6" name="Freeform 582"/>
            <p:cNvSpPr>
              <a:spLocks/>
            </p:cNvSpPr>
            <p:nvPr/>
          </p:nvSpPr>
          <p:spPr bwMode="auto">
            <a:xfrm>
              <a:off x="139" y="2149"/>
              <a:ext cx="79" cy="112"/>
            </a:xfrm>
            <a:custGeom>
              <a:avLst/>
              <a:gdLst>
                <a:gd name="T0" fmla="*/ 13 w 239"/>
                <a:gd name="T1" fmla="*/ 0 h 461"/>
                <a:gd name="T2" fmla="*/ 26 w 239"/>
                <a:gd name="T3" fmla="*/ 7 h 461"/>
                <a:gd name="T4" fmla="*/ 18 w 239"/>
                <a:gd name="T5" fmla="*/ 7 h 461"/>
                <a:gd name="T6" fmla="*/ 18 w 239"/>
                <a:gd name="T7" fmla="*/ 27 h 461"/>
                <a:gd name="T8" fmla="*/ 9 w 239"/>
                <a:gd name="T9" fmla="*/ 27 h 461"/>
                <a:gd name="T10" fmla="*/ 9 w 239"/>
                <a:gd name="T11" fmla="*/ 7 h 461"/>
                <a:gd name="T12" fmla="*/ 0 w 239"/>
                <a:gd name="T13" fmla="*/ 7 h 461"/>
                <a:gd name="T14" fmla="*/ 13 w 239"/>
                <a:gd name="T15" fmla="*/ 0 h 461"/>
                <a:gd name="T16" fmla="*/ 0 60000 65536"/>
                <a:gd name="T17" fmla="*/ 0 60000 65536"/>
                <a:gd name="T18" fmla="*/ 0 60000 65536"/>
                <a:gd name="T19" fmla="*/ 0 60000 65536"/>
                <a:gd name="T20" fmla="*/ 0 60000 65536"/>
                <a:gd name="T21" fmla="*/ 0 60000 65536"/>
                <a:gd name="T22" fmla="*/ 0 60000 65536"/>
                <a:gd name="T23" fmla="*/ 0 60000 65536"/>
                <a:gd name="T24" fmla="*/ 0 w 239"/>
                <a:gd name="T25" fmla="*/ 0 h 461"/>
                <a:gd name="T26" fmla="*/ 239 w 239"/>
                <a:gd name="T27" fmla="*/ 461 h 4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9" h="461">
                  <a:moveTo>
                    <a:pt x="120" y="0"/>
                  </a:moveTo>
                  <a:lnTo>
                    <a:pt x="239" y="121"/>
                  </a:lnTo>
                  <a:lnTo>
                    <a:pt x="160" y="121"/>
                  </a:lnTo>
                  <a:lnTo>
                    <a:pt x="160" y="461"/>
                  </a:lnTo>
                  <a:lnTo>
                    <a:pt x="79" y="461"/>
                  </a:lnTo>
                  <a:lnTo>
                    <a:pt x="79" y="121"/>
                  </a:lnTo>
                  <a:lnTo>
                    <a:pt x="0" y="121"/>
                  </a:lnTo>
                  <a:lnTo>
                    <a:pt x="120" y="0"/>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7" name="Freeform 583"/>
            <p:cNvSpPr>
              <a:spLocks/>
            </p:cNvSpPr>
            <p:nvPr/>
          </p:nvSpPr>
          <p:spPr bwMode="auto">
            <a:xfrm>
              <a:off x="775" y="2149"/>
              <a:ext cx="80" cy="112"/>
            </a:xfrm>
            <a:custGeom>
              <a:avLst/>
              <a:gdLst>
                <a:gd name="T0" fmla="*/ 13 w 240"/>
                <a:gd name="T1" fmla="*/ 27 h 461"/>
                <a:gd name="T2" fmla="*/ 27 w 240"/>
                <a:gd name="T3" fmla="*/ 20 h 461"/>
                <a:gd name="T4" fmla="*/ 18 w 240"/>
                <a:gd name="T5" fmla="*/ 20 h 461"/>
                <a:gd name="T6" fmla="*/ 18 w 240"/>
                <a:gd name="T7" fmla="*/ 0 h 461"/>
                <a:gd name="T8" fmla="*/ 9 w 240"/>
                <a:gd name="T9" fmla="*/ 0 h 461"/>
                <a:gd name="T10" fmla="*/ 9 w 240"/>
                <a:gd name="T11" fmla="*/ 20 h 461"/>
                <a:gd name="T12" fmla="*/ 0 w 240"/>
                <a:gd name="T13" fmla="*/ 20 h 461"/>
                <a:gd name="T14" fmla="*/ 13 w 240"/>
                <a:gd name="T15" fmla="*/ 27 h 461"/>
                <a:gd name="T16" fmla="*/ 0 60000 65536"/>
                <a:gd name="T17" fmla="*/ 0 60000 65536"/>
                <a:gd name="T18" fmla="*/ 0 60000 65536"/>
                <a:gd name="T19" fmla="*/ 0 60000 65536"/>
                <a:gd name="T20" fmla="*/ 0 60000 65536"/>
                <a:gd name="T21" fmla="*/ 0 60000 65536"/>
                <a:gd name="T22" fmla="*/ 0 60000 65536"/>
                <a:gd name="T23" fmla="*/ 0 60000 65536"/>
                <a:gd name="T24" fmla="*/ 0 w 240"/>
                <a:gd name="T25" fmla="*/ 0 h 461"/>
                <a:gd name="T26" fmla="*/ 240 w 240"/>
                <a:gd name="T27" fmla="*/ 461 h 4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0" h="461">
                  <a:moveTo>
                    <a:pt x="119" y="461"/>
                  </a:moveTo>
                  <a:lnTo>
                    <a:pt x="240" y="341"/>
                  </a:lnTo>
                  <a:lnTo>
                    <a:pt x="161" y="341"/>
                  </a:lnTo>
                  <a:lnTo>
                    <a:pt x="161" y="0"/>
                  </a:lnTo>
                  <a:lnTo>
                    <a:pt x="79" y="0"/>
                  </a:lnTo>
                  <a:lnTo>
                    <a:pt x="79" y="341"/>
                  </a:lnTo>
                  <a:lnTo>
                    <a:pt x="0" y="341"/>
                  </a:lnTo>
                  <a:lnTo>
                    <a:pt x="119" y="461"/>
                  </a:lnTo>
                  <a:close/>
                </a:path>
              </a:pathLst>
            </a:custGeom>
            <a:solidFill>
              <a:srgbClr val="1A1A1A"/>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8" name="Freeform 584"/>
            <p:cNvSpPr>
              <a:spLocks/>
            </p:cNvSpPr>
            <p:nvPr/>
          </p:nvSpPr>
          <p:spPr bwMode="auto">
            <a:xfrm>
              <a:off x="775" y="2149"/>
              <a:ext cx="80" cy="112"/>
            </a:xfrm>
            <a:custGeom>
              <a:avLst/>
              <a:gdLst>
                <a:gd name="T0" fmla="*/ 13 w 240"/>
                <a:gd name="T1" fmla="*/ 27 h 461"/>
                <a:gd name="T2" fmla="*/ 27 w 240"/>
                <a:gd name="T3" fmla="*/ 20 h 461"/>
                <a:gd name="T4" fmla="*/ 18 w 240"/>
                <a:gd name="T5" fmla="*/ 20 h 461"/>
                <a:gd name="T6" fmla="*/ 18 w 240"/>
                <a:gd name="T7" fmla="*/ 0 h 461"/>
                <a:gd name="T8" fmla="*/ 9 w 240"/>
                <a:gd name="T9" fmla="*/ 0 h 461"/>
                <a:gd name="T10" fmla="*/ 9 w 240"/>
                <a:gd name="T11" fmla="*/ 20 h 461"/>
                <a:gd name="T12" fmla="*/ 0 w 240"/>
                <a:gd name="T13" fmla="*/ 20 h 461"/>
                <a:gd name="T14" fmla="*/ 13 w 240"/>
                <a:gd name="T15" fmla="*/ 27 h 461"/>
                <a:gd name="T16" fmla="*/ 0 60000 65536"/>
                <a:gd name="T17" fmla="*/ 0 60000 65536"/>
                <a:gd name="T18" fmla="*/ 0 60000 65536"/>
                <a:gd name="T19" fmla="*/ 0 60000 65536"/>
                <a:gd name="T20" fmla="*/ 0 60000 65536"/>
                <a:gd name="T21" fmla="*/ 0 60000 65536"/>
                <a:gd name="T22" fmla="*/ 0 60000 65536"/>
                <a:gd name="T23" fmla="*/ 0 60000 65536"/>
                <a:gd name="T24" fmla="*/ 0 w 240"/>
                <a:gd name="T25" fmla="*/ 0 h 461"/>
                <a:gd name="T26" fmla="*/ 240 w 240"/>
                <a:gd name="T27" fmla="*/ 461 h 4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0" h="461">
                  <a:moveTo>
                    <a:pt x="119" y="461"/>
                  </a:moveTo>
                  <a:lnTo>
                    <a:pt x="240" y="341"/>
                  </a:lnTo>
                  <a:lnTo>
                    <a:pt x="161" y="341"/>
                  </a:lnTo>
                  <a:lnTo>
                    <a:pt x="161" y="0"/>
                  </a:lnTo>
                  <a:lnTo>
                    <a:pt x="79" y="0"/>
                  </a:lnTo>
                  <a:lnTo>
                    <a:pt x="79" y="341"/>
                  </a:lnTo>
                  <a:lnTo>
                    <a:pt x="0" y="341"/>
                  </a:lnTo>
                  <a:lnTo>
                    <a:pt x="119" y="461"/>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9" name="Rectangle 585"/>
            <p:cNvSpPr>
              <a:spLocks noChangeArrowheads="1"/>
            </p:cNvSpPr>
            <p:nvPr/>
          </p:nvSpPr>
          <p:spPr bwMode="auto">
            <a:xfrm>
              <a:off x="69" y="3560"/>
              <a:ext cx="835" cy="347"/>
            </a:xfrm>
            <a:prstGeom prst="rect">
              <a:avLst/>
            </a:prstGeom>
            <a:solidFill>
              <a:srgbClr val="CCCDFF"/>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0" name="Rectangle 586"/>
            <p:cNvSpPr>
              <a:spLocks noChangeArrowheads="1"/>
            </p:cNvSpPr>
            <p:nvPr/>
          </p:nvSpPr>
          <p:spPr bwMode="auto">
            <a:xfrm>
              <a:off x="69" y="3560"/>
              <a:ext cx="835" cy="347"/>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1" name="Rectangle 587"/>
            <p:cNvSpPr>
              <a:spLocks noChangeArrowheads="1"/>
            </p:cNvSpPr>
            <p:nvPr/>
          </p:nvSpPr>
          <p:spPr bwMode="auto">
            <a:xfrm>
              <a:off x="95" y="3574"/>
              <a:ext cx="31"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1</a:t>
              </a:r>
              <a:endParaRPr lang="en-US" sz="1800" b="0" kern="0" baseline="0">
                <a:solidFill>
                  <a:sysClr val="windowText" lastClr="000000"/>
                </a:solidFill>
                <a:latin typeface="Arial" charset="0"/>
                <a:ea typeface="ＭＳ Ｐゴシック"/>
                <a:cs typeface="ＭＳ Ｐゴシック"/>
              </a:endParaRPr>
            </a:p>
          </p:txBody>
        </p:sp>
        <p:sp>
          <p:nvSpPr>
            <p:cNvPr id="32" name="Rectangle 588"/>
            <p:cNvSpPr>
              <a:spLocks noChangeArrowheads="1"/>
            </p:cNvSpPr>
            <p:nvPr/>
          </p:nvSpPr>
          <p:spPr bwMode="auto">
            <a:xfrm>
              <a:off x="126" y="3574"/>
              <a:ext cx="1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33" name="Rectangle 589"/>
            <p:cNvSpPr>
              <a:spLocks noChangeArrowheads="1"/>
            </p:cNvSpPr>
            <p:nvPr/>
          </p:nvSpPr>
          <p:spPr bwMode="auto">
            <a:xfrm>
              <a:off x="142" y="3574"/>
              <a:ext cx="47"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4 </a:t>
              </a:r>
              <a:endParaRPr lang="en-US" sz="1800" b="0" kern="0" baseline="0">
                <a:solidFill>
                  <a:sysClr val="windowText" lastClr="000000"/>
                </a:solidFill>
                <a:latin typeface="Arial" charset="0"/>
                <a:ea typeface="ＭＳ Ｐゴシック"/>
                <a:cs typeface="ＭＳ Ｐゴシック"/>
              </a:endParaRPr>
            </a:p>
          </p:txBody>
        </p:sp>
        <p:sp>
          <p:nvSpPr>
            <p:cNvPr id="34" name="Rectangle 590"/>
            <p:cNvSpPr>
              <a:spLocks noChangeArrowheads="1"/>
            </p:cNvSpPr>
            <p:nvPr/>
          </p:nvSpPr>
          <p:spPr bwMode="auto">
            <a:xfrm>
              <a:off x="188" y="3574"/>
              <a:ext cx="717"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Manage Asset Information </a:t>
              </a:r>
              <a:endParaRPr lang="en-US" sz="1800" b="0" kern="0" baseline="0">
                <a:solidFill>
                  <a:sysClr val="windowText" lastClr="000000"/>
                </a:solidFill>
                <a:latin typeface="Arial" charset="0"/>
                <a:ea typeface="ＭＳ Ｐゴシック"/>
                <a:cs typeface="ＭＳ Ｐゴシック"/>
              </a:endParaRPr>
            </a:p>
          </p:txBody>
        </p:sp>
        <p:sp>
          <p:nvSpPr>
            <p:cNvPr id="35" name="Rectangle 591"/>
            <p:cNvSpPr>
              <a:spLocks noChangeArrowheads="1"/>
            </p:cNvSpPr>
            <p:nvPr/>
          </p:nvSpPr>
          <p:spPr bwMode="auto">
            <a:xfrm>
              <a:off x="69" y="2827"/>
              <a:ext cx="835" cy="712"/>
            </a:xfrm>
            <a:prstGeom prst="rect">
              <a:avLst/>
            </a:prstGeom>
            <a:solidFill>
              <a:srgbClr val="CCCDFF"/>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6" name="Rectangle 592"/>
            <p:cNvSpPr>
              <a:spLocks noChangeArrowheads="1"/>
            </p:cNvSpPr>
            <p:nvPr/>
          </p:nvSpPr>
          <p:spPr bwMode="auto">
            <a:xfrm>
              <a:off x="69" y="2827"/>
              <a:ext cx="835" cy="712"/>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7" name="Rectangle 593"/>
            <p:cNvSpPr>
              <a:spLocks noChangeArrowheads="1"/>
            </p:cNvSpPr>
            <p:nvPr/>
          </p:nvSpPr>
          <p:spPr bwMode="auto">
            <a:xfrm>
              <a:off x="137" y="2841"/>
              <a:ext cx="31"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1</a:t>
              </a:r>
              <a:endParaRPr lang="en-US" sz="1800" b="0" kern="0" baseline="0">
                <a:solidFill>
                  <a:sysClr val="windowText" lastClr="000000"/>
                </a:solidFill>
                <a:latin typeface="Arial" charset="0"/>
                <a:ea typeface="ＭＳ Ｐゴシック"/>
                <a:cs typeface="ＭＳ Ｐゴシック"/>
              </a:endParaRPr>
            </a:p>
          </p:txBody>
        </p:sp>
        <p:sp>
          <p:nvSpPr>
            <p:cNvPr id="38" name="Rectangle 594"/>
            <p:cNvSpPr>
              <a:spLocks noChangeArrowheads="1"/>
            </p:cNvSpPr>
            <p:nvPr/>
          </p:nvSpPr>
          <p:spPr bwMode="auto">
            <a:xfrm>
              <a:off x="168" y="2841"/>
              <a:ext cx="1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39" name="Rectangle 595"/>
            <p:cNvSpPr>
              <a:spLocks noChangeArrowheads="1"/>
            </p:cNvSpPr>
            <p:nvPr/>
          </p:nvSpPr>
          <p:spPr bwMode="auto">
            <a:xfrm>
              <a:off x="183" y="2841"/>
              <a:ext cx="47"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3 </a:t>
              </a:r>
              <a:endParaRPr lang="en-US" sz="1800" b="0" kern="0" baseline="0">
                <a:solidFill>
                  <a:sysClr val="windowText" lastClr="000000"/>
                </a:solidFill>
                <a:latin typeface="Arial" charset="0"/>
                <a:ea typeface="ＭＳ Ｐゴシック"/>
                <a:cs typeface="ＭＳ Ｐゴシック"/>
              </a:endParaRPr>
            </a:p>
          </p:txBody>
        </p:sp>
        <p:sp>
          <p:nvSpPr>
            <p:cNvPr id="40" name="Rectangle 596"/>
            <p:cNvSpPr>
              <a:spLocks noChangeArrowheads="1"/>
            </p:cNvSpPr>
            <p:nvPr/>
          </p:nvSpPr>
          <p:spPr bwMode="auto">
            <a:xfrm>
              <a:off x="229" y="2841"/>
              <a:ext cx="61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Manage Asset Strategy</a:t>
              </a:r>
              <a:endParaRPr lang="en-US" sz="1800" b="0" kern="0" baseline="0">
                <a:solidFill>
                  <a:sysClr val="windowText" lastClr="000000"/>
                </a:solidFill>
                <a:latin typeface="Arial" charset="0"/>
                <a:ea typeface="ＭＳ Ｐゴシック"/>
                <a:cs typeface="ＭＳ Ｐゴシック"/>
              </a:endParaRPr>
            </a:p>
          </p:txBody>
        </p:sp>
        <p:sp>
          <p:nvSpPr>
            <p:cNvPr id="41" name="Freeform 597"/>
            <p:cNvSpPr>
              <a:spLocks/>
            </p:cNvSpPr>
            <p:nvPr/>
          </p:nvSpPr>
          <p:spPr bwMode="auto">
            <a:xfrm>
              <a:off x="187" y="1653"/>
              <a:ext cx="585" cy="426"/>
            </a:xfrm>
            <a:custGeom>
              <a:avLst/>
              <a:gdLst>
                <a:gd name="T0" fmla="*/ 194 w 1755"/>
                <a:gd name="T1" fmla="*/ 57 h 1755"/>
                <a:gd name="T2" fmla="*/ 192 w 1755"/>
                <a:gd name="T3" fmla="*/ 65 h 1755"/>
                <a:gd name="T4" fmla="*/ 187 w 1755"/>
                <a:gd name="T5" fmla="*/ 72 h 1755"/>
                <a:gd name="T6" fmla="*/ 181 w 1755"/>
                <a:gd name="T7" fmla="*/ 78 h 1755"/>
                <a:gd name="T8" fmla="*/ 173 w 1755"/>
                <a:gd name="T9" fmla="*/ 85 h 1755"/>
                <a:gd name="T10" fmla="*/ 163 w 1755"/>
                <a:gd name="T11" fmla="*/ 90 h 1755"/>
                <a:gd name="T12" fmla="*/ 152 w 1755"/>
                <a:gd name="T13" fmla="*/ 95 h 1755"/>
                <a:gd name="T14" fmla="*/ 140 w 1755"/>
                <a:gd name="T15" fmla="*/ 98 h 1755"/>
                <a:gd name="T16" fmla="*/ 127 w 1755"/>
                <a:gd name="T17" fmla="*/ 101 h 1755"/>
                <a:gd name="T18" fmla="*/ 112 w 1755"/>
                <a:gd name="T19" fmla="*/ 103 h 1755"/>
                <a:gd name="T20" fmla="*/ 98 w 1755"/>
                <a:gd name="T21" fmla="*/ 103 h 1755"/>
                <a:gd name="T22" fmla="*/ 83 w 1755"/>
                <a:gd name="T23" fmla="*/ 103 h 1755"/>
                <a:gd name="T24" fmla="*/ 69 w 1755"/>
                <a:gd name="T25" fmla="*/ 101 h 1755"/>
                <a:gd name="T26" fmla="*/ 55 w 1755"/>
                <a:gd name="T27" fmla="*/ 98 h 1755"/>
                <a:gd name="T28" fmla="*/ 43 w 1755"/>
                <a:gd name="T29" fmla="*/ 95 h 1755"/>
                <a:gd name="T30" fmla="*/ 32 w 1755"/>
                <a:gd name="T31" fmla="*/ 90 h 1755"/>
                <a:gd name="T32" fmla="*/ 22 w 1755"/>
                <a:gd name="T33" fmla="*/ 85 h 1755"/>
                <a:gd name="T34" fmla="*/ 14 w 1755"/>
                <a:gd name="T35" fmla="*/ 78 h 1755"/>
                <a:gd name="T36" fmla="*/ 8 w 1755"/>
                <a:gd name="T37" fmla="*/ 72 h 1755"/>
                <a:gd name="T38" fmla="*/ 3 w 1755"/>
                <a:gd name="T39" fmla="*/ 65 h 1755"/>
                <a:gd name="T40" fmla="*/ 0 w 1755"/>
                <a:gd name="T41" fmla="*/ 57 h 1755"/>
                <a:gd name="T42" fmla="*/ 0 w 1755"/>
                <a:gd name="T43" fmla="*/ 52 h 1755"/>
                <a:gd name="T44" fmla="*/ 1 w 1755"/>
                <a:gd name="T45" fmla="*/ 44 h 1755"/>
                <a:gd name="T46" fmla="*/ 4 w 1755"/>
                <a:gd name="T47" fmla="*/ 36 h 1755"/>
                <a:gd name="T48" fmla="*/ 10 w 1755"/>
                <a:gd name="T49" fmla="*/ 29 h 1755"/>
                <a:gd name="T50" fmla="*/ 17 w 1755"/>
                <a:gd name="T51" fmla="*/ 23 h 1755"/>
                <a:gd name="T52" fmla="*/ 25 w 1755"/>
                <a:gd name="T53" fmla="*/ 17 h 1755"/>
                <a:gd name="T54" fmla="*/ 36 w 1755"/>
                <a:gd name="T55" fmla="*/ 12 h 1755"/>
                <a:gd name="T56" fmla="*/ 47 w 1755"/>
                <a:gd name="T57" fmla="*/ 8 h 1755"/>
                <a:gd name="T58" fmla="*/ 59 w 1755"/>
                <a:gd name="T59" fmla="*/ 4 h 1755"/>
                <a:gd name="T60" fmla="*/ 73 w 1755"/>
                <a:gd name="T61" fmla="*/ 2 h 1755"/>
                <a:gd name="T62" fmla="*/ 87 w 1755"/>
                <a:gd name="T63" fmla="*/ 0 h 1755"/>
                <a:gd name="T64" fmla="*/ 103 w 1755"/>
                <a:gd name="T65" fmla="*/ 0 h 1755"/>
                <a:gd name="T66" fmla="*/ 117 w 1755"/>
                <a:gd name="T67" fmla="*/ 1 h 1755"/>
                <a:gd name="T68" fmla="*/ 131 w 1755"/>
                <a:gd name="T69" fmla="*/ 3 h 1755"/>
                <a:gd name="T70" fmla="*/ 144 w 1755"/>
                <a:gd name="T71" fmla="*/ 6 h 1755"/>
                <a:gd name="T72" fmla="*/ 156 w 1755"/>
                <a:gd name="T73" fmla="*/ 10 h 1755"/>
                <a:gd name="T74" fmla="*/ 166 w 1755"/>
                <a:gd name="T75" fmla="*/ 15 h 1755"/>
                <a:gd name="T76" fmla="*/ 176 w 1755"/>
                <a:gd name="T77" fmla="*/ 21 h 1755"/>
                <a:gd name="T78" fmla="*/ 183 w 1755"/>
                <a:gd name="T79" fmla="*/ 27 h 1755"/>
                <a:gd name="T80" fmla="*/ 189 w 1755"/>
                <a:gd name="T81" fmla="*/ 34 h 1755"/>
                <a:gd name="T82" fmla="*/ 193 w 1755"/>
                <a:gd name="T83" fmla="*/ 41 h 1755"/>
                <a:gd name="T84" fmla="*/ 195 w 1755"/>
                <a:gd name="T85" fmla="*/ 49 h 17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5"/>
                <a:gd name="T130" fmla="*/ 0 h 1755"/>
                <a:gd name="T131" fmla="*/ 1755 w 1755"/>
                <a:gd name="T132" fmla="*/ 1755 h 17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5" h="1755">
                  <a:moveTo>
                    <a:pt x="1755" y="878"/>
                  </a:moveTo>
                  <a:lnTo>
                    <a:pt x="1754" y="923"/>
                  </a:lnTo>
                  <a:lnTo>
                    <a:pt x="1750" y="967"/>
                  </a:lnTo>
                  <a:lnTo>
                    <a:pt x="1745" y="1011"/>
                  </a:lnTo>
                  <a:lnTo>
                    <a:pt x="1737" y="1054"/>
                  </a:lnTo>
                  <a:lnTo>
                    <a:pt x="1728" y="1097"/>
                  </a:lnTo>
                  <a:lnTo>
                    <a:pt x="1715" y="1139"/>
                  </a:lnTo>
                  <a:lnTo>
                    <a:pt x="1702" y="1180"/>
                  </a:lnTo>
                  <a:lnTo>
                    <a:pt x="1686" y="1219"/>
                  </a:lnTo>
                  <a:lnTo>
                    <a:pt x="1669" y="1258"/>
                  </a:lnTo>
                  <a:lnTo>
                    <a:pt x="1649" y="1296"/>
                  </a:lnTo>
                  <a:lnTo>
                    <a:pt x="1628" y="1332"/>
                  </a:lnTo>
                  <a:lnTo>
                    <a:pt x="1606" y="1369"/>
                  </a:lnTo>
                  <a:lnTo>
                    <a:pt x="1581" y="1402"/>
                  </a:lnTo>
                  <a:lnTo>
                    <a:pt x="1555" y="1436"/>
                  </a:lnTo>
                  <a:lnTo>
                    <a:pt x="1527" y="1468"/>
                  </a:lnTo>
                  <a:lnTo>
                    <a:pt x="1498" y="1499"/>
                  </a:lnTo>
                  <a:lnTo>
                    <a:pt x="1468" y="1527"/>
                  </a:lnTo>
                  <a:lnTo>
                    <a:pt x="1436" y="1555"/>
                  </a:lnTo>
                  <a:lnTo>
                    <a:pt x="1402" y="1581"/>
                  </a:lnTo>
                  <a:lnTo>
                    <a:pt x="1368" y="1606"/>
                  </a:lnTo>
                  <a:lnTo>
                    <a:pt x="1332" y="1629"/>
                  </a:lnTo>
                  <a:lnTo>
                    <a:pt x="1296" y="1649"/>
                  </a:lnTo>
                  <a:lnTo>
                    <a:pt x="1258" y="1669"/>
                  </a:lnTo>
                  <a:lnTo>
                    <a:pt x="1219" y="1686"/>
                  </a:lnTo>
                  <a:lnTo>
                    <a:pt x="1180" y="1702"/>
                  </a:lnTo>
                  <a:lnTo>
                    <a:pt x="1139" y="1716"/>
                  </a:lnTo>
                  <a:lnTo>
                    <a:pt x="1097" y="1728"/>
                  </a:lnTo>
                  <a:lnTo>
                    <a:pt x="1054" y="1737"/>
                  </a:lnTo>
                  <a:lnTo>
                    <a:pt x="1011" y="1745"/>
                  </a:lnTo>
                  <a:lnTo>
                    <a:pt x="967" y="1751"/>
                  </a:lnTo>
                  <a:lnTo>
                    <a:pt x="923" y="1754"/>
                  </a:lnTo>
                  <a:lnTo>
                    <a:pt x="878" y="1755"/>
                  </a:lnTo>
                  <a:lnTo>
                    <a:pt x="833" y="1754"/>
                  </a:lnTo>
                  <a:lnTo>
                    <a:pt x="787" y="1751"/>
                  </a:lnTo>
                  <a:lnTo>
                    <a:pt x="743" y="1745"/>
                  </a:lnTo>
                  <a:lnTo>
                    <a:pt x="700" y="1737"/>
                  </a:lnTo>
                  <a:lnTo>
                    <a:pt x="659" y="1728"/>
                  </a:lnTo>
                  <a:lnTo>
                    <a:pt x="617" y="1716"/>
                  </a:lnTo>
                  <a:lnTo>
                    <a:pt x="576" y="1702"/>
                  </a:lnTo>
                  <a:lnTo>
                    <a:pt x="535" y="1686"/>
                  </a:lnTo>
                  <a:lnTo>
                    <a:pt x="497" y="1669"/>
                  </a:lnTo>
                  <a:lnTo>
                    <a:pt x="460" y="1649"/>
                  </a:lnTo>
                  <a:lnTo>
                    <a:pt x="422" y="1629"/>
                  </a:lnTo>
                  <a:lnTo>
                    <a:pt x="386" y="1606"/>
                  </a:lnTo>
                  <a:lnTo>
                    <a:pt x="352" y="1581"/>
                  </a:lnTo>
                  <a:lnTo>
                    <a:pt x="320" y="1555"/>
                  </a:lnTo>
                  <a:lnTo>
                    <a:pt x="288" y="1527"/>
                  </a:lnTo>
                  <a:lnTo>
                    <a:pt x="257" y="1499"/>
                  </a:lnTo>
                  <a:lnTo>
                    <a:pt x="228" y="1468"/>
                  </a:lnTo>
                  <a:lnTo>
                    <a:pt x="200" y="1436"/>
                  </a:lnTo>
                  <a:lnTo>
                    <a:pt x="174" y="1402"/>
                  </a:lnTo>
                  <a:lnTo>
                    <a:pt x="150" y="1369"/>
                  </a:lnTo>
                  <a:lnTo>
                    <a:pt x="127" y="1332"/>
                  </a:lnTo>
                  <a:lnTo>
                    <a:pt x="106" y="1296"/>
                  </a:lnTo>
                  <a:lnTo>
                    <a:pt x="87" y="1258"/>
                  </a:lnTo>
                  <a:lnTo>
                    <a:pt x="69" y="1219"/>
                  </a:lnTo>
                  <a:lnTo>
                    <a:pt x="53" y="1180"/>
                  </a:lnTo>
                  <a:lnTo>
                    <a:pt x="39" y="1139"/>
                  </a:lnTo>
                  <a:lnTo>
                    <a:pt x="28" y="1097"/>
                  </a:lnTo>
                  <a:lnTo>
                    <a:pt x="18" y="1054"/>
                  </a:lnTo>
                  <a:lnTo>
                    <a:pt x="10" y="1011"/>
                  </a:lnTo>
                  <a:lnTo>
                    <a:pt x="4" y="967"/>
                  </a:lnTo>
                  <a:lnTo>
                    <a:pt x="1" y="923"/>
                  </a:lnTo>
                  <a:lnTo>
                    <a:pt x="0" y="878"/>
                  </a:lnTo>
                  <a:lnTo>
                    <a:pt x="1" y="833"/>
                  </a:lnTo>
                  <a:lnTo>
                    <a:pt x="4" y="788"/>
                  </a:lnTo>
                  <a:lnTo>
                    <a:pt x="10" y="743"/>
                  </a:lnTo>
                  <a:lnTo>
                    <a:pt x="18" y="701"/>
                  </a:lnTo>
                  <a:lnTo>
                    <a:pt x="28" y="659"/>
                  </a:lnTo>
                  <a:lnTo>
                    <a:pt x="39" y="617"/>
                  </a:lnTo>
                  <a:lnTo>
                    <a:pt x="53" y="576"/>
                  </a:lnTo>
                  <a:lnTo>
                    <a:pt x="69" y="535"/>
                  </a:lnTo>
                  <a:lnTo>
                    <a:pt x="87" y="497"/>
                  </a:lnTo>
                  <a:lnTo>
                    <a:pt x="106" y="460"/>
                  </a:lnTo>
                  <a:lnTo>
                    <a:pt x="127" y="422"/>
                  </a:lnTo>
                  <a:lnTo>
                    <a:pt x="150" y="386"/>
                  </a:lnTo>
                  <a:lnTo>
                    <a:pt x="174" y="352"/>
                  </a:lnTo>
                  <a:lnTo>
                    <a:pt x="200" y="320"/>
                  </a:lnTo>
                  <a:lnTo>
                    <a:pt x="228" y="288"/>
                  </a:lnTo>
                  <a:lnTo>
                    <a:pt x="257" y="257"/>
                  </a:lnTo>
                  <a:lnTo>
                    <a:pt x="288" y="228"/>
                  </a:lnTo>
                  <a:lnTo>
                    <a:pt x="320" y="200"/>
                  </a:lnTo>
                  <a:lnTo>
                    <a:pt x="352" y="174"/>
                  </a:lnTo>
                  <a:lnTo>
                    <a:pt x="386" y="150"/>
                  </a:lnTo>
                  <a:lnTo>
                    <a:pt x="422" y="127"/>
                  </a:lnTo>
                  <a:lnTo>
                    <a:pt x="460" y="106"/>
                  </a:lnTo>
                  <a:lnTo>
                    <a:pt x="497" y="87"/>
                  </a:lnTo>
                  <a:lnTo>
                    <a:pt x="535" y="69"/>
                  </a:lnTo>
                  <a:lnTo>
                    <a:pt x="576" y="53"/>
                  </a:lnTo>
                  <a:lnTo>
                    <a:pt x="617" y="39"/>
                  </a:lnTo>
                  <a:lnTo>
                    <a:pt x="659" y="28"/>
                  </a:lnTo>
                  <a:lnTo>
                    <a:pt x="700" y="18"/>
                  </a:lnTo>
                  <a:lnTo>
                    <a:pt x="743" y="10"/>
                  </a:lnTo>
                  <a:lnTo>
                    <a:pt x="787" y="4"/>
                  </a:lnTo>
                  <a:lnTo>
                    <a:pt x="833" y="1"/>
                  </a:lnTo>
                  <a:lnTo>
                    <a:pt x="878" y="0"/>
                  </a:lnTo>
                  <a:lnTo>
                    <a:pt x="923" y="1"/>
                  </a:lnTo>
                  <a:lnTo>
                    <a:pt x="967" y="4"/>
                  </a:lnTo>
                  <a:lnTo>
                    <a:pt x="1011" y="10"/>
                  </a:lnTo>
                  <a:lnTo>
                    <a:pt x="1054" y="18"/>
                  </a:lnTo>
                  <a:lnTo>
                    <a:pt x="1097" y="28"/>
                  </a:lnTo>
                  <a:lnTo>
                    <a:pt x="1139" y="39"/>
                  </a:lnTo>
                  <a:lnTo>
                    <a:pt x="1180" y="53"/>
                  </a:lnTo>
                  <a:lnTo>
                    <a:pt x="1219" y="69"/>
                  </a:lnTo>
                  <a:lnTo>
                    <a:pt x="1258" y="87"/>
                  </a:lnTo>
                  <a:lnTo>
                    <a:pt x="1296" y="106"/>
                  </a:lnTo>
                  <a:lnTo>
                    <a:pt x="1332" y="127"/>
                  </a:lnTo>
                  <a:lnTo>
                    <a:pt x="1368" y="150"/>
                  </a:lnTo>
                  <a:lnTo>
                    <a:pt x="1402" y="174"/>
                  </a:lnTo>
                  <a:lnTo>
                    <a:pt x="1436" y="200"/>
                  </a:lnTo>
                  <a:lnTo>
                    <a:pt x="1468" y="228"/>
                  </a:lnTo>
                  <a:lnTo>
                    <a:pt x="1498" y="257"/>
                  </a:lnTo>
                  <a:lnTo>
                    <a:pt x="1527" y="288"/>
                  </a:lnTo>
                  <a:lnTo>
                    <a:pt x="1555" y="320"/>
                  </a:lnTo>
                  <a:lnTo>
                    <a:pt x="1581" y="352"/>
                  </a:lnTo>
                  <a:lnTo>
                    <a:pt x="1606" y="386"/>
                  </a:lnTo>
                  <a:lnTo>
                    <a:pt x="1628" y="422"/>
                  </a:lnTo>
                  <a:lnTo>
                    <a:pt x="1649" y="460"/>
                  </a:lnTo>
                  <a:lnTo>
                    <a:pt x="1669" y="497"/>
                  </a:lnTo>
                  <a:lnTo>
                    <a:pt x="1686" y="535"/>
                  </a:lnTo>
                  <a:lnTo>
                    <a:pt x="1702" y="576"/>
                  </a:lnTo>
                  <a:lnTo>
                    <a:pt x="1715" y="617"/>
                  </a:lnTo>
                  <a:lnTo>
                    <a:pt x="1728" y="659"/>
                  </a:lnTo>
                  <a:lnTo>
                    <a:pt x="1737" y="701"/>
                  </a:lnTo>
                  <a:lnTo>
                    <a:pt x="1745" y="743"/>
                  </a:lnTo>
                  <a:lnTo>
                    <a:pt x="1750" y="788"/>
                  </a:lnTo>
                  <a:lnTo>
                    <a:pt x="1754" y="833"/>
                  </a:lnTo>
                  <a:lnTo>
                    <a:pt x="1755" y="878"/>
                  </a:lnTo>
                  <a:close/>
                </a:path>
              </a:pathLst>
            </a:custGeom>
            <a:solidFill>
              <a:srgbClr val="969696"/>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2" name="Freeform 598"/>
            <p:cNvSpPr>
              <a:spLocks/>
            </p:cNvSpPr>
            <p:nvPr/>
          </p:nvSpPr>
          <p:spPr bwMode="auto">
            <a:xfrm>
              <a:off x="187" y="1653"/>
              <a:ext cx="585" cy="426"/>
            </a:xfrm>
            <a:custGeom>
              <a:avLst/>
              <a:gdLst>
                <a:gd name="T0" fmla="*/ 194 w 1755"/>
                <a:gd name="T1" fmla="*/ 57 h 1755"/>
                <a:gd name="T2" fmla="*/ 192 w 1755"/>
                <a:gd name="T3" fmla="*/ 65 h 1755"/>
                <a:gd name="T4" fmla="*/ 187 w 1755"/>
                <a:gd name="T5" fmla="*/ 72 h 1755"/>
                <a:gd name="T6" fmla="*/ 181 w 1755"/>
                <a:gd name="T7" fmla="*/ 78 h 1755"/>
                <a:gd name="T8" fmla="*/ 173 w 1755"/>
                <a:gd name="T9" fmla="*/ 85 h 1755"/>
                <a:gd name="T10" fmla="*/ 163 w 1755"/>
                <a:gd name="T11" fmla="*/ 90 h 1755"/>
                <a:gd name="T12" fmla="*/ 152 w 1755"/>
                <a:gd name="T13" fmla="*/ 95 h 1755"/>
                <a:gd name="T14" fmla="*/ 140 w 1755"/>
                <a:gd name="T15" fmla="*/ 98 h 1755"/>
                <a:gd name="T16" fmla="*/ 127 w 1755"/>
                <a:gd name="T17" fmla="*/ 101 h 1755"/>
                <a:gd name="T18" fmla="*/ 112 w 1755"/>
                <a:gd name="T19" fmla="*/ 103 h 1755"/>
                <a:gd name="T20" fmla="*/ 98 w 1755"/>
                <a:gd name="T21" fmla="*/ 103 h 1755"/>
                <a:gd name="T22" fmla="*/ 83 w 1755"/>
                <a:gd name="T23" fmla="*/ 103 h 1755"/>
                <a:gd name="T24" fmla="*/ 69 w 1755"/>
                <a:gd name="T25" fmla="*/ 101 h 1755"/>
                <a:gd name="T26" fmla="*/ 55 w 1755"/>
                <a:gd name="T27" fmla="*/ 98 h 1755"/>
                <a:gd name="T28" fmla="*/ 43 w 1755"/>
                <a:gd name="T29" fmla="*/ 95 h 1755"/>
                <a:gd name="T30" fmla="*/ 32 w 1755"/>
                <a:gd name="T31" fmla="*/ 90 h 1755"/>
                <a:gd name="T32" fmla="*/ 22 w 1755"/>
                <a:gd name="T33" fmla="*/ 85 h 1755"/>
                <a:gd name="T34" fmla="*/ 14 w 1755"/>
                <a:gd name="T35" fmla="*/ 78 h 1755"/>
                <a:gd name="T36" fmla="*/ 8 w 1755"/>
                <a:gd name="T37" fmla="*/ 72 h 1755"/>
                <a:gd name="T38" fmla="*/ 3 w 1755"/>
                <a:gd name="T39" fmla="*/ 65 h 1755"/>
                <a:gd name="T40" fmla="*/ 0 w 1755"/>
                <a:gd name="T41" fmla="*/ 57 h 1755"/>
                <a:gd name="T42" fmla="*/ 0 w 1755"/>
                <a:gd name="T43" fmla="*/ 52 h 1755"/>
                <a:gd name="T44" fmla="*/ 1 w 1755"/>
                <a:gd name="T45" fmla="*/ 44 h 1755"/>
                <a:gd name="T46" fmla="*/ 4 w 1755"/>
                <a:gd name="T47" fmla="*/ 36 h 1755"/>
                <a:gd name="T48" fmla="*/ 10 w 1755"/>
                <a:gd name="T49" fmla="*/ 29 h 1755"/>
                <a:gd name="T50" fmla="*/ 17 w 1755"/>
                <a:gd name="T51" fmla="*/ 23 h 1755"/>
                <a:gd name="T52" fmla="*/ 25 w 1755"/>
                <a:gd name="T53" fmla="*/ 17 h 1755"/>
                <a:gd name="T54" fmla="*/ 36 w 1755"/>
                <a:gd name="T55" fmla="*/ 12 h 1755"/>
                <a:gd name="T56" fmla="*/ 47 w 1755"/>
                <a:gd name="T57" fmla="*/ 8 h 1755"/>
                <a:gd name="T58" fmla="*/ 59 w 1755"/>
                <a:gd name="T59" fmla="*/ 4 h 1755"/>
                <a:gd name="T60" fmla="*/ 73 w 1755"/>
                <a:gd name="T61" fmla="*/ 2 h 1755"/>
                <a:gd name="T62" fmla="*/ 87 w 1755"/>
                <a:gd name="T63" fmla="*/ 0 h 1755"/>
                <a:gd name="T64" fmla="*/ 103 w 1755"/>
                <a:gd name="T65" fmla="*/ 0 h 1755"/>
                <a:gd name="T66" fmla="*/ 117 w 1755"/>
                <a:gd name="T67" fmla="*/ 1 h 1755"/>
                <a:gd name="T68" fmla="*/ 131 w 1755"/>
                <a:gd name="T69" fmla="*/ 3 h 1755"/>
                <a:gd name="T70" fmla="*/ 144 w 1755"/>
                <a:gd name="T71" fmla="*/ 6 h 1755"/>
                <a:gd name="T72" fmla="*/ 156 w 1755"/>
                <a:gd name="T73" fmla="*/ 10 h 1755"/>
                <a:gd name="T74" fmla="*/ 166 w 1755"/>
                <a:gd name="T75" fmla="*/ 15 h 1755"/>
                <a:gd name="T76" fmla="*/ 176 w 1755"/>
                <a:gd name="T77" fmla="*/ 21 h 1755"/>
                <a:gd name="T78" fmla="*/ 183 w 1755"/>
                <a:gd name="T79" fmla="*/ 27 h 1755"/>
                <a:gd name="T80" fmla="*/ 189 w 1755"/>
                <a:gd name="T81" fmla="*/ 34 h 1755"/>
                <a:gd name="T82" fmla="*/ 193 w 1755"/>
                <a:gd name="T83" fmla="*/ 41 h 1755"/>
                <a:gd name="T84" fmla="*/ 195 w 1755"/>
                <a:gd name="T85" fmla="*/ 49 h 17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55"/>
                <a:gd name="T130" fmla="*/ 0 h 1755"/>
                <a:gd name="T131" fmla="*/ 1755 w 1755"/>
                <a:gd name="T132" fmla="*/ 1755 h 17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55" h="1755">
                  <a:moveTo>
                    <a:pt x="1755" y="878"/>
                  </a:moveTo>
                  <a:lnTo>
                    <a:pt x="1754" y="923"/>
                  </a:lnTo>
                  <a:lnTo>
                    <a:pt x="1750" y="967"/>
                  </a:lnTo>
                  <a:lnTo>
                    <a:pt x="1745" y="1011"/>
                  </a:lnTo>
                  <a:lnTo>
                    <a:pt x="1737" y="1054"/>
                  </a:lnTo>
                  <a:lnTo>
                    <a:pt x="1728" y="1097"/>
                  </a:lnTo>
                  <a:lnTo>
                    <a:pt x="1715" y="1139"/>
                  </a:lnTo>
                  <a:lnTo>
                    <a:pt x="1702" y="1180"/>
                  </a:lnTo>
                  <a:lnTo>
                    <a:pt x="1686" y="1219"/>
                  </a:lnTo>
                  <a:lnTo>
                    <a:pt x="1669" y="1258"/>
                  </a:lnTo>
                  <a:lnTo>
                    <a:pt x="1649" y="1296"/>
                  </a:lnTo>
                  <a:lnTo>
                    <a:pt x="1628" y="1332"/>
                  </a:lnTo>
                  <a:lnTo>
                    <a:pt x="1606" y="1369"/>
                  </a:lnTo>
                  <a:lnTo>
                    <a:pt x="1581" y="1402"/>
                  </a:lnTo>
                  <a:lnTo>
                    <a:pt x="1555" y="1436"/>
                  </a:lnTo>
                  <a:lnTo>
                    <a:pt x="1527" y="1468"/>
                  </a:lnTo>
                  <a:lnTo>
                    <a:pt x="1498" y="1499"/>
                  </a:lnTo>
                  <a:lnTo>
                    <a:pt x="1468" y="1527"/>
                  </a:lnTo>
                  <a:lnTo>
                    <a:pt x="1436" y="1555"/>
                  </a:lnTo>
                  <a:lnTo>
                    <a:pt x="1402" y="1581"/>
                  </a:lnTo>
                  <a:lnTo>
                    <a:pt x="1368" y="1606"/>
                  </a:lnTo>
                  <a:lnTo>
                    <a:pt x="1332" y="1629"/>
                  </a:lnTo>
                  <a:lnTo>
                    <a:pt x="1296" y="1649"/>
                  </a:lnTo>
                  <a:lnTo>
                    <a:pt x="1258" y="1669"/>
                  </a:lnTo>
                  <a:lnTo>
                    <a:pt x="1219" y="1686"/>
                  </a:lnTo>
                  <a:lnTo>
                    <a:pt x="1180" y="1702"/>
                  </a:lnTo>
                  <a:lnTo>
                    <a:pt x="1139" y="1716"/>
                  </a:lnTo>
                  <a:lnTo>
                    <a:pt x="1097" y="1728"/>
                  </a:lnTo>
                  <a:lnTo>
                    <a:pt x="1054" y="1737"/>
                  </a:lnTo>
                  <a:lnTo>
                    <a:pt x="1011" y="1745"/>
                  </a:lnTo>
                  <a:lnTo>
                    <a:pt x="967" y="1751"/>
                  </a:lnTo>
                  <a:lnTo>
                    <a:pt x="923" y="1754"/>
                  </a:lnTo>
                  <a:lnTo>
                    <a:pt x="878" y="1755"/>
                  </a:lnTo>
                  <a:lnTo>
                    <a:pt x="833" y="1754"/>
                  </a:lnTo>
                  <a:lnTo>
                    <a:pt x="787" y="1751"/>
                  </a:lnTo>
                  <a:lnTo>
                    <a:pt x="743" y="1745"/>
                  </a:lnTo>
                  <a:lnTo>
                    <a:pt x="700" y="1737"/>
                  </a:lnTo>
                  <a:lnTo>
                    <a:pt x="659" y="1728"/>
                  </a:lnTo>
                  <a:lnTo>
                    <a:pt x="617" y="1716"/>
                  </a:lnTo>
                  <a:lnTo>
                    <a:pt x="576" y="1702"/>
                  </a:lnTo>
                  <a:lnTo>
                    <a:pt x="535" y="1686"/>
                  </a:lnTo>
                  <a:lnTo>
                    <a:pt x="497" y="1669"/>
                  </a:lnTo>
                  <a:lnTo>
                    <a:pt x="460" y="1649"/>
                  </a:lnTo>
                  <a:lnTo>
                    <a:pt x="422" y="1629"/>
                  </a:lnTo>
                  <a:lnTo>
                    <a:pt x="386" y="1606"/>
                  </a:lnTo>
                  <a:lnTo>
                    <a:pt x="352" y="1581"/>
                  </a:lnTo>
                  <a:lnTo>
                    <a:pt x="320" y="1555"/>
                  </a:lnTo>
                  <a:lnTo>
                    <a:pt x="288" y="1527"/>
                  </a:lnTo>
                  <a:lnTo>
                    <a:pt x="257" y="1499"/>
                  </a:lnTo>
                  <a:lnTo>
                    <a:pt x="228" y="1468"/>
                  </a:lnTo>
                  <a:lnTo>
                    <a:pt x="200" y="1436"/>
                  </a:lnTo>
                  <a:lnTo>
                    <a:pt x="174" y="1402"/>
                  </a:lnTo>
                  <a:lnTo>
                    <a:pt x="150" y="1369"/>
                  </a:lnTo>
                  <a:lnTo>
                    <a:pt x="127" y="1332"/>
                  </a:lnTo>
                  <a:lnTo>
                    <a:pt x="106" y="1296"/>
                  </a:lnTo>
                  <a:lnTo>
                    <a:pt x="87" y="1258"/>
                  </a:lnTo>
                  <a:lnTo>
                    <a:pt x="69" y="1219"/>
                  </a:lnTo>
                  <a:lnTo>
                    <a:pt x="53" y="1180"/>
                  </a:lnTo>
                  <a:lnTo>
                    <a:pt x="39" y="1139"/>
                  </a:lnTo>
                  <a:lnTo>
                    <a:pt x="28" y="1097"/>
                  </a:lnTo>
                  <a:lnTo>
                    <a:pt x="18" y="1054"/>
                  </a:lnTo>
                  <a:lnTo>
                    <a:pt x="10" y="1011"/>
                  </a:lnTo>
                  <a:lnTo>
                    <a:pt x="4" y="967"/>
                  </a:lnTo>
                  <a:lnTo>
                    <a:pt x="1" y="923"/>
                  </a:lnTo>
                  <a:lnTo>
                    <a:pt x="0" y="878"/>
                  </a:lnTo>
                  <a:lnTo>
                    <a:pt x="1" y="833"/>
                  </a:lnTo>
                  <a:lnTo>
                    <a:pt x="4" y="788"/>
                  </a:lnTo>
                  <a:lnTo>
                    <a:pt x="10" y="743"/>
                  </a:lnTo>
                  <a:lnTo>
                    <a:pt x="18" y="701"/>
                  </a:lnTo>
                  <a:lnTo>
                    <a:pt x="28" y="659"/>
                  </a:lnTo>
                  <a:lnTo>
                    <a:pt x="39" y="617"/>
                  </a:lnTo>
                  <a:lnTo>
                    <a:pt x="53" y="576"/>
                  </a:lnTo>
                  <a:lnTo>
                    <a:pt x="69" y="535"/>
                  </a:lnTo>
                  <a:lnTo>
                    <a:pt x="87" y="497"/>
                  </a:lnTo>
                  <a:lnTo>
                    <a:pt x="106" y="460"/>
                  </a:lnTo>
                  <a:lnTo>
                    <a:pt x="127" y="422"/>
                  </a:lnTo>
                  <a:lnTo>
                    <a:pt x="150" y="386"/>
                  </a:lnTo>
                  <a:lnTo>
                    <a:pt x="174" y="352"/>
                  </a:lnTo>
                  <a:lnTo>
                    <a:pt x="200" y="320"/>
                  </a:lnTo>
                  <a:lnTo>
                    <a:pt x="228" y="288"/>
                  </a:lnTo>
                  <a:lnTo>
                    <a:pt x="257" y="257"/>
                  </a:lnTo>
                  <a:lnTo>
                    <a:pt x="288" y="228"/>
                  </a:lnTo>
                  <a:lnTo>
                    <a:pt x="320" y="200"/>
                  </a:lnTo>
                  <a:lnTo>
                    <a:pt x="352" y="174"/>
                  </a:lnTo>
                  <a:lnTo>
                    <a:pt x="386" y="150"/>
                  </a:lnTo>
                  <a:lnTo>
                    <a:pt x="422" y="127"/>
                  </a:lnTo>
                  <a:lnTo>
                    <a:pt x="460" y="106"/>
                  </a:lnTo>
                  <a:lnTo>
                    <a:pt x="497" y="87"/>
                  </a:lnTo>
                  <a:lnTo>
                    <a:pt x="535" y="69"/>
                  </a:lnTo>
                  <a:lnTo>
                    <a:pt x="576" y="53"/>
                  </a:lnTo>
                  <a:lnTo>
                    <a:pt x="617" y="39"/>
                  </a:lnTo>
                  <a:lnTo>
                    <a:pt x="659" y="28"/>
                  </a:lnTo>
                  <a:lnTo>
                    <a:pt x="700" y="18"/>
                  </a:lnTo>
                  <a:lnTo>
                    <a:pt x="743" y="10"/>
                  </a:lnTo>
                  <a:lnTo>
                    <a:pt x="787" y="4"/>
                  </a:lnTo>
                  <a:lnTo>
                    <a:pt x="833" y="1"/>
                  </a:lnTo>
                  <a:lnTo>
                    <a:pt x="878" y="0"/>
                  </a:lnTo>
                  <a:lnTo>
                    <a:pt x="923" y="1"/>
                  </a:lnTo>
                  <a:lnTo>
                    <a:pt x="967" y="4"/>
                  </a:lnTo>
                  <a:lnTo>
                    <a:pt x="1011" y="10"/>
                  </a:lnTo>
                  <a:lnTo>
                    <a:pt x="1054" y="18"/>
                  </a:lnTo>
                  <a:lnTo>
                    <a:pt x="1097" y="28"/>
                  </a:lnTo>
                  <a:lnTo>
                    <a:pt x="1139" y="39"/>
                  </a:lnTo>
                  <a:lnTo>
                    <a:pt x="1180" y="53"/>
                  </a:lnTo>
                  <a:lnTo>
                    <a:pt x="1219" y="69"/>
                  </a:lnTo>
                  <a:lnTo>
                    <a:pt x="1258" y="87"/>
                  </a:lnTo>
                  <a:lnTo>
                    <a:pt x="1296" y="106"/>
                  </a:lnTo>
                  <a:lnTo>
                    <a:pt x="1332" y="127"/>
                  </a:lnTo>
                  <a:lnTo>
                    <a:pt x="1368" y="150"/>
                  </a:lnTo>
                  <a:lnTo>
                    <a:pt x="1402" y="174"/>
                  </a:lnTo>
                  <a:lnTo>
                    <a:pt x="1436" y="200"/>
                  </a:lnTo>
                  <a:lnTo>
                    <a:pt x="1468" y="228"/>
                  </a:lnTo>
                  <a:lnTo>
                    <a:pt x="1498" y="257"/>
                  </a:lnTo>
                  <a:lnTo>
                    <a:pt x="1527" y="288"/>
                  </a:lnTo>
                  <a:lnTo>
                    <a:pt x="1555" y="320"/>
                  </a:lnTo>
                  <a:lnTo>
                    <a:pt x="1581" y="352"/>
                  </a:lnTo>
                  <a:lnTo>
                    <a:pt x="1606" y="386"/>
                  </a:lnTo>
                  <a:lnTo>
                    <a:pt x="1628" y="422"/>
                  </a:lnTo>
                  <a:lnTo>
                    <a:pt x="1649" y="460"/>
                  </a:lnTo>
                  <a:lnTo>
                    <a:pt x="1669" y="497"/>
                  </a:lnTo>
                  <a:lnTo>
                    <a:pt x="1686" y="535"/>
                  </a:lnTo>
                  <a:lnTo>
                    <a:pt x="1702" y="576"/>
                  </a:lnTo>
                  <a:lnTo>
                    <a:pt x="1715" y="617"/>
                  </a:lnTo>
                  <a:lnTo>
                    <a:pt x="1728" y="659"/>
                  </a:lnTo>
                  <a:lnTo>
                    <a:pt x="1737" y="701"/>
                  </a:lnTo>
                  <a:lnTo>
                    <a:pt x="1745" y="743"/>
                  </a:lnTo>
                  <a:lnTo>
                    <a:pt x="1750" y="788"/>
                  </a:lnTo>
                  <a:lnTo>
                    <a:pt x="1754" y="833"/>
                  </a:lnTo>
                  <a:lnTo>
                    <a:pt x="1755" y="878"/>
                  </a:lnTo>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3" name="Freeform 599"/>
            <p:cNvSpPr>
              <a:spLocks/>
            </p:cNvSpPr>
            <p:nvPr/>
          </p:nvSpPr>
          <p:spPr bwMode="auto">
            <a:xfrm>
              <a:off x="286" y="1725"/>
              <a:ext cx="388" cy="283"/>
            </a:xfrm>
            <a:custGeom>
              <a:avLst/>
              <a:gdLst>
                <a:gd name="T0" fmla="*/ 70 w 1163"/>
                <a:gd name="T1" fmla="*/ 69 h 1163"/>
                <a:gd name="T2" fmla="*/ 63 w 1163"/>
                <a:gd name="T3" fmla="*/ 69 h 1163"/>
                <a:gd name="T4" fmla="*/ 57 w 1163"/>
                <a:gd name="T5" fmla="*/ 69 h 1163"/>
                <a:gd name="T6" fmla="*/ 50 w 1163"/>
                <a:gd name="T7" fmla="*/ 68 h 1163"/>
                <a:gd name="T8" fmla="*/ 44 w 1163"/>
                <a:gd name="T9" fmla="*/ 67 h 1163"/>
                <a:gd name="T10" fmla="*/ 39 w 1163"/>
                <a:gd name="T11" fmla="*/ 66 h 1163"/>
                <a:gd name="T12" fmla="*/ 33 w 1163"/>
                <a:gd name="T13" fmla="*/ 64 h 1163"/>
                <a:gd name="T14" fmla="*/ 26 w 1163"/>
                <a:gd name="T15" fmla="*/ 62 h 1163"/>
                <a:gd name="T16" fmla="*/ 17 w 1163"/>
                <a:gd name="T17" fmla="*/ 58 h 1163"/>
                <a:gd name="T18" fmla="*/ 10 w 1163"/>
                <a:gd name="T19" fmla="*/ 53 h 1163"/>
                <a:gd name="T20" fmla="*/ 7 w 1163"/>
                <a:gd name="T21" fmla="*/ 50 h 1163"/>
                <a:gd name="T22" fmla="*/ 4 w 1163"/>
                <a:gd name="T23" fmla="*/ 46 h 1163"/>
                <a:gd name="T24" fmla="*/ 2 w 1163"/>
                <a:gd name="T25" fmla="*/ 43 h 1163"/>
                <a:gd name="T26" fmla="*/ 1 w 1163"/>
                <a:gd name="T27" fmla="*/ 40 h 1163"/>
                <a:gd name="T28" fmla="*/ 0 w 1163"/>
                <a:gd name="T29" fmla="*/ 36 h 1163"/>
                <a:gd name="T30" fmla="*/ 0 w 1163"/>
                <a:gd name="T31" fmla="*/ 33 h 1163"/>
                <a:gd name="T32" fmla="*/ 1 w 1163"/>
                <a:gd name="T33" fmla="*/ 29 h 1163"/>
                <a:gd name="T34" fmla="*/ 2 w 1163"/>
                <a:gd name="T35" fmla="*/ 26 h 1163"/>
                <a:gd name="T36" fmla="*/ 4 w 1163"/>
                <a:gd name="T37" fmla="*/ 23 h 1163"/>
                <a:gd name="T38" fmla="*/ 6 w 1163"/>
                <a:gd name="T39" fmla="*/ 20 h 1163"/>
                <a:gd name="T40" fmla="*/ 9 w 1163"/>
                <a:gd name="T41" fmla="*/ 17 h 1163"/>
                <a:gd name="T42" fmla="*/ 14 w 1163"/>
                <a:gd name="T43" fmla="*/ 13 h 1163"/>
                <a:gd name="T44" fmla="*/ 23 w 1163"/>
                <a:gd name="T45" fmla="*/ 8 h 1163"/>
                <a:gd name="T46" fmla="*/ 32 w 1163"/>
                <a:gd name="T47" fmla="*/ 5 h 1163"/>
                <a:gd name="T48" fmla="*/ 38 w 1163"/>
                <a:gd name="T49" fmla="*/ 3 h 1163"/>
                <a:gd name="T50" fmla="*/ 44 w 1163"/>
                <a:gd name="T51" fmla="*/ 2 h 1163"/>
                <a:gd name="T52" fmla="*/ 50 w 1163"/>
                <a:gd name="T53" fmla="*/ 1 h 1163"/>
                <a:gd name="T54" fmla="*/ 55 w 1163"/>
                <a:gd name="T55" fmla="*/ 0 h 1163"/>
                <a:gd name="T56" fmla="*/ 61 w 1163"/>
                <a:gd name="T57" fmla="*/ 0 h 1163"/>
                <a:gd name="T58" fmla="*/ 68 w 1163"/>
                <a:gd name="T59" fmla="*/ 0 h 1163"/>
                <a:gd name="T60" fmla="*/ 74 w 1163"/>
                <a:gd name="T61" fmla="*/ 0 h 1163"/>
                <a:gd name="T62" fmla="*/ 80 w 1163"/>
                <a:gd name="T63" fmla="*/ 1 h 1163"/>
                <a:gd name="T64" fmla="*/ 86 w 1163"/>
                <a:gd name="T65" fmla="*/ 2 h 1163"/>
                <a:gd name="T66" fmla="*/ 92 w 1163"/>
                <a:gd name="T67" fmla="*/ 3 h 1163"/>
                <a:gd name="T68" fmla="*/ 98 w 1163"/>
                <a:gd name="T69" fmla="*/ 5 h 1163"/>
                <a:gd name="T70" fmla="*/ 105 w 1163"/>
                <a:gd name="T71" fmla="*/ 8 h 1163"/>
                <a:gd name="T72" fmla="*/ 114 w 1163"/>
                <a:gd name="T73" fmla="*/ 12 h 1163"/>
                <a:gd name="T74" fmla="*/ 121 w 1163"/>
                <a:gd name="T75" fmla="*/ 17 h 1163"/>
                <a:gd name="T76" fmla="*/ 123 w 1163"/>
                <a:gd name="T77" fmla="*/ 20 h 1163"/>
                <a:gd name="T78" fmla="*/ 126 w 1163"/>
                <a:gd name="T79" fmla="*/ 23 h 1163"/>
                <a:gd name="T80" fmla="*/ 128 w 1163"/>
                <a:gd name="T81" fmla="*/ 27 h 1163"/>
                <a:gd name="T82" fmla="*/ 129 w 1163"/>
                <a:gd name="T83" fmla="*/ 30 h 1163"/>
                <a:gd name="T84" fmla="*/ 129 w 1163"/>
                <a:gd name="T85" fmla="*/ 34 h 1163"/>
                <a:gd name="T86" fmla="*/ 129 w 1163"/>
                <a:gd name="T87" fmla="*/ 37 h 1163"/>
                <a:gd name="T88" fmla="*/ 128 w 1163"/>
                <a:gd name="T89" fmla="*/ 40 h 1163"/>
                <a:gd name="T90" fmla="*/ 127 w 1163"/>
                <a:gd name="T91" fmla="*/ 44 h 1163"/>
                <a:gd name="T92" fmla="*/ 125 w 1163"/>
                <a:gd name="T93" fmla="*/ 47 h 1163"/>
                <a:gd name="T94" fmla="*/ 123 w 1163"/>
                <a:gd name="T95" fmla="*/ 50 h 1163"/>
                <a:gd name="T96" fmla="*/ 120 w 1163"/>
                <a:gd name="T97" fmla="*/ 53 h 1163"/>
                <a:gd name="T98" fmla="*/ 113 w 1163"/>
                <a:gd name="T99" fmla="*/ 57 h 1163"/>
                <a:gd name="T100" fmla="*/ 104 w 1163"/>
                <a:gd name="T101" fmla="*/ 62 h 1163"/>
                <a:gd name="T102" fmla="*/ 96 w 1163"/>
                <a:gd name="T103" fmla="*/ 64 h 1163"/>
                <a:gd name="T104" fmla="*/ 90 w 1163"/>
                <a:gd name="T105" fmla="*/ 66 h 1163"/>
                <a:gd name="T106" fmla="*/ 84 w 1163"/>
                <a:gd name="T107" fmla="*/ 67 h 1163"/>
                <a:gd name="T108" fmla="*/ 78 w 1163"/>
                <a:gd name="T109" fmla="*/ 68 h 11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63"/>
                <a:gd name="T166" fmla="*/ 0 h 1163"/>
                <a:gd name="T167" fmla="*/ 1163 w 1163"/>
                <a:gd name="T168" fmla="*/ 1163 h 11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63" h="1163">
                  <a:moveTo>
                    <a:pt x="671" y="1156"/>
                  </a:moveTo>
                  <a:lnTo>
                    <a:pt x="655" y="1158"/>
                  </a:lnTo>
                  <a:lnTo>
                    <a:pt x="641" y="1161"/>
                  </a:lnTo>
                  <a:lnTo>
                    <a:pt x="626" y="1162"/>
                  </a:lnTo>
                  <a:lnTo>
                    <a:pt x="611" y="1163"/>
                  </a:lnTo>
                  <a:lnTo>
                    <a:pt x="597" y="1163"/>
                  </a:lnTo>
                  <a:lnTo>
                    <a:pt x="582" y="1163"/>
                  </a:lnTo>
                  <a:lnTo>
                    <a:pt x="567" y="1163"/>
                  </a:lnTo>
                  <a:lnTo>
                    <a:pt x="554" y="1163"/>
                  </a:lnTo>
                  <a:lnTo>
                    <a:pt x="539" y="1162"/>
                  </a:lnTo>
                  <a:lnTo>
                    <a:pt x="524" y="1161"/>
                  </a:lnTo>
                  <a:lnTo>
                    <a:pt x="509" y="1160"/>
                  </a:lnTo>
                  <a:lnTo>
                    <a:pt x="496" y="1157"/>
                  </a:lnTo>
                  <a:lnTo>
                    <a:pt x="481" y="1155"/>
                  </a:lnTo>
                  <a:lnTo>
                    <a:pt x="468" y="1153"/>
                  </a:lnTo>
                  <a:lnTo>
                    <a:pt x="454" y="1149"/>
                  </a:lnTo>
                  <a:lnTo>
                    <a:pt x="439" y="1146"/>
                  </a:lnTo>
                  <a:lnTo>
                    <a:pt x="426" y="1143"/>
                  </a:lnTo>
                  <a:lnTo>
                    <a:pt x="412" y="1138"/>
                  </a:lnTo>
                  <a:lnTo>
                    <a:pt x="399" y="1135"/>
                  </a:lnTo>
                  <a:lnTo>
                    <a:pt x="386" y="1129"/>
                  </a:lnTo>
                  <a:lnTo>
                    <a:pt x="373" y="1125"/>
                  </a:lnTo>
                  <a:lnTo>
                    <a:pt x="360" y="1120"/>
                  </a:lnTo>
                  <a:lnTo>
                    <a:pt x="347" y="1114"/>
                  </a:lnTo>
                  <a:lnTo>
                    <a:pt x="334" y="1109"/>
                  </a:lnTo>
                  <a:lnTo>
                    <a:pt x="322" y="1102"/>
                  </a:lnTo>
                  <a:lnTo>
                    <a:pt x="309" y="1095"/>
                  </a:lnTo>
                  <a:lnTo>
                    <a:pt x="297" y="1089"/>
                  </a:lnTo>
                  <a:lnTo>
                    <a:pt x="285" y="1082"/>
                  </a:lnTo>
                  <a:lnTo>
                    <a:pt x="273" y="1075"/>
                  </a:lnTo>
                  <a:lnTo>
                    <a:pt x="261" y="1067"/>
                  </a:lnTo>
                  <a:lnTo>
                    <a:pt x="238" y="1051"/>
                  </a:lnTo>
                  <a:lnTo>
                    <a:pt x="216" y="1034"/>
                  </a:lnTo>
                  <a:lnTo>
                    <a:pt x="194" y="1016"/>
                  </a:lnTo>
                  <a:lnTo>
                    <a:pt x="174" y="997"/>
                  </a:lnTo>
                  <a:lnTo>
                    <a:pt x="155" y="976"/>
                  </a:lnTo>
                  <a:lnTo>
                    <a:pt x="137" y="956"/>
                  </a:lnTo>
                  <a:lnTo>
                    <a:pt x="118" y="935"/>
                  </a:lnTo>
                  <a:lnTo>
                    <a:pt x="101" y="911"/>
                  </a:lnTo>
                  <a:lnTo>
                    <a:pt x="87" y="887"/>
                  </a:lnTo>
                  <a:lnTo>
                    <a:pt x="79" y="876"/>
                  </a:lnTo>
                  <a:lnTo>
                    <a:pt x="72" y="863"/>
                  </a:lnTo>
                  <a:lnTo>
                    <a:pt x="65" y="851"/>
                  </a:lnTo>
                  <a:lnTo>
                    <a:pt x="59" y="837"/>
                  </a:lnTo>
                  <a:lnTo>
                    <a:pt x="53" y="825"/>
                  </a:lnTo>
                  <a:lnTo>
                    <a:pt x="47" y="811"/>
                  </a:lnTo>
                  <a:lnTo>
                    <a:pt x="42" y="798"/>
                  </a:lnTo>
                  <a:lnTo>
                    <a:pt x="36" y="784"/>
                  </a:lnTo>
                  <a:lnTo>
                    <a:pt x="31" y="771"/>
                  </a:lnTo>
                  <a:lnTo>
                    <a:pt x="27" y="757"/>
                  </a:lnTo>
                  <a:lnTo>
                    <a:pt x="22" y="744"/>
                  </a:lnTo>
                  <a:lnTo>
                    <a:pt x="19" y="729"/>
                  </a:lnTo>
                  <a:lnTo>
                    <a:pt x="16" y="714"/>
                  </a:lnTo>
                  <a:lnTo>
                    <a:pt x="12" y="701"/>
                  </a:lnTo>
                  <a:lnTo>
                    <a:pt x="9" y="686"/>
                  </a:lnTo>
                  <a:lnTo>
                    <a:pt x="7" y="671"/>
                  </a:lnTo>
                  <a:lnTo>
                    <a:pt x="4" y="655"/>
                  </a:lnTo>
                  <a:lnTo>
                    <a:pt x="3" y="641"/>
                  </a:lnTo>
                  <a:lnTo>
                    <a:pt x="1" y="626"/>
                  </a:lnTo>
                  <a:lnTo>
                    <a:pt x="1" y="611"/>
                  </a:lnTo>
                  <a:lnTo>
                    <a:pt x="0" y="597"/>
                  </a:lnTo>
                  <a:lnTo>
                    <a:pt x="0" y="582"/>
                  </a:lnTo>
                  <a:lnTo>
                    <a:pt x="0" y="567"/>
                  </a:lnTo>
                  <a:lnTo>
                    <a:pt x="0" y="554"/>
                  </a:lnTo>
                  <a:lnTo>
                    <a:pt x="1" y="539"/>
                  </a:lnTo>
                  <a:lnTo>
                    <a:pt x="2" y="524"/>
                  </a:lnTo>
                  <a:lnTo>
                    <a:pt x="4" y="510"/>
                  </a:lnTo>
                  <a:lnTo>
                    <a:pt x="5" y="496"/>
                  </a:lnTo>
                  <a:lnTo>
                    <a:pt x="8" y="481"/>
                  </a:lnTo>
                  <a:lnTo>
                    <a:pt x="11" y="468"/>
                  </a:lnTo>
                  <a:lnTo>
                    <a:pt x="13" y="454"/>
                  </a:lnTo>
                  <a:lnTo>
                    <a:pt x="17" y="440"/>
                  </a:lnTo>
                  <a:lnTo>
                    <a:pt x="20" y="426"/>
                  </a:lnTo>
                  <a:lnTo>
                    <a:pt x="25" y="412"/>
                  </a:lnTo>
                  <a:lnTo>
                    <a:pt x="29" y="399"/>
                  </a:lnTo>
                  <a:lnTo>
                    <a:pt x="34" y="386"/>
                  </a:lnTo>
                  <a:lnTo>
                    <a:pt x="38" y="373"/>
                  </a:lnTo>
                  <a:lnTo>
                    <a:pt x="44" y="360"/>
                  </a:lnTo>
                  <a:lnTo>
                    <a:pt x="50" y="347"/>
                  </a:lnTo>
                  <a:lnTo>
                    <a:pt x="55" y="334"/>
                  </a:lnTo>
                  <a:lnTo>
                    <a:pt x="61" y="322"/>
                  </a:lnTo>
                  <a:lnTo>
                    <a:pt x="68" y="310"/>
                  </a:lnTo>
                  <a:lnTo>
                    <a:pt x="74" y="297"/>
                  </a:lnTo>
                  <a:lnTo>
                    <a:pt x="81" y="285"/>
                  </a:lnTo>
                  <a:lnTo>
                    <a:pt x="88" y="273"/>
                  </a:lnTo>
                  <a:lnTo>
                    <a:pt x="96" y="261"/>
                  </a:lnTo>
                  <a:lnTo>
                    <a:pt x="112" y="238"/>
                  </a:lnTo>
                  <a:lnTo>
                    <a:pt x="129" y="216"/>
                  </a:lnTo>
                  <a:lnTo>
                    <a:pt x="147" y="194"/>
                  </a:lnTo>
                  <a:lnTo>
                    <a:pt x="166" y="174"/>
                  </a:lnTo>
                  <a:lnTo>
                    <a:pt x="186" y="155"/>
                  </a:lnTo>
                  <a:lnTo>
                    <a:pt x="207" y="137"/>
                  </a:lnTo>
                  <a:lnTo>
                    <a:pt x="229" y="119"/>
                  </a:lnTo>
                  <a:lnTo>
                    <a:pt x="252" y="102"/>
                  </a:lnTo>
                  <a:lnTo>
                    <a:pt x="276" y="87"/>
                  </a:lnTo>
                  <a:lnTo>
                    <a:pt x="288" y="79"/>
                  </a:lnTo>
                  <a:lnTo>
                    <a:pt x="299" y="72"/>
                  </a:lnTo>
                  <a:lnTo>
                    <a:pt x="313" y="65"/>
                  </a:lnTo>
                  <a:lnTo>
                    <a:pt x="325" y="59"/>
                  </a:lnTo>
                  <a:lnTo>
                    <a:pt x="338" y="53"/>
                  </a:lnTo>
                  <a:lnTo>
                    <a:pt x="351" y="47"/>
                  </a:lnTo>
                  <a:lnTo>
                    <a:pt x="365" y="42"/>
                  </a:lnTo>
                  <a:lnTo>
                    <a:pt x="378" y="36"/>
                  </a:lnTo>
                  <a:lnTo>
                    <a:pt x="392" y="32"/>
                  </a:lnTo>
                  <a:lnTo>
                    <a:pt x="406" y="27"/>
                  </a:lnTo>
                  <a:lnTo>
                    <a:pt x="419" y="22"/>
                  </a:lnTo>
                  <a:lnTo>
                    <a:pt x="434" y="19"/>
                  </a:lnTo>
                  <a:lnTo>
                    <a:pt x="448" y="16"/>
                  </a:lnTo>
                  <a:lnTo>
                    <a:pt x="462" y="12"/>
                  </a:lnTo>
                  <a:lnTo>
                    <a:pt x="477" y="9"/>
                  </a:lnTo>
                  <a:lnTo>
                    <a:pt x="491" y="7"/>
                  </a:lnTo>
                  <a:lnTo>
                    <a:pt x="493" y="7"/>
                  </a:lnTo>
                  <a:lnTo>
                    <a:pt x="507" y="4"/>
                  </a:lnTo>
                  <a:lnTo>
                    <a:pt x="522" y="3"/>
                  </a:lnTo>
                  <a:lnTo>
                    <a:pt x="537" y="1"/>
                  </a:lnTo>
                  <a:lnTo>
                    <a:pt x="551" y="1"/>
                  </a:lnTo>
                  <a:lnTo>
                    <a:pt x="566" y="0"/>
                  </a:lnTo>
                  <a:lnTo>
                    <a:pt x="581" y="0"/>
                  </a:lnTo>
                  <a:lnTo>
                    <a:pt x="595" y="0"/>
                  </a:lnTo>
                  <a:lnTo>
                    <a:pt x="610" y="0"/>
                  </a:lnTo>
                  <a:lnTo>
                    <a:pt x="624" y="1"/>
                  </a:lnTo>
                  <a:lnTo>
                    <a:pt x="638" y="2"/>
                  </a:lnTo>
                  <a:lnTo>
                    <a:pt x="653" y="4"/>
                  </a:lnTo>
                  <a:lnTo>
                    <a:pt x="667" y="6"/>
                  </a:lnTo>
                  <a:lnTo>
                    <a:pt x="681" y="8"/>
                  </a:lnTo>
                  <a:lnTo>
                    <a:pt x="695" y="11"/>
                  </a:lnTo>
                  <a:lnTo>
                    <a:pt x="708" y="13"/>
                  </a:lnTo>
                  <a:lnTo>
                    <a:pt x="723" y="17"/>
                  </a:lnTo>
                  <a:lnTo>
                    <a:pt x="737" y="20"/>
                  </a:lnTo>
                  <a:lnTo>
                    <a:pt x="750" y="25"/>
                  </a:lnTo>
                  <a:lnTo>
                    <a:pt x="764" y="29"/>
                  </a:lnTo>
                  <a:lnTo>
                    <a:pt x="776" y="34"/>
                  </a:lnTo>
                  <a:lnTo>
                    <a:pt x="790" y="38"/>
                  </a:lnTo>
                  <a:lnTo>
                    <a:pt x="803" y="44"/>
                  </a:lnTo>
                  <a:lnTo>
                    <a:pt x="816" y="50"/>
                  </a:lnTo>
                  <a:lnTo>
                    <a:pt x="828" y="55"/>
                  </a:lnTo>
                  <a:lnTo>
                    <a:pt x="842" y="61"/>
                  </a:lnTo>
                  <a:lnTo>
                    <a:pt x="854" y="68"/>
                  </a:lnTo>
                  <a:lnTo>
                    <a:pt x="865" y="74"/>
                  </a:lnTo>
                  <a:lnTo>
                    <a:pt x="878" y="81"/>
                  </a:lnTo>
                  <a:lnTo>
                    <a:pt x="890" y="88"/>
                  </a:lnTo>
                  <a:lnTo>
                    <a:pt x="902" y="96"/>
                  </a:lnTo>
                  <a:lnTo>
                    <a:pt x="924" y="112"/>
                  </a:lnTo>
                  <a:lnTo>
                    <a:pt x="947" y="129"/>
                  </a:lnTo>
                  <a:lnTo>
                    <a:pt x="968" y="147"/>
                  </a:lnTo>
                  <a:lnTo>
                    <a:pt x="989" y="166"/>
                  </a:lnTo>
                  <a:lnTo>
                    <a:pt x="1008" y="186"/>
                  </a:lnTo>
                  <a:lnTo>
                    <a:pt x="1027" y="207"/>
                  </a:lnTo>
                  <a:lnTo>
                    <a:pt x="1044" y="229"/>
                  </a:lnTo>
                  <a:lnTo>
                    <a:pt x="1061" y="252"/>
                  </a:lnTo>
                  <a:lnTo>
                    <a:pt x="1076" y="276"/>
                  </a:lnTo>
                  <a:lnTo>
                    <a:pt x="1084" y="287"/>
                  </a:lnTo>
                  <a:lnTo>
                    <a:pt x="1090" y="299"/>
                  </a:lnTo>
                  <a:lnTo>
                    <a:pt x="1097" y="313"/>
                  </a:lnTo>
                  <a:lnTo>
                    <a:pt x="1104" y="325"/>
                  </a:lnTo>
                  <a:lnTo>
                    <a:pt x="1110" y="338"/>
                  </a:lnTo>
                  <a:lnTo>
                    <a:pt x="1115" y="351"/>
                  </a:lnTo>
                  <a:lnTo>
                    <a:pt x="1121" y="365"/>
                  </a:lnTo>
                  <a:lnTo>
                    <a:pt x="1127" y="379"/>
                  </a:lnTo>
                  <a:lnTo>
                    <a:pt x="1131" y="392"/>
                  </a:lnTo>
                  <a:lnTo>
                    <a:pt x="1136" y="406"/>
                  </a:lnTo>
                  <a:lnTo>
                    <a:pt x="1140" y="419"/>
                  </a:lnTo>
                  <a:lnTo>
                    <a:pt x="1143" y="434"/>
                  </a:lnTo>
                  <a:lnTo>
                    <a:pt x="1148" y="449"/>
                  </a:lnTo>
                  <a:lnTo>
                    <a:pt x="1150" y="462"/>
                  </a:lnTo>
                  <a:lnTo>
                    <a:pt x="1154" y="477"/>
                  </a:lnTo>
                  <a:lnTo>
                    <a:pt x="1156" y="492"/>
                  </a:lnTo>
                  <a:lnTo>
                    <a:pt x="1158" y="507"/>
                  </a:lnTo>
                  <a:lnTo>
                    <a:pt x="1160" y="522"/>
                  </a:lnTo>
                  <a:lnTo>
                    <a:pt x="1162" y="537"/>
                  </a:lnTo>
                  <a:lnTo>
                    <a:pt x="1163" y="551"/>
                  </a:lnTo>
                  <a:lnTo>
                    <a:pt x="1163" y="566"/>
                  </a:lnTo>
                  <a:lnTo>
                    <a:pt x="1163" y="581"/>
                  </a:lnTo>
                  <a:lnTo>
                    <a:pt x="1163" y="596"/>
                  </a:lnTo>
                  <a:lnTo>
                    <a:pt x="1163" y="610"/>
                  </a:lnTo>
                  <a:lnTo>
                    <a:pt x="1162" y="624"/>
                  </a:lnTo>
                  <a:lnTo>
                    <a:pt x="1160" y="638"/>
                  </a:lnTo>
                  <a:lnTo>
                    <a:pt x="1159" y="653"/>
                  </a:lnTo>
                  <a:lnTo>
                    <a:pt x="1157" y="667"/>
                  </a:lnTo>
                  <a:lnTo>
                    <a:pt x="1155" y="681"/>
                  </a:lnTo>
                  <a:lnTo>
                    <a:pt x="1153" y="695"/>
                  </a:lnTo>
                  <a:lnTo>
                    <a:pt x="1149" y="709"/>
                  </a:lnTo>
                  <a:lnTo>
                    <a:pt x="1146" y="723"/>
                  </a:lnTo>
                  <a:lnTo>
                    <a:pt x="1142" y="737"/>
                  </a:lnTo>
                  <a:lnTo>
                    <a:pt x="1138" y="750"/>
                  </a:lnTo>
                  <a:lnTo>
                    <a:pt x="1134" y="764"/>
                  </a:lnTo>
                  <a:lnTo>
                    <a:pt x="1129" y="776"/>
                  </a:lnTo>
                  <a:lnTo>
                    <a:pt x="1124" y="790"/>
                  </a:lnTo>
                  <a:lnTo>
                    <a:pt x="1120" y="804"/>
                  </a:lnTo>
                  <a:lnTo>
                    <a:pt x="1114" y="816"/>
                  </a:lnTo>
                  <a:lnTo>
                    <a:pt x="1108" y="828"/>
                  </a:lnTo>
                  <a:lnTo>
                    <a:pt x="1102" y="842"/>
                  </a:lnTo>
                  <a:lnTo>
                    <a:pt x="1095" y="854"/>
                  </a:lnTo>
                  <a:lnTo>
                    <a:pt x="1089" y="866"/>
                  </a:lnTo>
                  <a:lnTo>
                    <a:pt x="1081" y="878"/>
                  </a:lnTo>
                  <a:lnTo>
                    <a:pt x="1075" y="891"/>
                  </a:lnTo>
                  <a:lnTo>
                    <a:pt x="1067" y="902"/>
                  </a:lnTo>
                  <a:lnTo>
                    <a:pt x="1051" y="924"/>
                  </a:lnTo>
                  <a:lnTo>
                    <a:pt x="1034" y="947"/>
                  </a:lnTo>
                  <a:lnTo>
                    <a:pt x="1016" y="969"/>
                  </a:lnTo>
                  <a:lnTo>
                    <a:pt x="997" y="989"/>
                  </a:lnTo>
                  <a:lnTo>
                    <a:pt x="976" y="1008"/>
                  </a:lnTo>
                  <a:lnTo>
                    <a:pt x="956" y="1027"/>
                  </a:lnTo>
                  <a:lnTo>
                    <a:pt x="934" y="1044"/>
                  </a:lnTo>
                  <a:lnTo>
                    <a:pt x="911" y="1061"/>
                  </a:lnTo>
                  <a:lnTo>
                    <a:pt x="887" y="1076"/>
                  </a:lnTo>
                  <a:lnTo>
                    <a:pt x="876" y="1084"/>
                  </a:lnTo>
                  <a:lnTo>
                    <a:pt x="863" y="1091"/>
                  </a:lnTo>
                  <a:lnTo>
                    <a:pt x="851" y="1097"/>
                  </a:lnTo>
                  <a:lnTo>
                    <a:pt x="837" y="1104"/>
                  </a:lnTo>
                  <a:lnTo>
                    <a:pt x="825" y="1110"/>
                  </a:lnTo>
                  <a:lnTo>
                    <a:pt x="811" y="1115"/>
                  </a:lnTo>
                  <a:lnTo>
                    <a:pt x="798" y="1121"/>
                  </a:lnTo>
                  <a:lnTo>
                    <a:pt x="784" y="1127"/>
                  </a:lnTo>
                  <a:lnTo>
                    <a:pt x="771" y="1131"/>
                  </a:lnTo>
                  <a:lnTo>
                    <a:pt x="757" y="1136"/>
                  </a:lnTo>
                  <a:lnTo>
                    <a:pt x="743" y="1140"/>
                  </a:lnTo>
                  <a:lnTo>
                    <a:pt x="729" y="1144"/>
                  </a:lnTo>
                  <a:lnTo>
                    <a:pt x="714" y="1148"/>
                  </a:lnTo>
                  <a:lnTo>
                    <a:pt x="700" y="1151"/>
                  </a:lnTo>
                  <a:lnTo>
                    <a:pt x="686" y="1154"/>
                  </a:lnTo>
                  <a:lnTo>
                    <a:pt x="671" y="1156"/>
                  </a:lnTo>
                  <a:close/>
                </a:path>
              </a:pathLst>
            </a:custGeom>
            <a:solidFill>
              <a:srgbClr val="CCCD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4" name="Freeform 600"/>
            <p:cNvSpPr>
              <a:spLocks/>
            </p:cNvSpPr>
            <p:nvPr/>
          </p:nvSpPr>
          <p:spPr bwMode="auto">
            <a:xfrm>
              <a:off x="286" y="1725"/>
              <a:ext cx="388" cy="283"/>
            </a:xfrm>
            <a:custGeom>
              <a:avLst/>
              <a:gdLst>
                <a:gd name="T0" fmla="*/ 70 w 1163"/>
                <a:gd name="T1" fmla="*/ 69 h 1163"/>
                <a:gd name="T2" fmla="*/ 63 w 1163"/>
                <a:gd name="T3" fmla="*/ 69 h 1163"/>
                <a:gd name="T4" fmla="*/ 57 w 1163"/>
                <a:gd name="T5" fmla="*/ 69 h 1163"/>
                <a:gd name="T6" fmla="*/ 50 w 1163"/>
                <a:gd name="T7" fmla="*/ 68 h 1163"/>
                <a:gd name="T8" fmla="*/ 44 w 1163"/>
                <a:gd name="T9" fmla="*/ 67 h 1163"/>
                <a:gd name="T10" fmla="*/ 39 w 1163"/>
                <a:gd name="T11" fmla="*/ 66 h 1163"/>
                <a:gd name="T12" fmla="*/ 33 w 1163"/>
                <a:gd name="T13" fmla="*/ 64 h 1163"/>
                <a:gd name="T14" fmla="*/ 26 w 1163"/>
                <a:gd name="T15" fmla="*/ 62 h 1163"/>
                <a:gd name="T16" fmla="*/ 17 w 1163"/>
                <a:gd name="T17" fmla="*/ 58 h 1163"/>
                <a:gd name="T18" fmla="*/ 10 w 1163"/>
                <a:gd name="T19" fmla="*/ 53 h 1163"/>
                <a:gd name="T20" fmla="*/ 7 w 1163"/>
                <a:gd name="T21" fmla="*/ 50 h 1163"/>
                <a:gd name="T22" fmla="*/ 4 w 1163"/>
                <a:gd name="T23" fmla="*/ 46 h 1163"/>
                <a:gd name="T24" fmla="*/ 2 w 1163"/>
                <a:gd name="T25" fmla="*/ 43 h 1163"/>
                <a:gd name="T26" fmla="*/ 1 w 1163"/>
                <a:gd name="T27" fmla="*/ 40 h 1163"/>
                <a:gd name="T28" fmla="*/ 0 w 1163"/>
                <a:gd name="T29" fmla="*/ 36 h 1163"/>
                <a:gd name="T30" fmla="*/ 0 w 1163"/>
                <a:gd name="T31" fmla="*/ 33 h 1163"/>
                <a:gd name="T32" fmla="*/ 1 w 1163"/>
                <a:gd name="T33" fmla="*/ 29 h 1163"/>
                <a:gd name="T34" fmla="*/ 2 w 1163"/>
                <a:gd name="T35" fmla="*/ 26 h 1163"/>
                <a:gd name="T36" fmla="*/ 4 w 1163"/>
                <a:gd name="T37" fmla="*/ 23 h 1163"/>
                <a:gd name="T38" fmla="*/ 6 w 1163"/>
                <a:gd name="T39" fmla="*/ 20 h 1163"/>
                <a:gd name="T40" fmla="*/ 9 w 1163"/>
                <a:gd name="T41" fmla="*/ 17 h 1163"/>
                <a:gd name="T42" fmla="*/ 14 w 1163"/>
                <a:gd name="T43" fmla="*/ 13 h 1163"/>
                <a:gd name="T44" fmla="*/ 23 w 1163"/>
                <a:gd name="T45" fmla="*/ 8 h 1163"/>
                <a:gd name="T46" fmla="*/ 32 w 1163"/>
                <a:gd name="T47" fmla="*/ 5 h 1163"/>
                <a:gd name="T48" fmla="*/ 38 w 1163"/>
                <a:gd name="T49" fmla="*/ 3 h 1163"/>
                <a:gd name="T50" fmla="*/ 44 w 1163"/>
                <a:gd name="T51" fmla="*/ 2 h 1163"/>
                <a:gd name="T52" fmla="*/ 50 w 1163"/>
                <a:gd name="T53" fmla="*/ 1 h 1163"/>
                <a:gd name="T54" fmla="*/ 55 w 1163"/>
                <a:gd name="T55" fmla="*/ 0 h 1163"/>
                <a:gd name="T56" fmla="*/ 61 w 1163"/>
                <a:gd name="T57" fmla="*/ 0 h 1163"/>
                <a:gd name="T58" fmla="*/ 68 w 1163"/>
                <a:gd name="T59" fmla="*/ 0 h 1163"/>
                <a:gd name="T60" fmla="*/ 74 w 1163"/>
                <a:gd name="T61" fmla="*/ 0 h 1163"/>
                <a:gd name="T62" fmla="*/ 80 w 1163"/>
                <a:gd name="T63" fmla="*/ 1 h 1163"/>
                <a:gd name="T64" fmla="*/ 86 w 1163"/>
                <a:gd name="T65" fmla="*/ 2 h 1163"/>
                <a:gd name="T66" fmla="*/ 92 w 1163"/>
                <a:gd name="T67" fmla="*/ 3 h 1163"/>
                <a:gd name="T68" fmla="*/ 98 w 1163"/>
                <a:gd name="T69" fmla="*/ 5 h 1163"/>
                <a:gd name="T70" fmla="*/ 105 w 1163"/>
                <a:gd name="T71" fmla="*/ 8 h 1163"/>
                <a:gd name="T72" fmla="*/ 114 w 1163"/>
                <a:gd name="T73" fmla="*/ 12 h 1163"/>
                <a:gd name="T74" fmla="*/ 121 w 1163"/>
                <a:gd name="T75" fmla="*/ 17 h 1163"/>
                <a:gd name="T76" fmla="*/ 123 w 1163"/>
                <a:gd name="T77" fmla="*/ 20 h 1163"/>
                <a:gd name="T78" fmla="*/ 126 w 1163"/>
                <a:gd name="T79" fmla="*/ 23 h 1163"/>
                <a:gd name="T80" fmla="*/ 128 w 1163"/>
                <a:gd name="T81" fmla="*/ 27 h 1163"/>
                <a:gd name="T82" fmla="*/ 129 w 1163"/>
                <a:gd name="T83" fmla="*/ 30 h 1163"/>
                <a:gd name="T84" fmla="*/ 129 w 1163"/>
                <a:gd name="T85" fmla="*/ 34 h 1163"/>
                <a:gd name="T86" fmla="*/ 129 w 1163"/>
                <a:gd name="T87" fmla="*/ 37 h 1163"/>
                <a:gd name="T88" fmla="*/ 128 w 1163"/>
                <a:gd name="T89" fmla="*/ 40 h 1163"/>
                <a:gd name="T90" fmla="*/ 127 w 1163"/>
                <a:gd name="T91" fmla="*/ 44 h 1163"/>
                <a:gd name="T92" fmla="*/ 125 w 1163"/>
                <a:gd name="T93" fmla="*/ 47 h 1163"/>
                <a:gd name="T94" fmla="*/ 123 w 1163"/>
                <a:gd name="T95" fmla="*/ 50 h 1163"/>
                <a:gd name="T96" fmla="*/ 120 w 1163"/>
                <a:gd name="T97" fmla="*/ 53 h 1163"/>
                <a:gd name="T98" fmla="*/ 113 w 1163"/>
                <a:gd name="T99" fmla="*/ 57 h 1163"/>
                <a:gd name="T100" fmla="*/ 104 w 1163"/>
                <a:gd name="T101" fmla="*/ 62 h 1163"/>
                <a:gd name="T102" fmla="*/ 96 w 1163"/>
                <a:gd name="T103" fmla="*/ 64 h 1163"/>
                <a:gd name="T104" fmla="*/ 90 w 1163"/>
                <a:gd name="T105" fmla="*/ 66 h 1163"/>
                <a:gd name="T106" fmla="*/ 84 w 1163"/>
                <a:gd name="T107" fmla="*/ 67 h 1163"/>
                <a:gd name="T108" fmla="*/ 78 w 1163"/>
                <a:gd name="T109" fmla="*/ 68 h 11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63"/>
                <a:gd name="T166" fmla="*/ 0 h 1163"/>
                <a:gd name="T167" fmla="*/ 1163 w 1163"/>
                <a:gd name="T168" fmla="*/ 1163 h 11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63" h="1163">
                  <a:moveTo>
                    <a:pt x="671" y="1156"/>
                  </a:moveTo>
                  <a:lnTo>
                    <a:pt x="655" y="1158"/>
                  </a:lnTo>
                  <a:lnTo>
                    <a:pt x="641" y="1161"/>
                  </a:lnTo>
                  <a:lnTo>
                    <a:pt x="626" y="1162"/>
                  </a:lnTo>
                  <a:lnTo>
                    <a:pt x="611" y="1163"/>
                  </a:lnTo>
                  <a:lnTo>
                    <a:pt x="597" y="1163"/>
                  </a:lnTo>
                  <a:lnTo>
                    <a:pt x="582" y="1163"/>
                  </a:lnTo>
                  <a:lnTo>
                    <a:pt x="567" y="1163"/>
                  </a:lnTo>
                  <a:lnTo>
                    <a:pt x="554" y="1163"/>
                  </a:lnTo>
                  <a:lnTo>
                    <a:pt x="539" y="1162"/>
                  </a:lnTo>
                  <a:lnTo>
                    <a:pt x="524" y="1161"/>
                  </a:lnTo>
                  <a:lnTo>
                    <a:pt x="509" y="1160"/>
                  </a:lnTo>
                  <a:lnTo>
                    <a:pt x="496" y="1157"/>
                  </a:lnTo>
                  <a:lnTo>
                    <a:pt x="481" y="1155"/>
                  </a:lnTo>
                  <a:lnTo>
                    <a:pt x="468" y="1153"/>
                  </a:lnTo>
                  <a:lnTo>
                    <a:pt x="454" y="1149"/>
                  </a:lnTo>
                  <a:lnTo>
                    <a:pt x="439" y="1146"/>
                  </a:lnTo>
                  <a:lnTo>
                    <a:pt x="426" y="1143"/>
                  </a:lnTo>
                  <a:lnTo>
                    <a:pt x="412" y="1138"/>
                  </a:lnTo>
                  <a:lnTo>
                    <a:pt x="399" y="1135"/>
                  </a:lnTo>
                  <a:lnTo>
                    <a:pt x="386" y="1129"/>
                  </a:lnTo>
                  <a:lnTo>
                    <a:pt x="373" y="1125"/>
                  </a:lnTo>
                  <a:lnTo>
                    <a:pt x="360" y="1120"/>
                  </a:lnTo>
                  <a:lnTo>
                    <a:pt x="347" y="1114"/>
                  </a:lnTo>
                  <a:lnTo>
                    <a:pt x="334" y="1109"/>
                  </a:lnTo>
                  <a:lnTo>
                    <a:pt x="322" y="1102"/>
                  </a:lnTo>
                  <a:lnTo>
                    <a:pt x="309" y="1095"/>
                  </a:lnTo>
                  <a:lnTo>
                    <a:pt x="297" y="1089"/>
                  </a:lnTo>
                  <a:lnTo>
                    <a:pt x="285" y="1082"/>
                  </a:lnTo>
                  <a:lnTo>
                    <a:pt x="273" y="1075"/>
                  </a:lnTo>
                  <a:lnTo>
                    <a:pt x="261" y="1067"/>
                  </a:lnTo>
                  <a:lnTo>
                    <a:pt x="238" y="1051"/>
                  </a:lnTo>
                  <a:lnTo>
                    <a:pt x="216" y="1034"/>
                  </a:lnTo>
                  <a:lnTo>
                    <a:pt x="194" y="1016"/>
                  </a:lnTo>
                  <a:lnTo>
                    <a:pt x="174" y="997"/>
                  </a:lnTo>
                  <a:lnTo>
                    <a:pt x="155" y="976"/>
                  </a:lnTo>
                  <a:lnTo>
                    <a:pt x="137" y="956"/>
                  </a:lnTo>
                  <a:lnTo>
                    <a:pt x="118" y="935"/>
                  </a:lnTo>
                  <a:lnTo>
                    <a:pt x="101" y="911"/>
                  </a:lnTo>
                  <a:lnTo>
                    <a:pt x="87" y="887"/>
                  </a:lnTo>
                  <a:lnTo>
                    <a:pt x="79" y="876"/>
                  </a:lnTo>
                  <a:lnTo>
                    <a:pt x="72" y="863"/>
                  </a:lnTo>
                  <a:lnTo>
                    <a:pt x="65" y="851"/>
                  </a:lnTo>
                  <a:lnTo>
                    <a:pt x="59" y="837"/>
                  </a:lnTo>
                  <a:lnTo>
                    <a:pt x="53" y="825"/>
                  </a:lnTo>
                  <a:lnTo>
                    <a:pt x="47" y="811"/>
                  </a:lnTo>
                  <a:lnTo>
                    <a:pt x="42" y="798"/>
                  </a:lnTo>
                  <a:lnTo>
                    <a:pt x="36" y="784"/>
                  </a:lnTo>
                  <a:lnTo>
                    <a:pt x="31" y="771"/>
                  </a:lnTo>
                  <a:lnTo>
                    <a:pt x="27" y="757"/>
                  </a:lnTo>
                  <a:lnTo>
                    <a:pt x="22" y="744"/>
                  </a:lnTo>
                  <a:lnTo>
                    <a:pt x="19" y="729"/>
                  </a:lnTo>
                  <a:lnTo>
                    <a:pt x="16" y="714"/>
                  </a:lnTo>
                  <a:lnTo>
                    <a:pt x="12" y="701"/>
                  </a:lnTo>
                  <a:lnTo>
                    <a:pt x="9" y="686"/>
                  </a:lnTo>
                  <a:lnTo>
                    <a:pt x="7" y="671"/>
                  </a:lnTo>
                  <a:lnTo>
                    <a:pt x="4" y="655"/>
                  </a:lnTo>
                  <a:lnTo>
                    <a:pt x="3" y="641"/>
                  </a:lnTo>
                  <a:lnTo>
                    <a:pt x="1" y="626"/>
                  </a:lnTo>
                  <a:lnTo>
                    <a:pt x="1" y="611"/>
                  </a:lnTo>
                  <a:lnTo>
                    <a:pt x="0" y="597"/>
                  </a:lnTo>
                  <a:lnTo>
                    <a:pt x="0" y="582"/>
                  </a:lnTo>
                  <a:lnTo>
                    <a:pt x="0" y="567"/>
                  </a:lnTo>
                  <a:lnTo>
                    <a:pt x="0" y="554"/>
                  </a:lnTo>
                  <a:lnTo>
                    <a:pt x="1" y="539"/>
                  </a:lnTo>
                  <a:lnTo>
                    <a:pt x="2" y="524"/>
                  </a:lnTo>
                  <a:lnTo>
                    <a:pt x="4" y="510"/>
                  </a:lnTo>
                  <a:lnTo>
                    <a:pt x="5" y="496"/>
                  </a:lnTo>
                  <a:lnTo>
                    <a:pt x="8" y="481"/>
                  </a:lnTo>
                  <a:lnTo>
                    <a:pt x="11" y="468"/>
                  </a:lnTo>
                  <a:lnTo>
                    <a:pt x="13" y="454"/>
                  </a:lnTo>
                  <a:lnTo>
                    <a:pt x="17" y="440"/>
                  </a:lnTo>
                  <a:lnTo>
                    <a:pt x="20" y="426"/>
                  </a:lnTo>
                  <a:lnTo>
                    <a:pt x="25" y="412"/>
                  </a:lnTo>
                  <a:lnTo>
                    <a:pt x="29" y="399"/>
                  </a:lnTo>
                  <a:lnTo>
                    <a:pt x="34" y="386"/>
                  </a:lnTo>
                  <a:lnTo>
                    <a:pt x="38" y="373"/>
                  </a:lnTo>
                  <a:lnTo>
                    <a:pt x="44" y="360"/>
                  </a:lnTo>
                  <a:lnTo>
                    <a:pt x="50" y="347"/>
                  </a:lnTo>
                  <a:lnTo>
                    <a:pt x="55" y="334"/>
                  </a:lnTo>
                  <a:lnTo>
                    <a:pt x="61" y="322"/>
                  </a:lnTo>
                  <a:lnTo>
                    <a:pt x="68" y="310"/>
                  </a:lnTo>
                  <a:lnTo>
                    <a:pt x="74" y="297"/>
                  </a:lnTo>
                  <a:lnTo>
                    <a:pt x="81" y="285"/>
                  </a:lnTo>
                  <a:lnTo>
                    <a:pt x="88" y="273"/>
                  </a:lnTo>
                  <a:lnTo>
                    <a:pt x="96" y="261"/>
                  </a:lnTo>
                  <a:lnTo>
                    <a:pt x="112" y="238"/>
                  </a:lnTo>
                  <a:lnTo>
                    <a:pt x="129" y="216"/>
                  </a:lnTo>
                  <a:lnTo>
                    <a:pt x="147" y="194"/>
                  </a:lnTo>
                  <a:lnTo>
                    <a:pt x="166" y="174"/>
                  </a:lnTo>
                  <a:lnTo>
                    <a:pt x="186" y="155"/>
                  </a:lnTo>
                  <a:lnTo>
                    <a:pt x="207" y="137"/>
                  </a:lnTo>
                  <a:lnTo>
                    <a:pt x="229" y="119"/>
                  </a:lnTo>
                  <a:lnTo>
                    <a:pt x="252" y="102"/>
                  </a:lnTo>
                  <a:lnTo>
                    <a:pt x="276" y="87"/>
                  </a:lnTo>
                  <a:lnTo>
                    <a:pt x="288" y="79"/>
                  </a:lnTo>
                  <a:lnTo>
                    <a:pt x="299" y="72"/>
                  </a:lnTo>
                  <a:lnTo>
                    <a:pt x="313" y="65"/>
                  </a:lnTo>
                  <a:lnTo>
                    <a:pt x="325" y="59"/>
                  </a:lnTo>
                  <a:lnTo>
                    <a:pt x="338" y="53"/>
                  </a:lnTo>
                  <a:lnTo>
                    <a:pt x="351" y="47"/>
                  </a:lnTo>
                  <a:lnTo>
                    <a:pt x="365" y="42"/>
                  </a:lnTo>
                  <a:lnTo>
                    <a:pt x="378" y="36"/>
                  </a:lnTo>
                  <a:lnTo>
                    <a:pt x="392" y="32"/>
                  </a:lnTo>
                  <a:lnTo>
                    <a:pt x="406" y="27"/>
                  </a:lnTo>
                  <a:lnTo>
                    <a:pt x="419" y="22"/>
                  </a:lnTo>
                  <a:lnTo>
                    <a:pt x="434" y="19"/>
                  </a:lnTo>
                  <a:lnTo>
                    <a:pt x="448" y="16"/>
                  </a:lnTo>
                  <a:lnTo>
                    <a:pt x="462" y="12"/>
                  </a:lnTo>
                  <a:lnTo>
                    <a:pt x="477" y="9"/>
                  </a:lnTo>
                  <a:lnTo>
                    <a:pt x="491" y="7"/>
                  </a:lnTo>
                  <a:lnTo>
                    <a:pt x="493" y="7"/>
                  </a:lnTo>
                  <a:lnTo>
                    <a:pt x="507" y="4"/>
                  </a:lnTo>
                  <a:lnTo>
                    <a:pt x="522" y="3"/>
                  </a:lnTo>
                  <a:lnTo>
                    <a:pt x="537" y="1"/>
                  </a:lnTo>
                  <a:lnTo>
                    <a:pt x="551" y="1"/>
                  </a:lnTo>
                  <a:lnTo>
                    <a:pt x="566" y="0"/>
                  </a:lnTo>
                  <a:lnTo>
                    <a:pt x="581" y="0"/>
                  </a:lnTo>
                  <a:lnTo>
                    <a:pt x="595" y="0"/>
                  </a:lnTo>
                  <a:lnTo>
                    <a:pt x="610" y="0"/>
                  </a:lnTo>
                  <a:lnTo>
                    <a:pt x="624" y="1"/>
                  </a:lnTo>
                  <a:lnTo>
                    <a:pt x="638" y="2"/>
                  </a:lnTo>
                  <a:lnTo>
                    <a:pt x="653" y="4"/>
                  </a:lnTo>
                  <a:lnTo>
                    <a:pt x="667" y="6"/>
                  </a:lnTo>
                  <a:lnTo>
                    <a:pt x="681" y="8"/>
                  </a:lnTo>
                  <a:lnTo>
                    <a:pt x="695" y="11"/>
                  </a:lnTo>
                  <a:lnTo>
                    <a:pt x="708" y="13"/>
                  </a:lnTo>
                  <a:lnTo>
                    <a:pt x="723" y="17"/>
                  </a:lnTo>
                  <a:lnTo>
                    <a:pt x="737" y="20"/>
                  </a:lnTo>
                  <a:lnTo>
                    <a:pt x="750" y="25"/>
                  </a:lnTo>
                  <a:lnTo>
                    <a:pt x="764" y="29"/>
                  </a:lnTo>
                  <a:lnTo>
                    <a:pt x="776" y="34"/>
                  </a:lnTo>
                  <a:lnTo>
                    <a:pt x="790" y="38"/>
                  </a:lnTo>
                  <a:lnTo>
                    <a:pt x="803" y="44"/>
                  </a:lnTo>
                  <a:lnTo>
                    <a:pt x="816" y="50"/>
                  </a:lnTo>
                  <a:lnTo>
                    <a:pt x="828" y="55"/>
                  </a:lnTo>
                  <a:lnTo>
                    <a:pt x="842" y="61"/>
                  </a:lnTo>
                  <a:lnTo>
                    <a:pt x="854" y="68"/>
                  </a:lnTo>
                  <a:lnTo>
                    <a:pt x="865" y="74"/>
                  </a:lnTo>
                  <a:lnTo>
                    <a:pt x="878" y="81"/>
                  </a:lnTo>
                  <a:lnTo>
                    <a:pt x="890" y="88"/>
                  </a:lnTo>
                  <a:lnTo>
                    <a:pt x="902" y="96"/>
                  </a:lnTo>
                  <a:lnTo>
                    <a:pt x="924" y="112"/>
                  </a:lnTo>
                  <a:lnTo>
                    <a:pt x="947" y="129"/>
                  </a:lnTo>
                  <a:lnTo>
                    <a:pt x="968" y="147"/>
                  </a:lnTo>
                  <a:lnTo>
                    <a:pt x="989" y="166"/>
                  </a:lnTo>
                  <a:lnTo>
                    <a:pt x="1008" y="186"/>
                  </a:lnTo>
                  <a:lnTo>
                    <a:pt x="1027" y="207"/>
                  </a:lnTo>
                  <a:lnTo>
                    <a:pt x="1044" y="229"/>
                  </a:lnTo>
                  <a:lnTo>
                    <a:pt x="1061" y="252"/>
                  </a:lnTo>
                  <a:lnTo>
                    <a:pt x="1076" y="276"/>
                  </a:lnTo>
                  <a:lnTo>
                    <a:pt x="1084" y="287"/>
                  </a:lnTo>
                  <a:lnTo>
                    <a:pt x="1090" y="299"/>
                  </a:lnTo>
                  <a:lnTo>
                    <a:pt x="1097" y="313"/>
                  </a:lnTo>
                  <a:lnTo>
                    <a:pt x="1104" y="325"/>
                  </a:lnTo>
                  <a:lnTo>
                    <a:pt x="1110" y="338"/>
                  </a:lnTo>
                  <a:lnTo>
                    <a:pt x="1115" y="351"/>
                  </a:lnTo>
                  <a:lnTo>
                    <a:pt x="1121" y="365"/>
                  </a:lnTo>
                  <a:lnTo>
                    <a:pt x="1127" y="379"/>
                  </a:lnTo>
                  <a:lnTo>
                    <a:pt x="1131" y="392"/>
                  </a:lnTo>
                  <a:lnTo>
                    <a:pt x="1136" y="406"/>
                  </a:lnTo>
                  <a:lnTo>
                    <a:pt x="1140" y="419"/>
                  </a:lnTo>
                  <a:lnTo>
                    <a:pt x="1143" y="434"/>
                  </a:lnTo>
                  <a:lnTo>
                    <a:pt x="1148" y="449"/>
                  </a:lnTo>
                  <a:lnTo>
                    <a:pt x="1150" y="462"/>
                  </a:lnTo>
                  <a:lnTo>
                    <a:pt x="1154" y="477"/>
                  </a:lnTo>
                  <a:lnTo>
                    <a:pt x="1156" y="492"/>
                  </a:lnTo>
                  <a:lnTo>
                    <a:pt x="1158" y="507"/>
                  </a:lnTo>
                  <a:lnTo>
                    <a:pt x="1160" y="522"/>
                  </a:lnTo>
                  <a:lnTo>
                    <a:pt x="1162" y="537"/>
                  </a:lnTo>
                  <a:lnTo>
                    <a:pt x="1163" y="551"/>
                  </a:lnTo>
                  <a:lnTo>
                    <a:pt x="1163" y="566"/>
                  </a:lnTo>
                  <a:lnTo>
                    <a:pt x="1163" y="581"/>
                  </a:lnTo>
                  <a:lnTo>
                    <a:pt x="1163" y="596"/>
                  </a:lnTo>
                  <a:lnTo>
                    <a:pt x="1163" y="610"/>
                  </a:lnTo>
                  <a:lnTo>
                    <a:pt x="1162" y="624"/>
                  </a:lnTo>
                  <a:lnTo>
                    <a:pt x="1160" y="638"/>
                  </a:lnTo>
                  <a:lnTo>
                    <a:pt x="1159" y="653"/>
                  </a:lnTo>
                  <a:lnTo>
                    <a:pt x="1157" y="667"/>
                  </a:lnTo>
                  <a:lnTo>
                    <a:pt x="1155" y="681"/>
                  </a:lnTo>
                  <a:lnTo>
                    <a:pt x="1153" y="695"/>
                  </a:lnTo>
                  <a:lnTo>
                    <a:pt x="1149" y="709"/>
                  </a:lnTo>
                  <a:lnTo>
                    <a:pt x="1146" y="723"/>
                  </a:lnTo>
                  <a:lnTo>
                    <a:pt x="1142" y="737"/>
                  </a:lnTo>
                  <a:lnTo>
                    <a:pt x="1138" y="750"/>
                  </a:lnTo>
                  <a:lnTo>
                    <a:pt x="1134" y="764"/>
                  </a:lnTo>
                  <a:lnTo>
                    <a:pt x="1129" y="776"/>
                  </a:lnTo>
                  <a:lnTo>
                    <a:pt x="1124" y="790"/>
                  </a:lnTo>
                  <a:lnTo>
                    <a:pt x="1120" y="804"/>
                  </a:lnTo>
                  <a:lnTo>
                    <a:pt x="1114" y="816"/>
                  </a:lnTo>
                  <a:lnTo>
                    <a:pt x="1108" y="828"/>
                  </a:lnTo>
                  <a:lnTo>
                    <a:pt x="1102" y="842"/>
                  </a:lnTo>
                  <a:lnTo>
                    <a:pt x="1095" y="854"/>
                  </a:lnTo>
                  <a:lnTo>
                    <a:pt x="1089" y="866"/>
                  </a:lnTo>
                  <a:lnTo>
                    <a:pt x="1081" y="878"/>
                  </a:lnTo>
                  <a:lnTo>
                    <a:pt x="1075" y="891"/>
                  </a:lnTo>
                  <a:lnTo>
                    <a:pt x="1067" y="902"/>
                  </a:lnTo>
                  <a:lnTo>
                    <a:pt x="1051" y="924"/>
                  </a:lnTo>
                  <a:lnTo>
                    <a:pt x="1034" y="947"/>
                  </a:lnTo>
                  <a:lnTo>
                    <a:pt x="1016" y="969"/>
                  </a:lnTo>
                  <a:lnTo>
                    <a:pt x="997" y="989"/>
                  </a:lnTo>
                  <a:lnTo>
                    <a:pt x="976" y="1008"/>
                  </a:lnTo>
                  <a:lnTo>
                    <a:pt x="956" y="1027"/>
                  </a:lnTo>
                  <a:lnTo>
                    <a:pt x="934" y="1044"/>
                  </a:lnTo>
                  <a:lnTo>
                    <a:pt x="911" y="1061"/>
                  </a:lnTo>
                  <a:lnTo>
                    <a:pt x="887" y="1076"/>
                  </a:lnTo>
                  <a:lnTo>
                    <a:pt x="876" y="1084"/>
                  </a:lnTo>
                  <a:lnTo>
                    <a:pt x="863" y="1091"/>
                  </a:lnTo>
                  <a:lnTo>
                    <a:pt x="851" y="1097"/>
                  </a:lnTo>
                  <a:lnTo>
                    <a:pt x="837" y="1104"/>
                  </a:lnTo>
                  <a:lnTo>
                    <a:pt x="825" y="1110"/>
                  </a:lnTo>
                  <a:lnTo>
                    <a:pt x="811" y="1115"/>
                  </a:lnTo>
                  <a:lnTo>
                    <a:pt x="798" y="1121"/>
                  </a:lnTo>
                  <a:lnTo>
                    <a:pt x="784" y="1127"/>
                  </a:lnTo>
                  <a:lnTo>
                    <a:pt x="771" y="1131"/>
                  </a:lnTo>
                  <a:lnTo>
                    <a:pt x="757" y="1136"/>
                  </a:lnTo>
                  <a:lnTo>
                    <a:pt x="743" y="1140"/>
                  </a:lnTo>
                  <a:lnTo>
                    <a:pt x="729" y="1144"/>
                  </a:lnTo>
                  <a:lnTo>
                    <a:pt x="714" y="1148"/>
                  </a:lnTo>
                  <a:lnTo>
                    <a:pt x="700" y="1151"/>
                  </a:lnTo>
                  <a:lnTo>
                    <a:pt x="686" y="1154"/>
                  </a:lnTo>
                  <a:lnTo>
                    <a:pt x="671" y="1156"/>
                  </a:lnTo>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5" name="Freeform 601"/>
            <p:cNvSpPr>
              <a:spLocks/>
            </p:cNvSpPr>
            <p:nvPr/>
          </p:nvSpPr>
          <p:spPr bwMode="auto">
            <a:xfrm>
              <a:off x="268" y="1721"/>
              <a:ext cx="79" cy="63"/>
            </a:xfrm>
            <a:custGeom>
              <a:avLst/>
              <a:gdLst>
                <a:gd name="T0" fmla="*/ 25 w 235"/>
                <a:gd name="T1" fmla="*/ 0 h 261"/>
                <a:gd name="T2" fmla="*/ 8 w 235"/>
                <a:gd name="T3" fmla="*/ 1 h 261"/>
                <a:gd name="T4" fmla="*/ 14 w 235"/>
                <a:gd name="T5" fmla="*/ 3 h 261"/>
                <a:gd name="T6" fmla="*/ 0 w 235"/>
                <a:gd name="T7" fmla="*/ 13 h 261"/>
                <a:gd name="T8" fmla="*/ 6 w 235"/>
                <a:gd name="T9" fmla="*/ 15 h 261"/>
                <a:gd name="T10" fmla="*/ 21 w 235"/>
                <a:gd name="T11" fmla="*/ 6 h 261"/>
                <a:gd name="T12" fmla="*/ 27 w 235"/>
                <a:gd name="T13" fmla="*/ 8 h 261"/>
                <a:gd name="T14" fmla="*/ 25 w 235"/>
                <a:gd name="T15" fmla="*/ 0 h 261"/>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261"/>
                <a:gd name="T26" fmla="*/ 235 w 235"/>
                <a:gd name="T27" fmla="*/ 261 h 2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261">
                  <a:moveTo>
                    <a:pt x="219" y="0"/>
                  </a:moveTo>
                  <a:lnTo>
                    <a:pt x="73" y="16"/>
                  </a:lnTo>
                  <a:lnTo>
                    <a:pt x="126" y="59"/>
                  </a:lnTo>
                  <a:lnTo>
                    <a:pt x="0" y="217"/>
                  </a:lnTo>
                  <a:lnTo>
                    <a:pt x="55" y="261"/>
                  </a:lnTo>
                  <a:lnTo>
                    <a:pt x="182" y="103"/>
                  </a:lnTo>
                  <a:lnTo>
                    <a:pt x="235" y="146"/>
                  </a:lnTo>
                  <a:lnTo>
                    <a:pt x="219" y="0"/>
                  </a:lnTo>
                  <a:close/>
                </a:path>
              </a:pathLst>
            </a:custGeom>
            <a:solidFill>
              <a:srgbClr val="1A1A1A"/>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6" name="Freeform 602"/>
            <p:cNvSpPr>
              <a:spLocks/>
            </p:cNvSpPr>
            <p:nvPr/>
          </p:nvSpPr>
          <p:spPr bwMode="auto">
            <a:xfrm>
              <a:off x="268" y="1721"/>
              <a:ext cx="79" cy="63"/>
            </a:xfrm>
            <a:custGeom>
              <a:avLst/>
              <a:gdLst>
                <a:gd name="T0" fmla="*/ 25 w 235"/>
                <a:gd name="T1" fmla="*/ 0 h 261"/>
                <a:gd name="T2" fmla="*/ 8 w 235"/>
                <a:gd name="T3" fmla="*/ 1 h 261"/>
                <a:gd name="T4" fmla="*/ 14 w 235"/>
                <a:gd name="T5" fmla="*/ 3 h 261"/>
                <a:gd name="T6" fmla="*/ 0 w 235"/>
                <a:gd name="T7" fmla="*/ 13 h 261"/>
                <a:gd name="T8" fmla="*/ 6 w 235"/>
                <a:gd name="T9" fmla="*/ 15 h 261"/>
                <a:gd name="T10" fmla="*/ 21 w 235"/>
                <a:gd name="T11" fmla="*/ 6 h 261"/>
                <a:gd name="T12" fmla="*/ 27 w 235"/>
                <a:gd name="T13" fmla="*/ 8 h 261"/>
                <a:gd name="T14" fmla="*/ 25 w 235"/>
                <a:gd name="T15" fmla="*/ 0 h 261"/>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261"/>
                <a:gd name="T26" fmla="*/ 235 w 235"/>
                <a:gd name="T27" fmla="*/ 261 h 2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261">
                  <a:moveTo>
                    <a:pt x="219" y="0"/>
                  </a:moveTo>
                  <a:lnTo>
                    <a:pt x="73" y="16"/>
                  </a:lnTo>
                  <a:lnTo>
                    <a:pt x="126" y="59"/>
                  </a:lnTo>
                  <a:lnTo>
                    <a:pt x="0" y="217"/>
                  </a:lnTo>
                  <a:lnTo>
                    <a:pt x="55" y="261"/>
                  </a:lnTo>
                  <a:lnTo>
                    <a:pt x="182" y="103"/>
                  </a:lnTo>
                  <a:lnTo>
                    <a:pt x="235" y="146"/>
                  </a:lnTo>
                  <a:lnTo>
                    <a:pt x="219" y="0"/>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7" name="Freeform 603"/>
            <p:cNvSpPr>
              <a:spLocks/>
            </p:cNvSpPr>
            <p:nvPr/>
          </p:nvSpPr>
          <p:spPr bwMode="auto">
            <a:xfrm>
              <a:off x="619" y="1711"/>
              <a:ext cx="79" cy="63"/>
            </a:xfrm>
            <a:custGeom>
              <a:avLst/>
              <a:gdLst>
                <a:gd name="T0" fmla="*/ 25 w 235"/>
                <a:gd name="T1" fmla="*/ 15 h 261"/>
                <a:gd name="T2" fmla="*/ 8 w 235"/>
                <a:gd name="T3" fmla="*/ 14 h 261"/>
                <a:gd name="T4" fmla="*/ 14 w 235"/>
                <a:gd name="T5" fmla="*/ 12 h 261"/>
                <a:gd name="T6" fmla="*/ 0 w 235"/>
                <a:gd name="T7" fmla="*/ 3 h 261"/>
                <a:gd name="T8" fmla="*/ 6 w 235"/>
                <a:gd name="T9" fmla="*/ 0 h 261"/>
                <a:gd name="T10" fmla="*/ 21 w 235"/>
                <a:gd name="T11" fmla="*/ 9 h 261"/>
                <a:gd name="T12" fmla="*/ 27 w 235"/>
                <a:gd name="T13" fmla="*/ 7 h 261"/>
                <a:gd name="T14" fmla="*/ 25 w 235"/>
                <a:gd name="T15" fmla="*/ 15 h 261"/>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261"/>
                <a:gd name="T26" fmla="*/ 235 w 235"/>
                <a:gd name="T27" fmla="*/ 261 h 2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261">
                  <a:moveTo>
                    <a:pt x="218" y="261"/>
                  </a:moveTo>
                  <a:lnTo>
                    <a:pt x="72" y="244"/>
                  </a:lnTo>
                  <a:lnTo>
                    <a:pt x="127" y="201"/>
                  </a:lnTo>
                  <a:lnTo>
                    <a:pt x="0" y="44"/>
                  </a:lnTo>
                  <a:lnTo>
                    <a:pt x="54" y="0"/>
                  </a:lnTo>
                  <a:lnTo>
                    <a:pt x="181" y="157"/>
                  </a:lnTo>
                  <a:lnTo>
                    <a:pt x="235" y="114"/>
                  </a:lnTo>
                  <a:lnTo>
                    <a:pt x="218" y="261"/>
                  </a:lnTo>
                  <a:close/>
                </a:path>
              </a:pathLst>
            </a:custGeom>
            <a:solidFill>
              <a:srgbClr val="1A1A1A"/>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8" name="Freeform 604"/>
            <p:cNvSpPr>
              <a:spLocks/>
            </p:cNvSpPr>
            <p:nvPr/>
          </p:nvSpPr>
          <p:spPr bwMode="auto">
            <a:xfrm>
              <a:off x="619" y="1711"/>
              <a:ext cx="79" cy="63"/>
            </a:xfrm>
            <a:custGeom>
              <a:avLst/>
              <a:gdLst>
                <a:gd name="T0" fmla="*/ 25 w 235"/>
                <a:gd name="T1" fmla="*/ 15 h 261"/>
                <a:gd name="T2" fmla="*/ 8 w 235"/>
                <a:gd name="T3" fmla="*/ 14 h 261"/>
                <a:gd name="T4" fmla="*/ 14 w 235"/>
                <a:gd name="T5" fmla="*/ 12 h 261"/>
                <a:gd name="T6" fmla="*/ 0 w 235"/>
                <a:gd name="T7" fmla="*/ 3 h 261"/>
                <a:gd name="T8" fmla="*/ 6 w 235"/>
                <a:gd name="T9" fmla="*/ 0 h 261"/>
                <a:gd name="T10" fmla="*/ 21 w 235"/>
                <a:gd name="T11" fmla="*/ 9 h 261"/>
                <a:gd name="T12" fmla="*/ 27 w 235"/>
                <a:gd name="T13" fmla="*/ 7 h 261"/>
                <a:gd name="T14" fmla="*/ 25 w 235"/>
                <a:gd name="T15" fmla="*/ 15 h 261"/>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261"/>
                <a:gd name="T26" fmla="*/ 235 w 235"/>
                <a:gd name="T27" fmla="*/ 261 h 2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261">
                  <a:moveTo>
                    <a:pt x="218" y="261"/>
                  </a:moveTo>
                  <a:lnTo>
                    <a:pt x="72" y="244"/>
                  </a:lnTo>
                  <a:lnTo>
                    <a:pt x="127" y="201"/>
                  </a:lnTo>
                  <a:lnTo>
                    <a:pt x="0" y="44"/>
                  </a:lnTo>
                  <a:lnTo>
                    <a:pt x="54" y="0"/>
                  </a:lnTo>
                  <a:lnTo>
                    <a:pt x="181" y="157"/>
                  </a:lnTo>
                  <a:lnTo>
                    <a:pt x="235" y="114"/>
                  </a:lnTo>
                  <a:lnTo>
                    <a:pt x="218" y="261"/>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9" name="Freeform 605"/>
            <p:cNvSpPr>
              <a:spLocks/>
            </p:cNvSpPr>
            <p:nvPr/>
          </p:nvSpPr>
          <p:spPr bwMode="auto">
            <a:xfrm>
              <a:off x="623" y="1949"/>
              <a:ext cx="78" cy="63"/>
            </a:xfrm>
            <a:custGeom>
              <a:avLst/>
              <a:gdLst>
                <a:gd name="T0" fmla="*/ 2 w 235"/>
                <a:gd name="T1" fmla="*/ 15 h 261"/>
                <a:gd name="T2" fmla="*/ 18 w 235"/>
                <a:gd name="T3" fmla="*/ 14 h 261"/>
                <a:gd name="T4" fmla="*/ 12 w 235"/>
                <a:gd name="T5" fmla="*/ 12 h 261"/>
                <a:gd name="T6" fmla="*/ 26 w 235"/>
                <a:gd name="T7" fmla="*/ 3 h 261"/>
                <a:gd name="T8" fmla="*/ 20 w 235"/>
                <a:gd name="T9" fmla="*/ 0 h 261"/>
                <a:gd name="T10" fmla="*/ 6 w 235"/>
                <a:gd name="T11" fmla="*/ 9 h 261"/>
                <a:gd name="T12" fmla="*/ 0 w 235"/>
                <a:gd name="T13" fmla="*/ 7 h 261"/>
                <a:gd name="T14" fmla="*/ 2 w 235"/>
                <a:gd name="T15" fmla="*/ 15 h 261"/>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261"/>
                <a:gd name="T26" fmla="*/ 235 w 235"/>
                <a:gd name="T27" fmla="*/ 261 h 2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261">
                  <a:moveTo>
                    <a:pt x="16" y="261"/>
                  </a:moveTo>
                  <a:lnTo>
                    <a:pt x="162" y="244"/>
                  </a:lnTo>
                  <a:lnTo>
                    <a:pt x="109" y="201"/>
                  </a:lnTo>
                  <a:lnTo>
                    <a:pt x="235" y="44"/>
                  </a:lnTo>
                  <a:lnTo>
                    <a:pt x="180" y="0"/>
                  </a:lnTo>
                  <a:lnTo>
                    <a:pt x="53" y="157"/>
                  </a:lnTo>
                  <a:lnTo>
                    <a:pt x="0" y="114"/>
                  </a:lnTo>
                  <a:lnTo>
                    <a:pt x="16" y="261"/>
                  </a:lnTo>
                  <a:close/>
                </a:path>
              </a:pathLst>
            </a:custGeom>
            <a:solidFill>
              <a:srgbClr val="1A1A1A"/>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0" name="Freeform 606"/>
            <p:cNvSpPr>
              <a:spLocks/>
            </p:cNvSpPr>
            <p:nvPr/>
          </p:nvSpPr>
          <p:spPr bwMode="auto">
            <a:xfrm>
              <a:off x="623" y="1949"/>
              <a:ext cx="78" cy="63"/>
            </a:xfrm>
            <a:custGeom>
              <a:avLst/>
              <a:gdLst>
                <a:gd name="T0" fmla="*/ 2 w 235"/>
                <a:gd name="T1" fmla="*/ 15 h 261"/>
                <a:gd name="T2" fmla="*/ 18 w 235"/>
                <a:gd name="T3" fmla="*/ 14 h 261"/>
                <a:gd name="T4" fmla="*/ 12 w 235"/>
                <a:gd name="T5" fmla="*/ 12 h 261"/>
                <a:gd name="T6" fmla="*/ 26 w 235"/>
                <a:gd name="T7" fmla="*/ 3 h 261"/>
                <a:gd name="T8" fmla="*/ 20 w 235"/>
                <a:gd name="T9" fmla="*/ 0 h 261"/>
                <a:gd name="T10" fmla="*/ 6 w 235"/>
                <a:gd name="T11" fmla="*/ 9 h 261"/>
                <a:gd name="T12" fmla="*/ 0 w 235"/>
                <a:gd name="T13" fmla="*/ 7 h 261"/>
                <a:gd name="T14" fmla="*/ 2 w 235"/>
                <a:gd name="T15" fmla="*/ 15 h 261"/>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261"/>
                <a:gd name="T26" fmla="*/ 235 w 235"/>
                <a:gd name="T27" fmla="*/ 261 h 2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261">
                  <a:moveTo>
                    <a:pt x="16" y="261"/>
                  </a:moveTo>
                  <a:lnTo>
                    <a:pt x="162" y="244"/>
                  </a:lnTo>
                  <a:lnTo>
                    <a:pt x="109" y="201"/>
                  </a:lnTo>
                  <a:lnTo>
                    <a:pt x="235" y="44"/>
                  </a:lnTo>
                  <a:lnTo>
                    <a:pt x="180" y="0"/>
                  </a:lnTo>
                  <a:lnTo>
                    <a:pt x="53" y="157"/>
                  </a:lnTo>
                  <a:lnTo>
                    <a:pt x="0" y="114"/>
                  </a:lnTo>
                  <a:lnTo>
                    <a:pt x="16" y="261"/>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1" name="Freeform 607"/>
            <p:cNvSpPr>
              <a:spLocks/>
            </p:cNvSpPr>
            <p:nvPr/>
          </p:nvSpPr>
          <p:spPr bwMode="auto">
            <a:xfrm>
              <a:off x="272" y="1959"/>
              <a:ext cx="78" cy="64"/>
            </a:xfrm>
            <a:custGeom>
              <a:avLst/>
              <a:gdLst>
                <a:gd name="T0" fmla="*/ 2 w 235"/>
                <a:gd name="T1" fmla="*/ 0 h 261"/>
                <a:gd name="T2" fmla="*/ 18 w 235"/>
                <a:gd name="T3" fmla="*/ 1 h 261"/>
                <a:gd name="T4" fmla="*/ 12 w 235"/>
                <a:gd name="T5" fmla="*/ 3 h 261"/>
                <a:gd name="T6" fmla="*/ 26 w 235"/>
                <a:gd name="T7" fmla="*/ 13 h 261"/>
                <a:gd name="T8" fmla="*/ 20 w 235"/>
                <a:gd name="T9" fmla="*/ 16 h 261"/>
                <a:gd name="T10" fmla="*/ 6 w 235"/>
                <a:gd name="T11" fmla="*/ 6 h 261"/>
                <a:gd name="T12" fmla="*/ 0 w 235"/>
                <a:gd name="T13" fmla="*/ 9 h 261"/>
                <a:gd name="T14" fmla="*/ 2 w 235"/>
                <a:gd name="T15" fmla="*/ 0 h 261"/>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261"/>
                <a:gd name="T26" fmla="*/ 235 w 235"/>
                <a:gd name="T27" fmla="*/ 261 h 2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261">
                  <a:moveTo>
                    <a:pt x="17" y="0"/>
                  </a:moveTo>
                  <a:lnTo>
                    <a:pt x="163" y="16"/>
                  </a:lnTo>
                  <a:lnTo>
                    <a:pt x="108" y="59"/>
                  </a:lnTo>
                  <a:lnTo>
                    <a:pt x="235" y="217"/>
                  </a:lnTo>
                  <a:lnTo>
                    <a:pt x="181" y="261"/>
                  </a:lnTo>
                  <a:lnTo>
                    <a:pt x="54" y="103"/>
                  </a:lnTo>
                  <a:lnTo>
                    <a:pt x="0" y="146"/>
                  </a:lnTo>
                  <a:lnTo>
                    <a:pt x="17" y="0"/>
                  </a:lnTo>
                  <a:close/>
                </a:path>
              </a:pathLst>
            </a:custGeom>
            <a:solidFill>
              <a:srgbClr val="1A1A1A"/>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2" name="Freeform 608"/>
            <p:cNvSpPr>
              <a:spLocks/>
            </p:cNvSpPr>
            <p:nvPr/>
          </p:nvSpPr>
          <p:spPr bwMode="auto">
            <a:xfrm>
              <a:off x="272" y="1959"/>
              <a:ext cx="78" cy="64"/>
            </a:xfrm>
            <a:custGeom>
              <a:avLst/>
              <a:gdLst>
                <a:gd name="T0" fmla="*/ 2 w 235"/>
                <a:gd name="T1" fmla="*/ 0 h 261"/>
                <a:gd name="T2" fmla="*/ 18 w 235"/>
                <a:gd name="T3" fmla="*/ 1 h 261"/>
                <a:gd name="T4" fmla="*/ 12 w 235"/>
                <a:gd name="T5" fmla="*/ 3 h 261"/>
                <a:gd name="T6" fmla="*/ 26 w 235"/>
                <a:gd name="T7" fmla="*/ 13 h 261"/>
                <a:gd name="T8" fmla="*/ 20 w 235"/>
                <a:gd name="T9" fmla="*/ 16 h 261"/>
                <a:gd name="T10" fmla="*/ 6 w 235"/>
                <a:gd name="T11" fmla="*/ 6 h 261"/>
                <a:gd name="T12" fmla="*/ 0 w 235"/>
                <a:gd name="T13" fmla="*/ 9 h 261"/>
                <a:gd name="T14" fmla="*/ 2 w 235"/>
                <a:gd name="T15" fmla="*/ 0 h 261"/>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261"/>
                <a:gd name="T26" fmla="*/ 235 w 235"/>
                <a:gd name="T27" fmla="*/ 261 h 2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261">
                  <a:moveTo>
                    <a:pt x="17" y="0"/>
                  </a:moveTo>
                  <a:lnTo>
                    <a:pt x="163" y="16"/>
                  </a:lnTo>
                  <a:lnTo>
                    <a:pt x="108" y="59"/>
                  </a:lnTo>
                  <a:lnTo>
                    <a:pt x="235" y="217"/>
                  </a:lnTo>
                  <a:lnTo>
                    <a:pt x="181" y="261"/>
                  </a:lnTo>
                  <a:lnTo>
                    <a:pt x="54" y="103"/>
                  </a:lnTo>
                  <a:lnTo>
                    <a:pt x="0" y="146"/>
                  </a:lnTo>
                  <a:lnTo>
                    <a:pt x="17" y="0"/>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3" name="Freeform 609"/>
            <p:cNvSpPr>
              <a:spLocks/>
            </p:cNvSpPr>
            <p:nvPr/>
          </p:nvSpPr>
          <p:spPr bwMode="auto">
            <a:xfrm>
              <a:off x="98" y="3934"/>
              <a:ext cx="770" cy="134"/>
            </a:xfrm>
            <a:custGeom>
              <a:avLst/>
              <a:gdLst>
                <a:gd name="T0" fmla="*/ 226 w 2310"/>
                <a:gd name="T1" fmla="*/ 33 h 548"/>
                <a:gd name="T2" fmla="*/ 231 w 2310"/>
                <a:gd name="T3" fmla="*/ 33 h 548"/>
                <a:gd name="T4" fmla="*/ 235 w 2310"/>
                <a:gd name="T5" fmla="*/ 32 h 548"/>
                <a:gd name="T6" fmla="*/ 239 w 2310"/>
                <a:gd name="T7" fmla="*/ 31 h 548"/>
                <a:gd name="T8" fmla="*/ 243 w 2310"/>
                <a:gd name="T9" fmla="*/ 30 h 548"/>
                <a:gd name="T10" fmla="*/ 247 w 2310"/>
                <a:gd name="T11" fmla="*/ 29 h 548"/>
                <a:gd name="T12" fmla="*/ 250 w 2310"/>
                <a:gd name="T13" fmla="*/ 27 h 548"/>
                <a:gd name="T14" fmla="*/ 252 w 2310"/>
                <a:gd name="T15" fmla="*/ 25 h 548"/>
                <a:gd name="T16" fmla="*/ 254 w 2310"/>
                <a:gd name="T17" fmla="*/ 23 h 548"/>
                <a:gd name="T18" fmla="*/ 256 w 2310"/>
                <a:gd name="T19" fmla="*/ 21 h 548"/>
                <a:gd name="T20" fmla="*/ 257 w 2310"/>
                <a:gd name="T21" fmla="*/ 18 h 548"/>
                <a:gd name="T22" fmla="*/ 257 w 2310"/>
                <a:gd name="T23" fmla="*/ 16 h 548"/>
                <a:gd name="T24" fmla="*/ 256 w 2310"/>
                <a:gd name="T25" fmla="*/ 14 h 548"/>
                <a:gd name="T26" fmla="*/ 255 w 2310"/>
                <a:gd name="T27" fmla="*/ 11 h 548"/>
                <a:gd name="T28" fmla="*/ 254 w 2310"/>
                <a:gd name="T29" fmla="*/ 9 h 548"/>
                <a:gd name="T30" fmla="*/ 251 w 2310"/>
                <a:gd name="T31" fmla="*/ 7 h 548"/>
                <a:gd name="T32" fmla="*/ 249 w 2310"/>
                <a:gd name="T33" fmla="*/ 5 h 548"/>
                <a:gd name="T34" fmla="*/ 246 w 2310"/>
                <a:gd name="T35" fmla="*/ 4 h 548"/>
                <a:gd name="T36" fmla="*/ 242 w 2310"/>
                <a:gd name="T37" fmla="*/ 2 h 548"/>
                <a:gd name="T38" fmla="*/ 238 w 2310"/>
                <a:gd name="T39" fmla="*/ 1 h 548"/>
                <a:gd name="T40" fmla="*/ 234 w 2310"/>
                <a:gd name="T41" fmla="*/ 0 h 548"/>
                <a:gd name="T42" fmla="*/ 229 w 2310"/>
                <a:gd name="T43" fmla="*/ 0 h 548"/>
                <a:gd name="T44" fmla="*/ 30 w 2310"/>
                <a:gd name="T45" fmla="*/ 0 h 548"/>
                <a:gd name="T46" fmla="*/ 26 w 2310"/>
                <a:gd name="T47" fmla="*/ 0 h 548"/>
                <a:gd name="T48" fmla="*/ 21 w 2310"/>
                <a:gd name="T49" fmla="*/ 1 h 548"/>
                <a:gd name="T50" fmla="*/ 17 w 2310"/>
                <a:gd name="T51" fmla="*/ 2 h 548"/>
                <a:gd name="T52" fmla="*/ 13 w 2310"/>
                <a:gd name="T53" fmla="*/ 3 h 548"/>
                <a:gd name="T54" fmla="*/ 10 w 2310"/>
                <a:gd name="T55" fmla="*/ 4 h 548"/>
                <a:gd name="T56" fmla="*/ 7 w 2310"/>
                <a:gd name="T57" fmla="*/ 6 h 548"/>
                <a:gd name="T58" fmla="*/ 4 w 2310"/>
                <a:gd name="T59" fmla="*/ 8 h 548"/>
                <a:gd name="T60" fmla="*/ 2 w 2310"/>
                <a:gd name="T61" fmla="*/ 10 h 548"/>
                <a:gd name="T62" fmla="*/ 1 w 2310"/>
                <a:gd name="T63" fmla="*/ 12 h 548"/>
                <a:gd name="T64" fmla="*/ 0 w 2310"/>
                <a:gd name="T65" fmla="*/ 15 h 548"/>
                <a:gd name="T66" fmla="*/ 0 w 2310"/>
                <a:gd name="T67" fmla="*/ 17 h 548"/>
                <a:gd name="T68" fmla="*/ 1 w 2310"/>
                <a:gd name="T69" fmla="*/ 20 h 548"/>
                <a:gd name="T70" fmla="*/ 2 w 2310"/>
                <a:gd name="T71" fmla="*/ 22 h 548"/>
                <a:gd name="T72" fmla="*/ 4 w 2310"/>
                <a:gd name="T73" fmla="*/ 24 h 548"/>
                <a:gd name="T74" fmla="*/ 6 w 2310"/>
                <a:gd name="T75" fmla="*/ 26 h 548"/>
                <a:gd name="T76" fmla="*/ 9 w 2310"/>
                <a:gd name="T77" fmla="*/ 28 h 548"/>
                <a:gd name="T78" fmla="*/ 12 w 2310"/>
                <a:gd name="T79" fmla="*/ 30 h 548"/>
                <a:gd name="T80" fmla="*/ 16 w 2310"/>
                <a:gd name="T81" fmla="*/ 31 h 548"/>
                <a:gd name="T82" fmla="*/ 20 w 2310"/>
                <a:gd name="T83" fmla="*/ 32 h 548"/>
                <a:gd name="T84" fmla="*/ 24 w 2310"/>
                <a:gd name="T85" fmla="*/ 33 h 548"/>
                <a:gd name="T86" fmla="*/ 29 w 2310"/>
                <a:gd name="T87" fmla="*/ 33 h 54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10"/>
                <a:gd name="T133" fmla="*/ 0 h 548"/>
                <a:gd name="T134" fmla="*/ 2310 w 2310"/>
                <a:gd name="T135" fmla="*/ 548 h 54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10" h="548">
                  <a:moveTo>
                    <a:pt x="274" y="548"/>
                  </a:moveTo>
                  <a:lnTo>
                    <a:pt x="2036" y="548"/>
                  </a:lnTo>
                  <a:lnTo>
                    <a:pt x="2050" y="547"/>
                  </a:lnTo>
                  <a:lnTo>
                    <a:pt x="2064" y="546"/>
                  </a:lnTo>
                  <a:lnTo>
                    <a:pt x="2078" y="545"/>
                  </a:lnTo>
                  <a:lnTo>
                    <a:pt x="2092" y="543"/>
                  </a:lnTo>
                  <a:lnTo>
                    <a:pt x="2104" y="539"/>
                  </a:lnTo>
                  <a:lnTo>
                    <a:pt x="2118" y="536"/>
                  </a:lnTo>
                  <a:lnTo>
                    <a:pt x="2130" y="531"/>
                  </a:lnTo>
                  <a:lnTo>
                    <a:pt x="2142" y="526"/>
                  </a:lnTo>
                  <a:lnTo>
                    <a:pt x="2155" y="521"/>
                  </a:lnTo>
                  <a:lnTo>
                    <a:pt x="2166" y="514"/>
                  </a:lnTo>
                  <a:lnTo>
                    <a:pt x="2178" y="508"/>
                  </a:lnTo>
                  <a:lnTo>
                    <a:pt x="2189" y="501"/>
                  </a:lnTo>
                  <a:lnTo>
                    <a:pt x="2200" y="493"/>
                  </a:lnTo>
                  <a:lnTo>
                    <a:pt x="2210" y="485"/>
                  </a:lnTo>
                  <a:lnTo>
                    <a:pt x="2220" y="477"/>
                  </a:lnTo>
                  <a:lnTo>
                    <a:pt x="2229" y="468"/>
                  </a:lnTo>
                  <a:lnTo>
                    <a:pt x="2239" y="458"/>
                  </a:lnTo>
                  <a:lnTo>
                    <a:pt x="2248" y="448"/>
                  </a:lnTo>
                  <a:lnTo>
                    <a:pt x="2255" y="438"/>
                  </a:lnTo>
                  <a:lnTo>
                    <a:pt x="2263" y="427"/>
                  </a:lnTo>
                  <a:lnTo>
                    <a:pt x="2270" y="416"/>
                  </a:lnTo>
                  <a:lnTo>
                    <a:pt x="2277" y="405"/>
                  </a:lnTo>
                  <a:lnTo>
                    <a:pt x="2283" y="392"/>
                  </a:lnTo>
                  <a:lnTo>
                    <a:pt x="2288" y="380"/>
                  </a:lnTo>
                  <a:lnTo>
                    <a:pt x="2293" y="368"/>
                  </a:lnTo>
                  <a:lnTo>
                    <a:pt x="2297" y="355"/>
                  </a:lnTo>
                  <a:lnTo>
                    <a:pt x="2301" y="343"/>
                  </a:lnTo>
                  <a:lnTo>
                    <a:pt x="2304" y="329"/>
                  </a:lnTo>
                  <a:lnTo>
                    <a:pt x="2306" y="316"/>
                  </a:lnTo>
                  <a:lnTo>
                    <a:pt x="2309" y="302"/>
                  </a:lnTo>
                  <a:lnTo>
                    <a:pt x="2310" y="288"/>
                  </a:lnTo>
                  <a:lnTo>
                    <a:pt x="2310" y="274"/>
                  </a:lnTo>
                  <a:lnTo>
                    <a:pt x="2310" y="260"/>
                  </a:lnTo>
                  <a:lnTo>
                    <a:pt x="2309" y="245"/>
                  </a:lnTo>
                  <a:lnTo>
                    <a:pt x="2306" y="232"/>
                  </a:lnTo>
                  <a:lnTo>
                    <a:pt x="2304" y="218"/>
                  </a:lnTo>
                  <a:lnTo>
                    <a:pt x="2301" y="206"/>
                  </a:lnTo>
                  <a:lnTo>
                    <a:pt x="2297" y="192"/>
                  </a:lnTo>
                  <a:lnTo>
                    <a:pt x="2293" y="180"/>
                  </a:lnTo>
                  <a:lnTo>
                    <a:pt x="2288" y="167"/>
                  </a:lnTo>
                  <a:lnTo>
                    <a:pt x="2283" y="155"/>
                  </a:lnTo>
                  <a:lnTo>
                    <a:pt x="2277" y="144"/>
                  </a:lnTo>
                  <a:lnTo>
                    <a:pt x="2270" y="132"/>
                  </a:lnTo>
                  <a:lnTo>
                    <a:pt x="2263" y="121"/>
                  </a:lnTo>
                  <a:lnTo>
                    <a:pt x="2255" y="110"/>
                  </a:lnTo>
                  <a:lnTo>
                    <a:pt x="2248" y="100"/>
                  </a:lnTo>
                  <a:lnTo>
                    <a:pt x="2239" y="89"/>
                  </a:lnTo>
                  <a:lnTo>
                    <a:pt x="2229" y="80"/>
                  </a:lnTo>
                  <a:lnTo>
                    <a:pt x="2220" y="71"/>
                  </a:lnTo>
                  <a:lnTo>
                    <a:pt x="2210" y="62"/>
                  </a:lnTo>
                  <a:lnTo>
                    <a:pt x="2200" y="54"/>
                  </a:lnTo>
                  <a:lnTo>
                    <a:pt x="2189" y="46"/>
                  </a:lnTo>
                  <a:lnTo>
                    <a:pt x="2178" y="40"/>
                  </a:lnTo>
                  <a:lnTo>
                    <a:pt x="2166" y="33"/>
                  </a:lnTo>
                  <a:lnTo>
                    <a:pt x="2155" y="27"/>
                  </a:lnTo>
                  <a:lnTo>
                    <a:pt x="2142" y="22"/>
                  </a:lnTo>
                  <a:lnTo>
                    <a:pt x="2130" y="17"/>
                  </a:lnTo>
                  <a:lnTo>
                    <a:pt x="2118" y="13"/>
                  </a:lnTo>
                  <a:lnTo>
                    <a:pt x="2104" y="9"/>
                  </a:lnTo>
                  <a:lnTo>
                    <a:pt x="2092" y="6"/>
                  </a:lnTo>
                  <a:lnTo>
                    <a:pt x="2078" y="4"/>
                  </a:lnTo>
                  <a:lnTo>
                    <a:pt x="2064" y="1"/>
                  </a:lnTo>
                  <a:lnTo>
                    <a:pt x="2050" y="0"/>
                  </a:lnTo>
                  <a:lnTo>
                    <a:pt x="2036" y="0"/>
                  </a:lnTo>
                  <a:lnTo>
                    <a:pt x="274" y="0"/>
                  </a:lnTo>
                  <a:lnTo>
                    <a:pt x="260" y="0"/>
                  </a:lnTo>
                  <a:lnTo>
                    <a:pt x="246" y="1"/>
                  </a:lnTo>
                  <a:lnTo>
                    <a:pt x="233" y="4"/>
                  </a:lnTo>
                  <a:lnTo>
                    <a:pt x="219" y="6"/>
                  </a:lnTo>
                  <a:lnTo>
                    <a:pt x="205" y="9"/>
                  </a:lnTo>
                  <a:lnTo>
                    <a:pt x="192" y="13"/>
                  </a:lnTo>
                  <a:lnTo>
                    <a:pt x="179" y="17"/>
                  </a:lnTo>
                  <a:lnTo>
                    <a:pt x="167" y="22"/>
                  </a:lnTo>
                  <a:lnTo>
                    <a:pt x="155" y="27"/>
                  </a:lnTo>
                  <a:lnTo>
                    <a:pt x="143" y="33"/>
                  </a:lnTo>
                  <a:lnTo>
                    <a:pt x="132" y="40"/>
                  </a:lnTo>
                  <a:lnTo>
                    <a:pt x="121" y="46"/>
                  </a:lnTo>
                  <a:lnTo>
                    <a:pt x="109" y="54"/>
                  </a:lnTo>
                  <a:lnTo>
                    <a:pt x="99" y="62"/>
                  </a:lnTo>
                  <a:lnTo>
                    <a:pt x="89" y="71"/>
                  </a:lnTo>
                  <a:lnTo>
                    <a:pt x="80" y="80"/>
                  </a:lnTo>
                  <a:lnTo>
                    <a:pt x="71" y="89"/>
                  </a:lnTo>
                  <a:lnTo>
                    <a:pt x="62" y="100"/>
                  </a:lnTo>
                  <a:lnTo>
                    <a:pt x="54" y="110"/>
                  </a:lnTo>
                  <a:lnTo>
                    <a:pt x="46" y="121"/>
                  </a:lnTo>
                  <a:lnTo>
                    <a:pt x="39" y="132"/>
                  </a:lnTo>
                  <a:lnTo>
                    <a:pt x="32" y="144"/>
                  </a:lnTo>
                  <a:lnTo>
                    <a:pt x="27" y="155"/>
                  </a:lnTo>
                  <a:lnTo>
                    <a:pt x="21" y="167"/>
                  </a:lnTo>
                  <a:lnTo>
                    <a:pt x="17" y="180"/>
                  </a:lnTo>
                  <a:lnTo>
                    <a:pt x="12" y="192"/>
                  </a:lnTo>
                  <a:lnTo>
                    <a:pt x="9" y="206"/>
                  </a:lnTo>
                  <a:lnTo>
                    <a:pt x="5" y="218"/>
                  </a:lnTo>
                  <a:lnTo>
                    <a:pt x="3" y="232"/>
                  </a:lnTo>
                  <a:lnTo>
                    <a:pt x="1" y="245"/>
                  </a:lnTo>
                  <a:lnTo>
                    <a:pt x="0" y="260"/>
                  </a:lnTo>
                  <a:lnTo>
                    <a:pt x="0" y="274"/>
                  </a:lnTo>
                  <a:lnTo>
                    <a:pt x="0" y="288"/>
                  </a:lnTo>
                  <a:lnTo>
                    <a:pt x="1" y="302"/>
                  </a:lnTo>
                  <a:lnTo>
                    <a:pt x="3" y="316"/>
                  </a:lnTo>
                  <a:lnTo>
                    <a:pt x="5" y="329"/>
                  </a:lnTo>
                  <a:lnTo>
                    <a:pt x="9" y="343"/>
                  </a:lnTo>
                  <a:lnTo>
                    <a:pt x="12" y="355"/>
                  </a:lnTo>
                  <a:lnTo>
                    <a:pt x="17" y="368"/>
                  </a:lnTo>
                  <a:lnTo>
                    <a:pt x="21" y="380"/>
                  </a:lnTo>
                  <a:lnTo>
                    <a:pt x="27" y="392"/>
                  </a:lnTo>
                  <a:lnTo>
                    <a:pt x="32" y="405"/>
                  </a:lnTo>
                  <a:lnTo>
                    <a:pt x="39" y="416"/>
                  </a:lnTo>
                  <a:lnTo>
                    <a:pt x="46" y="427"/>
                  </a:lnTo>
                  <a:lnTo>
                    <a:pt x="54" y="438"/>
                  </a:lnTo>
                  <a:lnTo>
                    <a:pt x="62" y="448"/>
                  </a:lnTo>
                  <a:lnTo>
                    <a:pt x="71" y="458"/>
                  </a:lnTo>
                  <a:lnTo>
                    <a:pt x="80" y="468"/>
                  </a:lnTo>
                  <a:lnTo>
                    <a:pt x="89" y="477"/>
                  </a:lnTo>
                  <a:lnTo>
                    <a:pt x="99" y="485"/>
                  </a:lnTo>
                  <a:lnTo>
                    <a:pt x="109" y="493"/>
                  </a:lnTo>
                  <a:lnTo>
                    <a:pt x="121" y="501"/>
                  </a:lnTo>
                  <a:lnTo>
                    <a:pt x="132" y="508"/>
                  </a:lnTo>
                  <a:lnTo>
                    <a:pt x="143" y="514"/>
                  </a:lnTo>
                  <a:lnTo>
                    <a:pt x="155" y="521"/>
                  </a:lnTo>
                  <a:lnTo>
                    <a:pt x="167" y="526"/>
                  </a:lnTo>
                  <a:lnTo>
                    <a:pt x="179" y="531"/>
                  </a:lnTo>
                  <a:lnTo>
                    <a:pt x="192" y="536"/>
                  </a:lnTo>
                  <a:lnTo>
                    <a:pt x="205" y="539"/>
                  </a:lnTo>
                  <a:lnTo>
                    <a:pt x="219" y="543"/>
                  </a:lnTo>
                  <a:lnTo>
                    <a:pt x="233" y="545"/>
                  </a:lnTo>
                  <a:lnTo>
                    <a:pt x="246" y="546"/>
                  </a:lnTo>
                  <a:lnTo>
                    <a:pt x="260" y="547"/>
                  </a:lnTo>
                  <a:lnTo>
                    <a:pt x="274" y="548"/>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4" name="Freeform 610"/>
            <p:cNvSpPr>
              <a:spLocks/>
            </p:cNvSpPr>
            <p:nvPr/>
          </p:nvSpPr>
          <p:spPr bwMode="auto">
            <a:xfrm>
              <a:off x="98" y="3934"/>
              <a:ext cx="770" cy="134"/>
            </a:xfrm>
            <a:custGeom>
              <a:avLst/>
              <a:gdLst>
                <a:gd name="T0" fmla="*/ 226 w 2310"/>
                <a:gd name="T1" fmla="*/ 33 h 548"/>
                <a:gd name="T2" fmla="*/ 231 w 2310"/>
                <a:gd name="T3" fmla="*/ 33 h 548"/>
                <a:gd name="T4" fmla="*/ 235 w 2310"/>
                <a:gd name="T5" fmla="*/ 32 h 548"/>
                <a:gd name="T6" fmla="*/ 239 w 2310"/>
                <a:gd name="T7" fmla="*/ 31 h 548"/>
                <a:gd name="T8" fmla="*/ 243 w 2310"/>
                <a:gd name="T9" fmla="*/ 30 h 548"/>
                <a:gd name="T10" fmla="*/ 247 w 2310"/>
                <a:gd name="T11" fmla="*/ 29 h 548"/>
                <a:gd name="T12" fmla="*/ 250 w 2310"/>
                <a:gd name="T13" fmla="*/ 27 h 548"/>
                <a:gd name="T14" fmla="*/ 252 w 2310"/>
                <a:gd name="T15" fmla="*/ 25 h 548"/>
                <a:gd name="T16" fmla="*/ 254 w 2310"/>
                <a:gd name="T17" fmla="*/ 23 h 548"/>
                <a:gd name="T18" fmla="*/ 256 w 2310"/>
                <a:gd name="T19" fmla="*/ 21 h 548"/>
                <a:gd name="T20" fmla="*/ 257 w 2310"/>
                <a:gd name="T21" fmla="*/ 18 h 548"/>
                <a:gd name="T22" fmla="*/ 257 w 2310"/>
                <a:gd name="T23" fmla="*/ 16 h 548"/>
                <a:gd name="T24" fmla="*/ 256 w 2310"/>
                <a:gd name="T25" fmla="*/ 14 h 548"/>
                <a:gd name="T26" fmla="*/ 255 w 2310"/>
                <a:gd name="T27" fmla="*/ 11 h 548"/>
                <a:gd name="T28" fmla="*/ 254 w 2310"/>
                <a:gd name="T29" fmla="*/ 9 h 548"/>
                <a:gd name="T30" fmla="*/ 251 w 2310"/>
                <a:gd name="T31" fmla="*/ 7 h 548"/>
                <a:gd name="T32" fmla="*/ 249 w 2310"/>
                <a:gd name="T33" fmla="*/ 5 h 548"/>
                <a:gd name="T34" fmla="*/ 246 w 2310"/>
                <a:gd name="T35" fmla="*/ 4 h 548"/>
                <a:gd name="T36" fmla="*/ 242 w 2310"/>
                <a:gd name="T37" fmla="*/ 2 h 548"/>
                <a:gd name="T38" fmla="*/ 238 w 2310"/>
                <a:gd name="T39" fmla="*/ 1 h 548"/>
                <a:gd name="T40" fmla="*/ 234 w 2310"/>
                <a:gd name="T41" fmla="*/ 0 h 548"/>
                <a:gd name="T42" fmla="*/ 229 w 2310"/>
                <a:gd name="T43" fmla="*/ 0 h 548"/>
                <a:gd name="T44" fmla="*/ 30 w 2310"/>
                <a:gd name="T45" fmla="*/ 0 h 548"/>
                <a:gd name="T46" fmla="*/ 26 w 2310"/>
                <a:gd name="T47" fmla="*/ 0 h 548"/>
                <a:gd name="T48" fmla="*/ 21 w 2310"/>
                <a:gd name="T49" fmla="*/ 1 h 548"/>
                <a:gd name="T50" fmla="*/ 17 w 2310"/>
                <a:gd name="T51" fmla="*/ 2 h 548"/>
                <a:gd name="T52" fmla="*/ 13 w 2310"/>
                <a:gd name="T53" fmla="*/ 3 h 548"/>
                <a:gd name="T54" fmla="*/ 10 w 2310"/>
                <a:gd name="T55" fmla="*/ 4 h 548"/>
                <a:gd name="T56" fmla="*/ 7 w 2310"/>
                <a:gd name="T57" fmla="*/ 6 h 548"/>
                <a:gd name="T58" fmla="*/ 4 w 2310"/>
                <a:gd name="T59" fmla="*/ 8 h 548"/>
                <a:gd name="T60" fmla="*/ 2 w 2310"/>
                <a:gd name="T61" fmla="*/ 10 h 548"/>
                <a:gd name="T62" fmla="*/ 1 w 2310"/>
                <a:gd name="T63" fmla="*/ 12 h 548"/>
                <a:gd name="T64" fmla="*/ 0 w 2310"/>
                <a:gd name="T65" fmla="*/ 15 h 548"/>
                <a:gd name="T66" fmla="*/ 0 w 2310"/>
                <a:gd name="T67" fmla="*/ 17 h 548"/>
                <a:gd name="T68" fmla="*/ 1 w 2310"/>
                <a:gd name="T69" fmla="*/ 20 h 548"/>
                <a:gd name="T70" fmla="*/ 2 w 2310"/>
                <a:gd name="T71" fmla="*/ 22 h 548"/>
                <a:gd name="T72" fmla="*/ 4 w 2310"/>
                <a:gd name="T73" fmla="*/ 24 h 548"/>
                <a:gd name="T74" fmla="*/ 6 w 2310"/>
                <a:gd name="T75" fmla="*/ 26 h 548"/>
                <a:gd name="T76" fmla="*/ 9 w 2310"/>
                <a:gd name="T77" fmla="*/ 28 h 548"/>
                <a:gd name="T78" fmla="*/ 12 w 2310"/>
                <a:gd name="T79" fmla="*/ 30 h 548"/>
                <a:gd name="T80" fmla="*/ 16 w 2310"/>
                <a:gd name="T81" fmla="*/ 31 h 548"/>
                <a:gd name="T82" fmla="*/ 20 w 2310"/>
                <a:gd name="T83" fmla="*/ 32 h 548"/>
                <a:gd name="T84" fmla="*/ 24 w 2310"/>
                <a:gd name="T85" fmla="*/ 33 h 548"/>
                <a:gd name="T86" fmla="*/ 29 w 2310"/>
                <a:gd name="T87" fmla="*/ 33 h 54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10"/>
                <a:gd name="T133" fmla="*/ 0 h 548"/>
                <a:gd name="T134" fmla="*/ 2310 w 2310"/>
                <a:gd name="T135" fmla="*/ 548 h 54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10" h="548">
                  <a:moveTo>
                    <a:pt x="274" y="548"/>
                  </a:moveTo>
                  <a:lnTo>
                    <a:pt x="2036" y="548"/>
                  </a:lnTo>
                  <a:lnTo>
                    <a:pt x="2050" y="547"/>
                  </a:lnTo>
                  <a:lnTo>
                    <a:pt x="2064" y="546"/>
                  </a:lnTo>
                  <a:lnTo>
                    <a:pt x="2078" y="545"/>
                  </a:lnTo>
                  <a:lnTo>
                    <a:pt x="2092" y="543"/>
                  </a:lnTo>
                  <a:lnTo>
                    <a:pt x="2104" y="539"/>
                  </a:lnTo>
                  <a:lnTo>
                    <a:pt x="2118" y="536"/>
                  </a:lnTo>
                  <a:lnTo>
                    <a:pt x="2130" y="531"/>
                  </a:lnTo>
                  <a:lnTo>
                    <a:pt x="2142" y="526"/>
                  </a:lnTo>
                  <a:lnTo>
                    <a:pt x="2155" y="521"/>
                  </a:lnTo>
                  <a:lnTo>
                    <a:pt x="2166" y="514"/>
                  </a:lnTo>
                  <a:lnTo>
                    <a:pt x="2178" y="508"/>
                  </a:lnTo>
                  <a:lnTo>
                    <a:pt x="2189" y="501"/>
                  </a:lnTo>
                  <a:lnTo>
                    <a:pt x="2200" y="493"/>
                  </a:lnTo>
                  <a:lnTo>
                    <a:pt x="2210" y="485"/>
                  </a:lnTo>
                  <a:lnTo>
                    <a:pt x="2220" y="477"/>
                  </a:lnTo>
                  <a:lnTo>
                    <a:pt x="2229" y="468"/>
                  </a:lnTo>
                  <a:lnTo>
                    <a:pt x="2239" y="458"/>
                  </a:lnTo>
                  <a:lnTo>
                    <a:pt x="2248" y="448"/>
                  </a:lnTo>
                  <a:lnTo>
                    <a:pt x="2255" y="438"/>
                  </a:lnTo>
                  <a:lnTo>
                    <a:pt x="2263" y="427"/>
                  </a:lnTo>
                  <a:lnTo>
                    <a:pt x="2270" y="416"/>
                  </a:lnTo>
                  <a:lnTo>
                    <a:pt x="2277" y="405"/>
                  </a:lnTo>
                  <a:lnTo>
                    <a:pt x="2283" y="392"/>
                  </a:lnTo>
                  <a:lnTo>
                    <a:pt x="2288" y="380"/>
                  </a:lnTo>
                  <a:lnTo>
                    <a:pt x="2293" y="368"/>
                  </a:lnTo>
                  <a:lnTo>
                    <a:pt x="2297" y="355"/>
                  </a:lnTo>
                  <a:lnTo>
                    <a:pt x="2301" y="343"/>
                  </a:lnTo>
                  <a:lnTo>
                    <a:pt x="2304" y="329"/>
                  </a:lnTo>
                  <a:lnTo>
                    <a:pt x="2306" y="316"/>
                  </a:lnTo>
                  <a:lnTo>
                    <a:pt x="2309" y="302"/>
                  </a:lnTo>
                  <a:lnTo>
                    <a:pt x="2310" y="288"/>
                  </a:lnTo>
                  <a:lnTo>
                    <a:pt x="2310" y="274"/>
                  </a:lnTo>
                  <a:lnTo>
                    <a:pt x="2310" y="260"/>
                  </a:lnTo>
                  <a:lnTo>
                    <a:pt x="2309" y="245"/>
                  </a:lnTo>
                  <a:lnTo>
                    <a:pt x="2306" y="232"/>
                  </a:lnTo>
                  <a:lnTo>
                    <a:pt x="2304" y="218"/>
                  </a:lnTo>
                  <a:lnTo>
                    <a:pt x="2301" y="206"/>
                  </a:lnTo>
                  <a:lnTo>
                    <a:pt x="2297" y="192"/>
                  </a:lnTo>
                  <a:lnTo>
                    <a:pt x="2293" y="180"/>
                  </a:lnTo>
                  <a:lnTo>
                    <a:pt x="2288" y="167"/>
                  </a:lnTo>
                  <a:lnTo>
                    <a:pt x="2283" y="155"/>
                  </a:lnTo>
                  <a:lnTo>
                    <a:pt x="2277" y="144"/>
                  </a:lnTo>
                  <a:lnTo>
                    <a:pt x="2270" y="132"/>
                  </a:lnTo>
                  <a:lnTo>
                    <a:pt x="2263" y="121"/>
                  </a:lnTo>
                  <a:lnTo>
                    <a:pt x="2255" y="110"/>
                  </a:lnTo>
                  <a:lnTo>
                    <a:pt x="2248" y="100"/>
                  </a:lnTo>
                  <a:lnTo>
                    <a:pt x="2239" y="89"/>
                  </a:lnTo>
                  <a:lnTo>
                    <a:pt x="2229" y="80"/>
                  </a:lnTo>
                  <a:lnTo>
                    <a:pt x="2220" y="71"/>
                  </a:lnTo>
                  <a:lnTo>
                    <a:pt x="2210" y="62"/>
                  </a:lnTo>
                  <a:lnTo>
                    <a:pt x="2200" y="54"/>
                  </a:lnTo>
                  <a:lnTo>
                    <a:pt x="2189" y="46"/>
                  </a:lnTo>
                  <a:lnTo>
                    <a:pt x="2178" y="40"/>
                  </a:lnTo>
                  <a:lnTo>
                    <a:pt x="2166" y="33"/>
                  </a:lnTo>
                  <a:lnTo>
                    <a:pt x="2155" y="27"/>
                  </a:lnTo>
                  <a:lnTo>
                    <a:pt x="2142" y="22"/>
                  </a:lnTo>
                  <a:lnTo>
                    <a:pt x="2130" y="17"/>
                  </a:lnTo>
                  <a:lnTo>
                    <a:pt x="2118" y="13"/>
                  </a:lnTo>
                  <a:lnTo>
                    <a:pt x="2104" y="9"/>
                  </a:lnTo>
                  <a:lnTo>
                    <a:pt x="2092" y="6"/>
                  </a:lnTo>
                  <a:lnTo>
                    <a:pt x="2078" y="4"/>
                  </a:lnTo>
                  <a:lnTo>
                    <a:pt x="2064" y="1"/>
                  </a:lnTo>
                  <a:lnTo>
                    <a:pt x="2050" y="0"/>
                  </a:lnTo>
                  <a:lnTo>
                    <a:pt x="2036" y="0"/>
                  </a:lnTo>
                  <a:lnTo>
                    <a:pt x="274" y="0"/>
                  </a:lnTo>
                  <a:lnTo>
                    <a:pt x="260" y="0"/>
                  </a:lnTo>
                  <a:lnTo>
                    <a:pt x="246" y="1"/>
                  </a:lnTo>
                  <a:lnTo>
                    <a:pt x="233" y="4"/>
                  </a:lnTo>
                  <a:lnTo>
                    <a:pt x="219" y="6"/>
                  </a:lnTo>
                  <a:lnTo>
                    <a:pt x="205" y="9"/>
                  </a:lnTo>
                  <a:lnTo>
                    <a:pt x="192" y="13"/>
                  </a:lnTo>
                  <a:lnTo>
                    <a:pt x="179" y="17"/>
                  </a:lnTo>
                  <a:lnTo>
                    <a:pt x="167" y="22"/>
                  </a:lnTo>
                  <a:lnTo>
                    <a:pt x="155" y="27"/>
                  </a:lnTo>
                  <a:lnTo>
                    <a:pt x="143" y="33"/>
                  </a:lnTo>
                  <a:lnTo>
                    <a:pt x="132" y="40"/>
                  </a:lnTo>
                  <a:lnTo>
                    <a:pt x="121" y="46"/>
                  </a:lnTo>
                  <a:lnTo>
                    <a:pt x="109" y="54"/>
                  </a:lnTo>
                  <a:lnTo>
                    <a:pt x="99" y="62"/>
                  </a:lnTo>
                  <a:lnTo>
                    <a:pt x="89" y="71"/>
                  </a:lnTo>
                  <a:lnTo>
                    <a:pt x="80" y="80"/>
                  </a:lnTo>
                  <a:lnTo>
                    <a:pt x="71" y="89"/>
                  </a:lnTo>
                  <a:lnTo>
                    <a:pt x="62" y="100"/>
                  </a:lnTo>
                  <a:lnTo>
                    <a:pt x="54" y="110"/>
                  </a:lnTo>
                  <a:lnTo>
                    <a:pt x="46" y="121"/>
                  </a:lnTo>
                  <a:lnTo>
                    <a:pt x="39" y="132"/>
                  </a:lnTo>
                  <a:lnTo>
                    <a:pt x="32" y="144"/>
                  </a:lnTo>
                  <a:lnTo>
                    <a:pt x="27" y="155"/>
                  </a:lnTo>
                  <a:lnTo>
                    <a:pt x="21" y="167"/>
                  </a:lnTo>
                  <a:lnTo>
                    <a:pt x="17" y="180"/>
                  </a:lnTo>
                  <a:lnTo>
                    <a:pt x="12" y="192"/>
                  </a:lnTo>
                  <a:lnTo>
                    <a:pt x="9" y="206"/>
                  </a:lnTo>
                  <a:lnTo>
                    <a:pt x="5" y="218"/>
                  </a:lnTo>
                  <a:lnTo>
                    <a:pt x="3" y="232"/>
                  </a:lnTo>
                  <a:lnTo>
                    <a:pt x="1" y="245"/>
                  </a:lnTo>
                  <a:lnTo>
                    <a:pt x="0" y="260"/>
                  </a:lnTo>
                  <a:lnTo>
                    <a:pt x="0" y="274"/>
                  </a:lnTo>
                  <a:lnTo>
                    <a:pt x="0" y="288"/>
                  </a:lnTo>
                  <a:lnTo>
                    <a:pt x="1" y="302"/>
                  </a:lnTo>
                  <a:lnTo>
                    <a:pt x="3" y="316"/>
                  </a:lnTo>
                  <a:lnTo>
                    <a:pt x="5" y="329"/>
                  </a:lnTo>
                  <a:lnTo>
                    <a:pt x="9" y="343"/>
                  </a:lnTo>
                  <a:lnTo>
                    <a:pt x="12" y="355"/>
                  </a:lnTo>
                  <a:lnTo>
                    <a:pt x="17" y="368"/>
                  </a:lnTo>
                  <a:lnTo>
                    <a:pt x="21" y="380"/>
                  </a:lnTo>
                  <a:lnTo>
                    <a:pt x="27" y="392"/>
                  </a:lnTo>
                  <a:lnTo>
                    <a:pt x="32" y="405"/>
                  </a:lnTo>
                  <a:lnTo>
                    <a:pt x="39" y="416"/>
                  </a:lnTo>
                  <a:lnTo>
                    <a:pt x="46" y="427"/>
                  </a:lnTo>
                  <a:lnTo>
                    <a:pt x="54" y="438"/>
                  </a:lnTo>
                  <a:lnTo>
                    <a:pt x="62" y="448"/>
                  </a:lnTo>
                  <a:lnTo>
                    <a:pt x="71" y="458"/>
                  </a:lnTo>
                  <a:lnTo>
                    <a:pt x="80" y="468"/>
                  </a:lnTo>
                  <a:lnTo>
                    <a:pt x="89" y="477"/>
                  </a:lnTo>
                  <a:lnTo>
                    <a:pt x="99" y="485"/>
                  </a:lnTo>
                  <a:lnTo>
                    <a:pt x="109" y="493"/>
                  </a:lnTo>
                  <a:lnTo>
                    <a:pt x="121" y="501"/>
                  </a:lnTo>
                  <a:lnTo>
                    <a:pt x="132" y="508"/>
                  </a:lnTo>
                  <a:lnTo>
                    <a:pt x="143" y="514"/>
                  </a:lnTo>
                  <a:lnTo>
                    <a:pt x="155" y="521"/>
                  </a:lnTo>
                  <a:lnTo>
                    <a:pt x="167" y="526"/>
                  </a:lnTo>
                  <a:lnTo>
                    <a:pt x="179" y="531"/>
                  </a:lnTo>
                  <a:lnTo>
                    <a:pt x="192" y="536"/>
                  </a:lnTo>
                  <a:lnTo>
                    <a:pt x="205" y="539"/>
                  </a:lnTo>
                  <a:lnTo>
                    <a:pt x="219" y="543"/>
                  </a:lnTo>
                  <a:lnTo>
                    <a:pt x="233" y="545"/>
                  </a:lnTo>
                  <a:lnTo>
                    <a:pt x="246" y="546"/>
                  </a:lnTo>
                  <a:lnTo>
                    <a:pt x="260" y="547"/>
                  </a:lnTo>
                  <a:lnTo>
                    <a:pt x="274" y="548"/>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5" name="Freeform 611"/>
            <p:cNvSpPr>
              <a:spLocks/>
            </p:cNvSpPr>
            <p:nvPr/>
          </p:nvSpPr>
          <p:spPr bwMode="auto">
            <a:xfrm>
              <a:off x="133" y="3948"/>
              <a:ext cx="717" cy="108"/>
            </a:xfrm>
            <a:custGeom>
              <a:avLst/>
              <a:gdLst>
                <a:gd name="T0" fmla="*/ 216 w 2152"/>
                <a:gd name="T1" fmla="*/ 26 h 437"/>
                <a:gd name="T2" fmla="*/ 219 w 2152"/>
                <a:gd name="T3" fmla="*/ 26 h 437"/>
                <a:gd name="T4" fmla="*/ 223 w 2152"/>
                <a:gd name="T5" fmla="*/ 25 h 437"/>
                <a:gd name="T6" fmla="*/ 226 w 2152"/>
                <a:gd name="T7" fmla="*/ 24 h 437"/>
                <a:gd name="T8" fmla="*/ 229 w 2152"/>
                <a:gd name="T9" fmla="*/ 24 h 437"/>
                <a:gd name="T10" fmla="*/ 232 w 2152"/>
                <a:gd name="T11" fmla="*/ 22 h 437"/>
                <a:gd name="T12" fmla="*/ 234 w 2152"/>
                <a:gd name="T13" fmla="*/ 21 h 437"/>
                <a:gd name="T14" fmla="*/ 236 w 2152"/>
                <a:gd name="T15" fmla="*/ 19 h 437"/>
                <a:gd name="T16" fmla="*/ 237 w 2152"/>
                <a:gd name="T17" fmla="*/ 18 h 437"/>
                <a:gd name="T18" fmla="*/ 238 w 2152"/>
                <a:gd name="T19" fmla="*/ 16 h 437"/>
                <a:gd name="T20" fmla="*/ 239 w 2152"/>
                <a:gd name="T21" fmla="*/ 14 h 437"/>
                <a:gd name="T22" fmla="*/ 239 w 2152"/>
                <a:gd name="T23" fmla="*/ 12 h 437"/>
                <a:gd name="T24" fmla="*/ 238 w 2152"/>
                <a:gd name="T25" fmla="*/ 11 h 437"/>
                <a:gd name="T26" fmla="*/ 237 w 2152"/>
                <a:gd name="T27" fmla="*/ 9 h 437"/>
                <a:gd name="T28" fmla="*/ 236 w 2152"/>
                <a:gd name="T29" fmla="*/ 7 h 437"/>
                <a:gd name="T30" fmla="*/ 234 w 2152"/>
                <a:gd name="T31" fmla="*/ 5 h 437"/>
                <a:gd name="T32" fmla="*/ 232 w 2152"/>
                <a:gd name="T33" fmla="*/ 4 h 437"/>
                <a:gd name="T34" fmla="*/ 229 w 2152"/>
                <a:gd name="T35" fmla="*/ 2 h 437"/>
                <a:gd name="T36" fmla="*/ 226 w 2152"/>
                <a:gd name="T37" fmla="*/ 1 h 437"/>
                <a:gd name="T38" fmla="*/ 223 w 2152"/>
                <a:gd name="T39" fmla="*/ 1 h 437"/>
                <a:gd name="T40" fmla="*/ 219 w 2152"/>
                <a:gd name="T41" fmla="*/ 0 h 437"/>
                <a:gd name="T42" fmla="*/ 216 w 2152"/>
                <a:gd name="T43" fmla="*/ 0 h 437"/>
                <a:gd name="T44" fmla="*/ 23 w 2152"/>
                <a:gd name="T45" fmla="*/ 0 h 437"/>
                <a:gd name="T46" fmla="*/ 19 w 2152"/>
                <a:gd name="T47" fmla="*/ 0 h 437"/>
                <a:gd name="T48" fmla="*/ 16 w 2152"/>
                <a:gd name="T49" fmla="*/ 1 h 437"/>
                <a:gd name="T50" fmla="*/ 13 w 2152"/>
                <a:gd name="T51" fmla="*/ 1 h 437"/>
                <a:gd name="T52" fmla="*/ 10 w 2152"/>
                <a:gd name="T53" fmla="*/ 2 h 437"/>
                <a:gd name="T54" fmla="*/ 7 w 2152"/>
                <a:gd name="T55" fmla="*/ 4 h 437"/>
                <a:gd name="T56" fmla="*/ 5 w 2152"/>
                <a:gd name="T57" fmla="*/ 5 h 437"/>
                <a:gd name="T58" fmla="*/ 3 w 2152"/>
                <a:gd name="T59" fmla="*/ 7 h 437"/>
                <a:gd name="T60" fmla="*/ 1 w 2152"/>
                <a:gd name="T61" fmla="*/ 9 h 437"/>
                <a:gd name="T62" fmla="*/ 0 w 2152"/>
                <a:gd name="T63" fmla="*/ 11 h 437"/>
                <a:gd name="T64" fmla="*/ 0 w 2152"/>
                <a:gd name="T65" fmla="*/ 12 h 437"/>
                <a:gd name="T66" fmla="*/ 0 w 2152"/>
                <a:gd name="T67" fmla="*/ 14 h 437"/>
                <a:gd name="T68" fmla="*/ 1 w 2152"/>
                <a:gd name="T69" fmla="*/ 16 h 437"/>
                <a:gd name="T70" fmla="*/ 2 w 2152"/>
                <a:gd name="T71" fmla="*/ 18 h 437"/>
                <a:gd name="T72" fmla="*/ 3 w 2152"/>
                <a:gd name="T73" fmla="*/ 20 h 437"/>
                <a:gd name="T74" fmla="*/ 6 w 2152"/>
                <a:gd name="T75" fmla="*/ 21 h 437"/>
                <a:gd name="T76" fmla="*/ 8 w 2152"/>
                <a:gd name="T77" fmla="*/ 23 h 437"/>
                <a:gd name="T78" fmla="*/ 11 w 2152"/>
                <a:gd name="T79" fmla="*/ 24 h 437"/>
                <a:gd name="T80" fmla="*/ 14 w 2152"/>
                <a:gd name="T81" fmla="*/ 25 h 437"/>
                <a:gd name="T82" fmla="*/ 17 w 2152"/>
                <a:gd name="T83" fmla="*/ 26 h 437"/>
                <a:gd name="T84" fmla="*/ 21 w 2152"/>
                <a:gd name="T85" fmla="*/ 26 h 437"/>
                <a:gd name="T86" fmla="*/ 24 w 2152"/>
                <a:gd name="T87" fmla="*/ 26 h 4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2"/>
                <a:gd name="T133" fmla="*/ 0 h 437"/>
                <a:gd name="T134" fmla="*/ 2152 w 2152"/>
                <a:gd name="T135" fmla="*/ 437 h 4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2" h="437">
                  <a:moveTo>
                    <a:pt x="218" y="437"/>
                  </a:moveTo>
                  <a:lnTo>
                    <a:pt x="1932" y="437"/>
                  </a:lnTo>
                  <a:lnTo>
                    <a:pt x="1944" y="436"/>
                  </a:lnTo>
                  <a:lnTo>
                    <a:pt x="1955" y="436"/>
                  </a:lnTo>
                  <a:lnTo>
                    <a:pt x="1966" y="434"/>
                  </a:lnTo>
                  <a:lnTo>
                    <a:pt x="1976" y="432"/>
                  </a:lnTo>
                  <a:lnTo>
                    <a:pt x="1987" y="429"/>
                  </a:lnTo>
                  <a:lnTo>
                    <a:pt x="1998" y="427"/>
                  </a:lnTo>
                  <a:lnTo>
                    <a:pt x="2008" y="423"/>
                  </a:lnTo>
                  <a:lnTo>
                    <a:pt x="2017" y="419"/>
                  </a:lnTo>
                  <a:lnTo>
                    <a:pt x="2027" y="414"/>
                  </a:lnTo>
                  <a:lnTo>
                    <a:pt x="2036" y="410"/>
                  </a:lnTo>
                  <a:lnTo>
                    <a:pt x="2045" y="405"/>
                  </a:lnTo>
                  <a:lnTo>
                    <a:pt x="2054" y="400"/>
                  </a:lnTo>
                  <a:lnTo>
                    <a:pt x="2063" y="393"/>
                  </a:lnTo>
                  <a:lnTo>
                    <a:pt x="2071" y="386"/>
                  </a:lnTo>
                  <a:lnTo>
                    <a:pt x="2079" y="379"/>
                  </a:lnTo>
                  <a:lnTo>
                    <a:pt x="2087" y="373"/>
                  </a:lnTo>
                  <a:lnTo>
                    <a:pt x="2094" y="365"/>
                  </a:lnTo>
                  <a:lnTo>
                    <a:pt x="2101" y="357"/>
                  </a:lnTo>
                  <a:lnTo>
                    <a:pt x="2108" y="349"/>
                  </a:lnTo>
                  <a:lnTo>
                    <a:pt x="2114" y="340"/>
                  </a:lnTo>
                  <a:lnTo>
                    <a:pt x="2120" y="331"/>
                  </a:lnTo>
                  <a:lnTo>
                    <a:pt x="2124" y="322"/>
                  </a:lnTo>
                  <a:lnTo>
                    <a:pt x="2129" y="313"/>
                  </a:lnTo>
                  <a:lnTo>
                    <a:pt x="2134" y="302"/>
                  </a:lnTo>
                  <a:lnTo>
                    <a:pt x="2138" y="293"/>
                  </a:lnTo>
                  <a:lnTo>
                    <a:pt x="2141" y="283"/>
                  </a:lnTo>
                  <a:lnTo>
                    <a:pt x="2144" y="272"/>
                  </a:lnTo>
                  <a:lnTo>
                    <a:pt x="2147" y="262"/>
                  </a:lnTo>
                  <a:lnTo>
                    <a:pt x="2148" y="252"/>
                  </a:lnTo>
                  <a:lnTo>
                    <a:pt x="2150" y="240"/>
                  </a:lnTo>
                  <a:lnTo>
                    <a:pt x="2150" y="229"/>
                  </a:lnTo>
                  <a:lnTo>
                    <a:pt x="2152" y="218"/>
                  </a:lnTo>
                  <a:lnTo>
                    <a:pt x="2150" y="206"/>
                  </a:lnTo>
                  <a:lnTo>
                    <a:pt x="2150" y="195"/>
                  </a:lnTo>
                  <a:lnTo>
                    <a:pt x="2148" y="185"/>
                  </a:lnTo>
                  <a:lnTo>
                    <a:pt x="2147" y="174"/>
                  </a:lnTo>
                  <a:lnTo>
                    <a:pt x="2144" y="163"/>
                  </a:lnTo>
                  <a:lnTo>
                    <a:pt x="2141" y="153"/>
                  </a:lnTo>
                  <a:lnTo>
                    <a:pt x="2138" y="143"/>
                  </a:lnTo>
                  <a:lnTo>
                    <a:pt x="2134" y="133"/>
                  </a:lnTo>
                  <a:lnTo>
                    <a:pt x="2129" y="123"/>
                  </a:lnTo>
                  <a:lnTo>
                    <a:pt x="2124" y="114"/>
                  </a:lnTo>
                  <a:lnTo>
                    <a:pt x="2120" y="105"/>
                  </a:lnTo>
                  <a:lnTo>
                    <a:pt x="2114" y="96"/>
                  </a:lnTo>
                  <a:lnTo>
                    <a:pt x="2108" y="88"/>
                  </a:lnTo>
                  <a:lnTo>
                    <a:pt x="2101" y="79"/>
                  </a:lnTo>
                  <a:lnTo>
                    <a:pt x="2094" y="71"/>
                  </a:lnTo>
                  <a:lnTo>
                    <a:pt x="2087" y="64"/>
                  </a:lnTo>
                  <a:lnTo>
                    <a:pt x="2079" y="56"/>
                  </a:lnTo>
                  <a:lnTo>
                    <a:pt x="2071" y="49"/>
                  </a:lnTo>
                  <a:lnTo>
                    <a:pt x="2063" y="42"/>
                  </a:lnTo>
                  <a:lnTo>
                    <a:pt x="2054" y="37"/>
                  </a:lnTo>
                  <a:lnTo>
                    <a:pt x="2045" y="31"/>
                  </a:lnTo>
                  <a:lnTo>
                    <a:pt x="2036" y="26"/>
                  </a:lnTo>
                  <a:lnTo>
                    <a:pt x="2027" y="21"/>
                  </a:lnTo>
                  <a:lnTo>
                    <a:pt x="2017" y="16"/>
                  </a:lnTo>
                  <a:lnTo>
                    <a:pt x="2008" y="13"/>
                  </a:lnTo>
                  <a:lnTo>
                    <a:pt x="1998" y="10"/>
                  </a:lnTo>
                  <a:lnTo>
                    <a:pt x="1987" y="6"/>
                  </a:lnTo>
                  <a:lnTo>
                    <a:pt x="1976" y="4"/>
                  </a:lnTo>
                  <a:lnTo>
                    <a:pt x="1966" y="2"/>
                  </a:lnTo>
                  <a:lnTo>
                    <a:pt x="1955" y="1"/>
                  </a:lnTo>
                  <a:lnTo>
                    <a:pt x="1944" y="0"/>
                  </a:lnTo>
                  <a:lnTo>
                    <a:pt x="1932" y="0"/>
                  </a:lnTo>
                  <a:lnTo>
                    <a:pt x="218" y="0"/>
                  </a:lnTo>
                  <a:lnTo>
                    <a:pt x="207" y="0"/>
                  </a:lnTo>
                  <a:lnTo>
                    <a:pt x="195" y="1"/>
                  </a:lnTo>
                  <a:lnTo>
                    <a:pt x="185" y="2"/>
                  </a:lnTo>
                  <a:lnTo>
                    <a:pt x="174" y="4"/>
                  </a:lnTo>
                  <a:lnTo>
                    <a:pt x="164" y="6"/>
                  </a:lnTo>
                  <a:lnTo>
                    <a:pt x="152" y="10"/>
                  </a:lnTo>
                  <a:lnTo>
                    <a:pt x="142" y="13"/>
                  </a:lnTo>
                  <a:lnTo>
                    <a:pt x="133" y="16"/>
                  </a:lnTo>
                  <a:lnTo>
                    <a:pt x="123" y="21"/>
                  </a:lnTo>
                  <a:lnTo>
                    <a:pt x="114" y="26"/>
                  </a:lnTo>
                  <a:lnTo>
                    <a:pt x="105" y="31"/>
                  </a:lnTo>
                  <a:lnTo>
                    <a:pt x="96" y="37"/>
                  </a:lnTo>
                  <a:lnTo>
                    <a:pt x="87" y="42"/>
                  </a:lnTo>
                  <a:lnTo>
                    <a:pt x="79" y="49"/>
                  </a:lnTo>
                  <a:lnTo>
                    <a:pt x="71" y="56"/>
                  </a:lnTo>
                  <a:lnTo>
                    <a:pt x="63" y="64"/>
                  </a:lnTo>
                  <a:lnTo>
                    <a:pt x="56" y="71"/>
                  </a:lnTo>
                  <a:lnTo>
                    <a:pt x="50" y="79"/>
                  </a:lnTo>
                  <a:lnTo>
                    <a:pt x="43" y="88"/>
                  </a:lnTo>
                  <a:lnTo>
                    <a:pt x="37" y="96"/>
                  </a:lnTo>
                  <a:lnTo>
                    <a:pt x="31" y="105"/>
                  </a:lnTo>
                  <a:lnTo>
                    <a:pt x="26" y="114"/>
                  </a:lnTo>
                  <a:lnTo>
                    <a:pt x="21" y="123"/>
                  </a:lnTo>
                  <a:lnTo>
                    <a:pt x="17" y="133"/>
                  </a:lnTo>
                  <a:lnTo>
                    <a:pt x="12" y="143"/>
                  </a:lnTo>
                  <a:lnTo>
                    <a:pt x="9" y="153"/>
                  </a:lnTo>
                  <a:lnTo>
                    <a:pt x="7" y="163"/>
                  </a:lnTo>
                  <a:lnTo>
                    <a:pt x="3" y="174"/>
                  </a:lnTo>
                  <a:lnTo>
                    <a:pt x="2" y="185"/>
                  </a:lnTo>
                  <a:lnTo>
                    <a:pt x="1" y="195"/>
                  </a:lnTo>
                  <a:lnTo>
                    <a:pt x="0" y="206"/>
                  </a:lnTo>
                  <a:lnTo>
                    <a:pt x="0" y="218"/>
                  </a:lnTo>
                  <a:lnTo>
                    <a:pt x="0" y="229"/>
                  </a:lnTo>
                  <a:lnTo>
                    <a:pt x="1" y="240"/>
                  </a:lnTo>
                  <a:lnTo>
                    <a:pt x="2" y="252"/>
                  </a:lnTo>
                  <a:lnTo>
                    <a:pt x="3" y="262"/>
                  </a:lnTo>
                  <a:lnTo>
                    <a:pt x="7" y="272"/>
                  </a:lnTo>
                  <a:lnTo>
                    <a:pt x="9" y="283"/>
                  </a:lnTo>
                  <a:lnTo>
                    <a:pt x="12" y="293"/>
                  </a:lnTo>
                  <a:lnTo>
                    <a:pt x="17" y="302"/>
                  </a:lnTo>
                  <a:lnTo>
                    <a:pt x="21" y="313"/>
                  </a:lnTo>
                  <a:lnTo>
                    <a:pt x="26" y="322"/>
                  </a:lnTo>
                  <a:lnTo>
                    <a:pt x="31" y="331"/>
                  </a:lnTo>
                  <a:lnTo>
                    <a:pt x="37" y="340"/>
                  </a:lnTo>
                  <a:lnTo>
                    <a:pt x="43" y="349"/>
                  </a:lnTo>
                  <a:lnTo>
                    <a:pt x="50" y="357"/>
                  </a:lnTo>
                  <a:lnTo>
                    <a:pt x="56" y="365"/>
                  </a:lnTo>
                  <a:lnTo>
                    <a:pt x="63" y="373"/>
                  </a:lnTo>
                  <a:lnTo>
                    <a:pt x="71" y="379"/>
                  </a:lnTo>
                  <a:lnTo>
                    <a:pt x="79" y="386"/>
                  </a:lnTo>
                  <a:lnTo>
                    <a:pt x="87" y="393"/>
                  </a:lnTo>
                  <a:lnTo>
                    <a:pt x="96" y="400"/>
                  </a:lnTo>
                  <a:lnTo>
                    <a:pt x="105" y="405"/>
                  </a:lnTo>
                  <a:lnTo>
                    <a:pt x="114" y="410"/>
                  </a:lnTo>
                  <a:lnTo>
                    <a:pt x="123" y="414"/>
                  </a:lnTo>
                  <a:lnTo>
                    <a:pt x="133" y="419"/>
                  </a:lnTo>
                  <a:lnTo>
                    <a:pt x="142" y="423"/>
                  </a:lnTo>
                  <a:lnTo>
                    <a:pt x="152" y="427"/>
                  </a:lnTo>
                  <a:lnTo>
                    <a:pt x="164" y="429"/>
                  </a:lnTo>
                  <a:lnTo>
                    <a:pt x="174" y="432"/>
                  </a:lnTo>
                  <a:lnTo>
                    <a:pt x="185" y="434"/>
                  </a:lnTo>
                  <a:lnTo>
                    <a:pt x="195" y="436"/>
                  </a:lnTo>
                  <a:lnTo>
                    <a:pt x="207" y="436"/>
                  </a:lnTo>
                  <a:lnTo>
                    <a:pt x="218" y="437"/>
                  </a:lnTo>
                  <a:close/>
                </a:path>
              </a:pathLst>
            </a:custGeom>
            <a:no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6" name="Freeform 612"/>
            <p:cNvSpPr>
              <a:spLocks/>
            </p:cNvSpPr>
            <p:nvPr/>
          </p:nvSpPr>
          <p:spPr bwMode="auto">
            <a:xfrm>
              <a:off x="133" y="3948"/>
              <a:ext cx="717" cy="108"/>
            </a:xfrm>
            <a:custGeom>
              <a:avLst/>
              <a:gdLst>
                <a:gd name="T0" fmla="*/ 216 w 2152"/>
                <a:gd name="T1" fmla="*/ 26 h 437"/>
                <a:gd name="T2" fmla="*/ 219 w 2152"/>
                <a:gd name="T3" fmla="*/ 26 h 437"/>
                <a:gd name="T4" fmla="*/ 223 w 2152"/>
                <a:gd name="T5" fmla="*/ 25 h 437"/>
                <a:gd name="T6" fmla="*/ 226 w 2152"/>
                <a:gd name="T7" fmla="*/ 24 h 437"/>
                <a:gd name="T8" fmla="*/ 229 w 2152"/>
                <a:gd name="T9" fmla="*/ 24 h 437"/>
                <a:gd name="T10" fmla="*/ 232 w 2152"/>
                <a:gd name="T11" fmla="*/ 22 h 437"/>
                <a:gd name="T12" fmla="*/ 234 w 2152"/>
                <a:gd name="T13" fmla="*/ 21 h 437"/>
                <a:gd name="T14" fmla="*/ 236 w 2152"/>
                <a:gd name="T15" fmla="*/ 19 h 437"/>
                <a:gd name="T16" fmla="*/ 237 w 2152"/>
                <a:gd name="T17" fmla="*/ 18 h 437"/>
                <a:gd name="T18" fmla="*/ 238 w 2152"/>
                <a:gd name="T19" fmla="*/ 16 h 437"/>
                <a:gd name="T20" fmla="*/ 239 w 2152"/>
                <a:gd name="T21" fmla="*/ 14 h 437"/>
                <a:gd name="T22" fmla="*/ 239 w 2152"/>
                <a:gd name="T23" fmla="*/ 12 h 437"/>
                <a:gd name="T24" fmla="*/ 238 w 2152"/>
                <a:gd name="T25" fmla="*/ 11 h 437"/>
                <a:gd name="T26" fmla="*/ 237 w 2152"/>
                <a:gd name="T27" fmla="*/ 9 h 437"/>
                <a:gd name="T28" fmla="*/ 236 w 2152"/>
                <a:gd name="T29" fmla="*/ 7 h 437"/>
                <a:gd name="T30" fmla="*/ 234 w 2152"/>
                <a:gd name="T31" fmla="*/ 5 h 437"/>
                <a:gd name="T32" fmla="*/ 232 w 2152"/>
                <a:gd name="T33" fmla="*/ 4 h 437"/>
                <a:gd name="T34" fmla="*/ 229 w 2152"/>
                <a:gd name="T35" fmla="*/ 2 h 437"/>
                <a:gd name="T36" fmla="*/ 226 w 2152"/>
                <a:gd name="T37" fmla="*/ 1 h 437"/>
                <a:gd name="T38" fmla="*/ 223 w 2152"/>
                <a:gd name="T39" fmla="*/ 1 h 437"/>
                <a:gd name="T40" fmla="*/ 219 w 2152"/>
                <a:gd name="T41" fmla="*/ 0 h 437"/>
                <a:gd name="T42" fmla="*/ 216 w 2152"/>
                <a:gd name="T43" fmla="*/ 0 h 437"/>
                <a:gd name="T44" fmla="*/ 23 w 2152"/>
                <a:gd name="T45" fmla="*/ 0 h 437"/>
                <a:gd name="T46" fmla="*/ 19 w 2152"/>
                <a:gd name="T47" fmla="*/ 0 h 437"/>
                <a:gd name="T48" fmla="*/ 16 w 2152"/>
                <a:gd name="T49" fmla="*/ 1 h 437"/>
                <a:gd name="T50" fmla="*/ 13 w 2152"/>
                <a:gd name="T51" fmla="*/ 1 h 437"/>
                <a:gd name="T52" fmla="*/ 10 w 2152"/>
                <a:gd name="T53" fmla="*/ 2 h 437"/>
                <a:gd name="T54" fmla="*/ 7 w 2152"/>
                <a:gd name="T55" fmla="*/ 4 h 437"/>
                <a:gd name="T56" fmla="*/ 5 w 2152"/>
                <a:gd name="T57" fmla="*/ 5 h 437"/>
                <a:gd name="T58" fmla="*/ 3 w 2152"/>
                <a:gd name="T59" fmla="*/ 7 h 437"/>
                <a:gd name="T60" fmla="*/ 1 w 2152"/>
                <a:gd name="T61" fmla="*/ 9 h 437"/>
                <a:gd name="T62" fmla="*/ 0 w 2152"/>
                <a:gd name="T63" fmla="*/ 11 h 437"/>
                <a:gd name="T64" fmla="*/ 0 w 2152"/>
                <a:gd name="T65" fmla="*/ 12 h 437"/>
                <a:gd name="T66" fmla="*/ 0 w 2152"/>
                <a:gd name="T67" fmla="*/ 14 h 437"/>
                <a:gd name="T68" fmla="*/ 1 w 2152"/>
                <a:gd name="T69" fmla="*/ 16 h 437"/>
                <a:gd name="T70" fmla="*/ 2 w 2152"/>
                <a:gd name="T71" fmla="*/ 18 h 437"/>
                <a:gd name="T72" fmla="*/ 3 w 2152"/>
                <a:gd name="T73" fmla="*/ 20 h 437"/>
                <a:gd name="T74" fmla="*/ 6 w 2152"/>
                <a:gd name="T75" fmla="*/ 21 h 437"/>
                <a:gd name="T76" fmla="*/ 8 w 2152"/>
                <a:gd name="T77" fmla="*/ 23 h 437"/>
                <a:gd name="T78" fmla="*/ 11 w 2152"/>
                <a:gd name="T79" fmla="*/ 24 h 437"/>
                <a:gd name="T80" fmla="*/ 14 w 2152"/>
                <a:gd name="T81" fmla="*/ 25 h 437"/>
                <a:gd name="T82" fmla="*/ 17 w 2152"/>
                <a:gd name="T83" fmla="*/ 26 h 437"/>
                <a:gd name="T84" fmla="*/ 21 w 2152"/>
                <a:gd name="T85" fmla="*/ 26 h 437"/>
                <a:gd name="T86" fmla="*/ 24 w 2152"/>
                <a:gd name="T87" fmla="*/ 26 h 4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2"/>
                <a:gd name="T133" fmla="*/ 0 h 437"/>
                <a:gd name="T134" fmla="*/ 2152 w 2152"/>
                <a:gd name="T135" fmla="*/ 437 h 4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2" h="437">
                  <a:moveTo>
                    <a:pt x="218" y="437"/>
                  </a:moveTo>
                  <a:lnTo>
                    <a:pt x="1932" y="437"/>
                  </a:lnTo>
                  <a:lnTo>
                    <a:pt x="1944" y="436"/>
                  </a:lnTo>
                  <a:lnTo>
                    <a:pt x="1955" y="436"/>
                  </a:lnTo>
                  <a:lnTo>
                    <a:pt x="1966" y="434"/>
                  </a:lnTo>
                  <a:lnTo>
                    <a:pt x="1976" y="432"/>
                  </a:lnTo>
                  <a:lnTo>
                    <a:pt x="1987" y="429"/>
                  </a:lnTo>
                  <a:lnTo>
                    <a:pt x="1998" y="427"/>
                  </a:lnTo>
                  <a:lnTo>
                    <a:pt x="2008" y="423"/>
                  </a:lnTo>
                  <a:lnTo>
                    <a:pt x="2017" y="419"/>
                  </a:lnTo>
                  <a:lnTo>
                    <a:pt x="2027" y="414"/>
                  </a:lnTo>
                  <a:lnTo>
                    <a:pt x="2036" y="410"/>
                  </a:lnTo>
                  <a:lnTo>
                    <a:pt x="2045" y="405"/>
                  </a:lnTo>
                  <a:lnTo>
                    <a:pt x="2054" y="400"/>
                  </a:lnTo>
                  <a:lnTo>
                    <a:pt x="2063" y="393"/>
                  </a:lnTo>
                  <a:lnTo>
                    <a:pt x="2071" y="386"/>
                  </a:lnTo>
                  <a:lnTo>
                    <a:pt x="2079" y="379"/>
                  </a:lnTo>
                  <a:lnTo>
                    <a:pt x="2087" y="373"/>
                  </a:lnTo>
                  <a:lnTo>
                    <a:pt x="2094" y="365"/>
                  </a:lnTo>
                  <a:lnTo>
                    <a:pt x="2101" y="357"/>
                  </a:lnTo>
                  <a:lnTo>
                    <a:pt x="2108" y="349"/>
                  </a:lnTo>
                  <a:lnTo>
                    <a:pt x="2114" y="340"/>
                  </a:lnTo>
                  <a:lnTo>
                    <a:pt x="2120" y="331"/>
                  </a:lnTo>
                  <a:lnTo>
                    <a:pt x="2124" y="322"/>
                  </a:lnTo>
                  <a:lnTo>
                    <a:pt x="2129" y="313"/>
                  </a:lnTo>
                  <a:lnTo>
                    <a:pt x="2134" y="302"/>
                  </a:lnTo>
                  <a:lnTo>
                    <a:pt x="2138" y="293"/>
                  </a:lnTo>
                  <a:lnTo>
                    <a:pt x="2141" y="283"/>
                  </a:lnTo>
                  <a:lnTo>
                    <a:pt x="2144" y="272"/>
                  </a:lnTo>
                  <a:lnTo>
                    <a:pt x="2147" y="262"/>
                  </a:lnTo>
                  <a:lnTo>
                    <a:pt x="2148" y="252"/>
                  </a:lnTo>
                  <a:lnTo>
                    <a:pt x="2150" y="240"/>
                  </a:lnTo>
                  <a:lnTo>
                    <a:pt x="2150" y="229"/>
                  </a:lnTo>
                  <a:lnTo>
                    <a:pt x="2152" y="218"/>
                  </a:lnTo>
                  <a:lnTo>
                    <a:pt x="2150" y="206"/>
                  </a:lnTo>
                  <a:lnTo>
                    <a:pt x="2150" y="195"/>
                  </a:lnTo>
                  <a:lnTo>
                    <a:pt x="2148" y="185"/>
                  </a:lnTo>
                  <a:lnTo>
                    <a:pt x="2147" y="174"/>
                  </a:lnTo>
                  <a:lnTo>
                    <a:pt x="2144" y="163"/>
                  </a:lnTo>
                  <a:lnTo>
                    <a:pt x="2141" y="153"/>
                  </a:lnTo>
                  <a:lnTo>
                    <a:pt x="2138" y="143"/>
                  </a:lnTo>
                  <a:lnTo>
                    <a:pt x="2134" y="133"/>
                  </a:lnTo>
                  <a:lnTo>
                    <a:pt x="2129" y="123"/>
                  </a:lnTo>
                  <a:lnTo>
                    <a:pt x="2124" y="114"/>
                  </a:lnTo>
                  <a:lnTo>
                    <a:pt x="2120" y="105"/>
                  </a:lnTo>
                  <a:lnTo>
                    <a:pt x="2114" y="96"/>
                  </a:lnTo>
                  <a:lnTo>
                    <a:pt x="2108" y="88"/>
                  </a:lnTo>
                  <a:lnTo>
                    <a:pt x="2101" y="79"/>
                  </a:lnTo>
                  <a:lnTo>
                    <a:pt x="2094" y="71"/>
                  </a:lnTo>
                  <a:lnTo>
                    <a:pt x="2087" y="64"/>
                  </a:lnTo>
                  <a:lnTo>
                    <a:pt x="2079" y="56"/>
                  </a:lnTo>
                  <a:lnTo>
                    <a:pt x="2071" y="49"/>
                  </a:lnTo>
                  <a:lnTo>
                    <a:pt x="2063" y="42"/>
                  </a:lnTo>
                  <a:lnTo>
                    <a:pt x="2054" y="37"/>
                  </a:lnTo>
                  <a:lnTo>
                    <a:pt x="2045" y="31"/>
                  </a:lnTo>
                  <a:lnTo>
                    <a:pt x="2036" y="26"/>
                  </a:lnTo>
                  <a:lnTo>
                    <a:pt x="2027" y="21"/>
                  </a:lnTo>
                  <a:lnTo>
                    <a:pt x="2017" y="16"/>
                  </a:lnTo>
                  <a:lnTo>
                    <a:pt x="2008" y="13"/>
                  </a:lnTo>
                  <a:lnTo>
                    <a:pt x="1998" y="10"/>
                  </a:lnTo>
                  <a:lnTo>
                    <a:pt x="1987" y="6"/>
                  </a:lnTo>
                  <a:lnTo>
                    <a:pt x="1976" y="4"/>
                  </a:lnTo>
                  <a:lnTo>
                    <a:pt x="1966" y="2"/>
                  </a:lnTo>
                  <a:lnTo>
                    <a:pt x="1955" y="1"/>
                  </a:lnTo>
                  <a:lnTo>
                    <a:pt x="1944" y="0"/>
                  </a:lnTo>
                  <a:lnTo>
                    <a:pt x="1932" y="0"/>
                  </a:lnTo>
                  <a:lnTo>
                    <a:pt x="218" y="0"/>
                  </a:lnTo>
                  <a:lnTo>
                    <a:pt x="207" y="0"/>
                  </a:lnTo>
                  <a:lnTo>
                    <a:pt x="195" y="1"/>
                  </a:lnTo>
                  <a:lnTo>
                    <a:pt x="185" y="2"/>
                  </a:lnTo>
                  <a:lnTo>
                    <a:pt x="174" y="4"/>
                  </a:lnTo>
                  <a:lnTo>
                    <a:pt x="164" y="6"/>
                  </a:lnTo>
                  <a:lnTo>
                    <a:pt x="152" y="10"/>
                  </a:lnTo>
                  <a:lnTo>
                    <a:pt x="142" y="13"/>
                  </a:lnTo>
                  <a:lnTo>
                    <a:pt x="133" y="16"/>
                  </a:lnTo>
                  <a:lnTo>
                    <a:pt x="123" y="21"/>
                  </a:lnTo>
                  <a:lnTo>
                    <a:pt x="114" y="26"/>
                  </a:lnTo>
                  <a:lnTo>
                    <a:pt x="105" y="31"/>
                  </a:lnTo>
                  <a:lnTo>
                    <a:pt x="96" y="37"/>
                  </a:lnTo>
                  <a:lnTo>
                    <a:pt x="87" y="42"/>
                  </a:lnTo>
                  <a:lnTo>
                    <a:pt x="79" y="49"/>
                  </a:lnTo>
                  <a:lnTo>
                    <a:pt x="71" y="56"/>
                  </a:lnTo>
                  <a:lnTo>
                    <a:pt x="63" y="64"/>
                  </a:lnTo>
                  <a:lnTo>
                    <a:pt x="56" y="71"/>
                  </a:lnTo>
                  <a:lnTo>
                    <a:pt x="50" y="79"/>
                  </a:lnTo>
                  <a:lnTo>
                    <a:pt x="43" y="88"/>
                  </a:lnTo>
                  <a:lnTo>
                    <a:pt x="37" y="96"/>
                  </a:lnTo>
                  <a:lnTo>
                    <a:pt x="31" y="105"/>
                  </a:lnTo>
                  <a:lnTo>
                    <a:pt x="26" y="114"/>
                  </a:lnTo>
                  <a:lnTo>
                    <a:pt x="21" y="123"/>
                  </a:lnTo>
                  <a:lnTo>
                    <a:pt x="17" y="133"/>
                  </a:lnTo>
                  <a:lnTo>
                    <a:pt x="12" y="143"/>
                  </a:lnTo>
                  <a:lnTo>
                    <a:pt x="9" y="153"/>
                  </a:lnTo>
                  <a:lnTo>
                    <a:pt x="7" y="163"/>
                  </a:lnTo>
                  <a:lnTo>
                    <a:pt x="3" y="174"/>
                  </a:lnTo>
                  <a:lnTo>
                    <a:pt x="2" y="185"/>
                  </a:lnTo>
                  <a:lnTo>
                    <a:pt x="1" y="195"/>
                  </a:lnTo>
                  <a:lnTo>
                    <a:pt x="0" y="206"/>
                  </a:lnTo>
                  <a:lnTo>
                    <a:pt x="0" y="218"/>
                  </a:lnTo>
                  <a:lnTo>
                    <a:pt x="0" y="229"/>
                  </a:lnTo>
                  <a:lnTo>
                    <a:pt x="1" y="240"/>
                  </a:lnTo>
                  <a:lnTo>
                    <a:pt x="2" y="252"/>
                  </a:lnTo>
                  <a:lnTo>
                    <a:pt x="3" y="262"/>
                  </a:lnTo>
                  <a:lnTo>
                    <a:pt x="7" y="272"/>
                  </a:lnTo>
                  <a:lnTo>
                    <a:pt x="9" y="283"/>
                  </a:lnTo>
                  <a:lnTo>
                    <a:pt x="12" y="293"/>
                  </a:lnTo>
                  <a:lnTo>
                    <a:pt x="17" y="302"/>
                  </a:lnTo>
                  <a:lnTo>
                    <a:pt x="21" y="313"/>
                  </a:lnTo>
                  <a:lnTo>
                    <a:pt x="26" y="322"/>
                  </a:lnTo>
                  <a:lnTo>
                    <a:pt x="31" y="331"/>
                  </a:lnTo>
                  <a:lnTo>
                    <a:pt x="37" y="340"/>
                  </a:lnTo>
                  <a:lnTo>
                    <a:pt x="43" y="349"/>
                  </a:lnTo>
                  <a:lnTo>
                    <a:pt x="50" y="357"/>
                  </a:lnTo>
                  <a:lnTo>
                    <a:pt x="56" y="365"/>
                  </a:lnTo>
                  <a:lnTo>
                    <a:pt x="63" y="373"/>
                  </a:lnTo>
                  <a:lnTo>
                    <a:pt x="71" y="379"/>
                  </a:lnTo>
                  <a:lnTo>
                    <a:pt x="79" y="386"/>
                  </a:lnTo>
                  <a:lnTo>
                    <a:pt x="87" y="393"/>
                  </a:lnTo>
                  <a:lnTo>
                    <a:pt x="96" y="400"/>
                  </a:lnTo>
                  <a:lnTo>
                    <a:pt x="105" y="405"/>
                  </a:lnTo>
                  <a:lnTo>
                    <a:pt x="114" y="410"/>
                  </a:lnTo>
                  <a:lnTo>
                    <a:pt x="123" y="414"/>
                  </a:lnTo>
                  <a:lnTo>
                    <a:pt x="133" y="419"/>
                  </a:lnTo>
                  <a:lnTo>
                    <a:pt x="142" y="423"/>
                  </a:lnTo>
                  <a:lnTo>
                    <a:pt x="152" y="427"/>
                  </a:lnTo>
                  <a:lnTo>
                    <a:pt x="164" y="429"/>
                  </a:lnTo>
                  <a:lnTo>
                    <a:pt x="174" y="432"/>
                  </a:lnTo>
                  <a:lnTo>
                    <a:pt x="185" y="434"/>
                  </a:lnTo>
                  <a:lnTo>
                    <a:pt x="195" y="436"/>
                  </a:lnTo>
                  <a:lnTo>
                    <a:pt x="207" y="436"/>
                  </a:lnTo>
                  <a:lnTo>
                    <a:pt x="218" y="437"/>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7" name="Rectangle 613"/>
            <p:cNvSpPr>
              <a:spLocks noChangeArrowheads="1"/>
            </p:cNvSpPr>
            <p:nvPr/>
          </p:nvSpPr>
          <p:spPr bwMode="auto">
            <a:xfrm>
              <a:off x="272" y="3974"/>
              <a:ext cx="433" cy="66"/>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800" kern="0" baseline="0">
                  <a:solidFill>
                    <a:srgbClr val="000000"/>
                  </a:solidFill>
                  <a:latin typeface="Arial" charset="0"/>
                  <a:ea typeface="ＭＳ Ｐゴシック"/>
                  <a:cs typeface="ＭＳ Ｐゴシック"/>
                </a:rPr>
                <a:t>Back to Level </a:t>
              </a:r>
              <a:endParaRPr lang="en-US" sz="1800" b="0" kern="0" baseline="0">
                <a:solidFill>
                  <a:sysClr val="windowText" lastClr="000000"/>
                </a:solidFill>
                <a:latin typeface="Arial" charset="0"/>
                <a:ea typeface="ＭＳ Ｐゴシック"/>
                <a:cs typeface="ＭＳ Ｐゴシック"/>
              </a:endParaRPr>
            </a:p>
          </p:txBody>
        </p:sp>
        <p:sp>
          <p:nvSpPr>
            <p:cNvPr id="58" name="Rectangle 614"/>
            <p:cNvSpPr>
              <a:spLocks noChangeArrowheads="1"/>
            </p:cNvSpPr>
            <p:nvPr/>
          </p:nvSpPr>
          <p:spPr bwMode="auto">
            <a:xfrm>
              <a:off x="677" y="3974"/>
              <a:ext cx="36" cy="66"/>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800" kern="0" baseline="0">
                  <a:solidFill>
                    <a:srgbClr val="000000"/>
                  </a:solidFill>
                  <a:latin typeface="Arial" charset="0"/>
                  <a:ea typeface="ＭＳ Ｐゴシック"/>
                  <a:cs typeface="ＭＳ Ｐゴシック"/>
                </a:rPr>
                <a:t>1</a:t>
              </a:r>
              <a:endParaRPr lang="en-US" sz="1800" b="0" kern="0" baseline="0">
                <a:solidFill>
                  <a:sysClr val="windowText" lastClr="000000"/>
                </a:solidFill>
                <a:latin typeface="Arial" charset="0"/>
                <a:ea typeface="ＭＳ Ｐゴシック"/>
                <a:cs typeface="ＭＳ Ｐゴシック"/>
              </a:endParaRPr>
            </a:p>
          </p:txBody>
        </p:sp>
        <p:sp>
          <p:nvSpPr>
            <p:cNvPr id="59" name="Freeform 615"/>
            <p:cNvSpPr>
              <a:spLocks/>
            </p:cNvSpPr>
            <p:nvPr/>
          </p:nvSpPr>
          <p:spPr bwMode="auto">
            <a:xfrm>
              <a:off x="102" y="3717"/>
              <a:ext cx="382" cy="168"/>
            </a:xfrm>
            <a:custGeom>
              <a:avLst/>
              <a:gdLst>
                <a:gd name="T0" fmla="*/ 120 w 1146"/>
                <a:gd name="T1" fmla="*/ 41 h 689"/>
                <a:gd name="T2" fmla="*/ 121 w 1146"/>
                <a:gd name="T3" fmla="*/ 41 h 689"/>
                <a:gd name="T4" fmla="*/ 123 w 1146"/>
                <a:gd name="T5" fmla="*/ 41 h 689"/>
                <a:gd name="T6" fmla="*/ 124 w 1146"/>
                <a:gd name="T7" fmla="*/ 40 h 689"/>
                <a:gd name="T8" fmla="*/ 125 w 1146"/>
                <a:gd name="T9" fmla="*/ 40 h 689"/>
                <a:gd name="T10" fmla="*/ 126 w 1146"/>
                <a:gd name="T11" fmla="*/ 39 h 689"/>
                <a:gd name="T12" fmla="*/ 127 w 1146"/>
                <a:gd name="T13" fmla="*/ 39 h 689"/>
                <a:gd name="T14" fmla="*/ 127 w 1146"/>
                <a:gd name="T15" fmla="*/ 38 h 689"/>
                <a:gd name="T16" fmla="*/ 127 w 1146"/>
                <a:gd name="T17" fmla="*/ 37 h 689"/>
                <a:gd name="T18" fmla="*/ 127 w 1146"/>
                <a:gd name="T19" fmla="*/ 4 h 689"/>
                <a:gd name="T20" fmla="*/ 127 w 1146"/>
                <a:gd name="T21" fmla="*/ 3 h 689"/>
                <a:gd name="T22" fmla="*/ 127 w 1146"/>
                <a:gd name="T23" fmla="*/ 2 h 689"/>
                <a:gd name="T24" fmla="*/ 126 w 1146"/>
                <a:gd name="T25" fmla="*/ 2 h 689"/>
                <a:gd name="T26" fmla="*/ 125 w 1146"/>
                <a:gd name="T27" fmla="*/ 1 h 689"/>
                <a:gd name="T28" fmla="*/ 124 w 1146"/>
                <a:gd name="T29" fmla="*/ 1 h 689"/>
                <a:gd name="T30" fmla="*/ 123 w 1146"/>
                <a:gd name="T31" fmla="*/ 0 h 689"/>
                <a:gd name="T32" fmla="*/ 121 w 1146"/>
                <a:gd name="T33" fmla="*/ 0 h 689"/>
                <a:gd name="T34" fmla="*/ 120 w 1146"/>
                <a:gd name="T35" fmla="*/ 0 h 689"/>
                <a:gd name="T36" fmla="*/ 7 w 1146"/>
                <a:gd name="T37" fmla="*/ 0 h 689"/>
                <a:gd name="T38" fmla="*/ 5 w 1146"/>
                <a:gd name="T39" fmla="*/ 0 h 689"/>
                <a:gd name="T40" fmla="*/ 4 w 1146"/>
                <a:gd name="T41" fmla="*/ 0 h 689"/>
                <a:gd name="T42" fmla="*/ 3 w 1146"/>
                <a:gd name="T43" fmla="*/ 1 h 689"/>
                <a:gd name="T44" fmla="*/ 2 w 1146"/>
                <a:gd name="T45" fmla="*/ 1 h 689"/>
                <a:gd name="T46" fmla="*/ 1 w 1146"/>
                <a:gd name="T47" fmla="*/ 2 h 689"/>
                <a:gd name="T48" fmla="*/ 0 w 1146"/>
                <a:gd name="T49" fmla="*/ 3 h 689"/>
                <a:gd name="T50" fmla="*/ 0 w 1146"/>
                <a:gd name="T51" fmla="*/ 4 h 689"/>
                <a:gd name="T52" fmla="*/ 0 w 1146"/>
                <a:gd name="T53" fmla="*/ 37 h 689"/>
                <a:gd name="T54" fmla="*/ 0 w 1146"/>
                <a:gd name="T55" fmla="*/ 38 h 689"/>
                <a:gd name="T56" fmla="*/ 1 w 1146"/>
                <a:gd name="T57" fmla="*/ 39 h 689"/>
                <a:gd name="T58" fmla="*/ 1 w 1146"/>
                <a:gd name="T59" fmla="*/ 39 h 689"/>
                <a:gd name="T60" fmla="*/ 2 w 1146"/>
                <a:gd name="T61" fmla="*/ 40 h 689"/>
                <a:gd name="T62" fmla="*/ 3 w 1146"/>
                <a:gd name="T63" fmla="*/ 40 h 689"/>
                <a:gd name="T64" fmla="*/ 5 w 1146"/>
                <a:gd name="T65" fmla="*/ 41 h 689"/>
                <a:gd name="T66" fmla="*/ 6 w 1146"/>
                <a:gd name="T67" fmla="*/ 41 h 689"/>
                <a:gd name="T68" fmla="*/ 8 w 1146"/>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6"/>
                <a:gd name="T106" fmla="*/ 0 h 689"/>
                <a:gd name="T107" fmla="*/ 1146 w 1146"/>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6" h="689">
                  <a:moveTo>
                    <a:pt x="68" y="689"/>
                  </a:moveTo>
                  <a:lnTo>
                    <a:pt x="1078" y="689"/>
                  </a:lnTo>
                  <a:lnTo>
                    <a:pt x="1085" y="688"/>
                  </a:lnTo>
                  <a:lnTo>
                    <a:pt x="1092" y="687"/>
                  </a:lnTo>
                  <a:lnTo>
                    <a:pt x="1098" y="686"/>
                  </a:lnTo>
                  <a:lnTo>
                    <a:pt x="1104" y="684"/>
                  </a:lnTo>
                  <a:lnTo>
                    <a:pt x="1110" y="680"/>
                  </a:lnTo>
                  <a:lnTo>
                    <a:pt x="1116" y="677"/>
                  </a:lnTo>
                  <a:lnTo>
                    <a:pt x="1121" y="674"/>
                  </a:lnTo>
                  <a:lnTo>
                    <a:pt x="1126" y="669"/>
                  </a:lnTo>
                  <a:lnTo>
                    <a:pt x="1130" y="665"/>
                  </a:lnTo>
                  <a:lnTo>
                    <a:pt x="1134" y="659"/>
                  </a:lnTo>
                  <a:lnTo>
                    <a:pt x="1137" y="653"/>
                  </a:lnTo>
                  <a:lnTo>
                    <a:pt x="1140" y="648"/>
                  </a:lnTo>
                  <a:lnTo>
                    <a:pt x="1143" y="641"/>
                  </a:lnTo>
                  <a:lnTo>
                    <a:pt x="1144" y="635"/>
                  </a:lnTo>
                  <a:lnTo>
                    <a:pt x="1145" y="628"/>
                  </a:lnTo>
                  <a:lnTo>
                    <a:pt x="1146" y="622"/>
                  </a:lnTo>
                  <a:lnTo>
                    <a:pt x="1146" y="68"/>
                  </a:lnTo>
                  <a:lnTo>
                    <a:pt x="1145" y="61"/>
                  </a:lnTo>
                  <a:lnTo>
                    <a:pt x="1144" y="54"/>
                  </a:lnTo>
                  <a:lnTo>
                    <a:pt x="1143" y="47"/>
                  </a:lnTo>
                  <a:lnTo>
                    <a:pt x="1140" y="42"/>
                  </a:lnTo>
                  <a:lnTo>
                    <a:pt x="1137" y="35"/>
                  </a:lnTo>
                  <a:lnTo>
                    <a:pt x="1134" y="30"/>
                  </a:lnTo>
                  <a:lnTo>
                    <a:pt x="1130" y="25"/>
                  </a:lnTo>
                  <a:lnTo>
                    <a:pt x="1126" y="20"/>
                  </a:lnTo>
                  <a:lnTo>
                    <a:pt x="1121" y="16"/>
                  </a:lnTo>
                  <a:lnTo>
                    <a:pt x="1116" y="11"/>
                  </a:lnTo>
                  <a:lnTo>
                    <a:pt x="1110" y="8"/>
                  </a:lnTo>
                  <a:lnTo>
                    <a:pt x="1104" y="6"/>
                  </a:lnTo>
                  <a:lnTo>
                    <a:pt x="1098" y="3"/>
                  </a:lnTo>
                  <a:lnTo>
                    <a:pt x="1092" y="1"/>
                  </a:lnTo>
                  <a:lnTo>
                    <a:pt x="1085" y="0"/>
                  </a:lnTo>
                  <a:lnTo>
                    <a:pt x="1078" y="0"/>
                  </a:lnTo>
                  <a:lnTo>
                    <a:pt x="68" y="0"/>
                  </a:lnTo>
                  <a:lnTo>
                    <a:pt x="60" y="0"/>
                  </a:lnTo>
                  <a:lnTo>
                    <a:pt x="53" y="1"/>
                  </a:lnTo>
                  <a:lnTo>
                    <a:pt x="48" y="3"/>
                  </a:lnTo>
                  <a:lnTo>
                    <a:pt x="41" y="6"/>
                  </a:lnTo>
                  <a:lnTo>
                    <a:pt x="35" y="8"/>
                  </a:lnTo>
                  <a:lnTo>
                    <a:pt x="30" y="11"/>
                  </a:lnTo>
                  <a:lnTo>
                    <a:pt x="24" y="16"/>
                  </a:lnTo>
                  <a:lnTo>
                    <a:pt x="19" y="20"/>
                  </a:lnTo>
                  <a:lnTo>
                    <a:pt x="15" y="25"/>
                  </a:lnTo>
                  <a:lnTo>
                    <a:pt x="11" y="30"/>
                  </a:lnTo>
                  <a:lnTo>
                    <a:pt x="8" y="35"/>
                  </a:lnTo>
                  <a:lnTo>
                    <a:pt x="5" y="42"/>
                  </a:lnTo>
                  <a:lnTo>
                    <a:pt x="2" y="47"/>
                  </a:lnTo>
                  <a:lnTo>
                    <a:pt x="1" y="54"/>
                  </a:lnTo>
                  <a:lnTo>
                    <a:pt x="0" y="61"/>
                  </a:lnTo>
                  <a:lnTo>
                    <a:pt x="0" y="68"/>
                  </a:lnTo>
                  <a:lnTo>
                    <a:pt x="0" y="622"/>
                  </a:lnTo>
                  <a:lnTo>
                    <a:pt x="0" y="628"/>
                  </a:lnTo>
                  <a:lnTo>
                    <a:pt x="1" y="635"/>
                  </a:lnTo>
                  <a:lnTo>
                    <a:pt x="2" y="641"/>
                  </a:lnTo>
                  <a:lnTo>
                    <a:pt x="5" y="648"/>
                  </a:lnTo>
                  <a:lnTo>
                    <a:pt x="8" y="653"/>
                  </a:lnTo>
                  <a:lnTo>
                    <a:pt x="11" y="659"/>
                  </a:lnTo>
                  <a:lnTo>
                    <a:pt x="15" y="665"/>
                  </a:lnTo>
                  <a:lnTo>
                    <a:pt x="19" y="669"/>
                  </a:lnTo>
                  <a:lnTo>
                    <a:pt x="24" y="674"/>
                  </a:lnTo>
                  <a:lnTo>
                    <a:pt x="30" y="677"/>
                  </a:lnTo>
                  <a:lnTo>
                    <a:pt x="35" y="680"/>
                  </a:lnTo>
                  <a:lnTo>
                    <a:pt x="41" y="684"/>
                  </a:lnTo>
                  <a:lnTo>
                    <a:pt x="48" y="686"/>
                  </a:lnTo>
                  <a:lnTo>
                    <a:pt x="53" y="687"/>
                  </a:lnTo>
                  <a:lnTo>
                    <a:pt x="60" y="688"/>
                  </a:lnTo>
                  <a:lnTo>
                    <a:pt x="68" y="689"/>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60" name="Freeform 616"/>
            <p:cNvSpPr>
              <a:spLocks/>
            </p:cNvSpPr>
            <p:nvPr/>
          </p:nvSpPr>
          <p:spPr bwMode="auto">
            <a:xfrm>
              <a:off x="102" y="3717"/>
              <a:ext cx="382" cy="168"/>
            </a:xfrm>
            <a:custGeom>
              <a:avLst/>
              <a:gdLst>
                <a:gd name="T0" fmla="*/ 120 w 1146"/>
                <a:gd name="T1" fmla="*/ 41 h 689"/>
                <a:gd name="T2" fmla="*/ 121 w 1146"/>
                <a:gd name="T3" fmla="*/ 41 h 689"/>
                <a:gd name="T4" fmla="*/ 123 w 1146"/>
                <a:gd name="T5" fmla="*/ 41 h 689"/>
                <a:gd name="T6" fmla="*/ 124 w 1146"/>
                <a:gd name="T7" fmla="*/ 40 h 689"/>
                <a:gd name="T8" fmla="*/ 125 w 1146"/>
                <a:gd name="T9" fmla="*/ 40 h 689"/>
                <a:gd name="T10" fmla="*/ 126 w 1146"/>
                <a:gd name="T11" fmla="*/ 39 h 689"/>
                <a:gd name="T12" fmla="*/ 127 w 1146"/>
                <a:gd name="T13" fmla="*/ 39 h 689"/>
                <a:gd name="T14" fmla="*/ 127 w 1146"/>
                <a:gd name="T15" fmla="*/ 38 h 689"/>
                <a:gd name="T16" fmla="*/ 127 w 1146"/>
                <a:gd name="T17" fmla="*/ 37 h 689"/>
                <a:gd name="T18" fmla="*/ 127 w 1146"/>
                <a:gd name="T19" fmla="*/ 4 h 689"/>
                <a:gd name="T20" fmla="*/ 127 w 1146"/>
                <a:gd name="T21" fmla="*/ 3 h 689"/>
                <a:gd name="T22" fmla="*/ 127 w 1146"/>
                <a:gd name="T23" fmla="*/ 2 h 689"/>
                <a:gd name="T24" fmla="*/ 126 w 1146"/>
                <a:gd name="T25" fmla="*/ 2 h 689"/>
                <a:gd name="T26" fmla="*/ 125 w 1146"/>
                <a:gd name="T27" fmla="*/ 1 h 689"/>
                <a:gd name="T28" fmla="*/ 124 w 1146"/>
                <a:gd name="T29" fmla="*/ 1 h 689"/>
                <a:gd name="T30" fmla="*/ 123 w 1146"/>
                <a:gd name="T31" fmla="*/ 0 h 689"/>
                <a:gd name="T32" fmla="*/ 121 w 1146"/>
                <a:gd name="T33" fmla="*/ 0 h 689"/>
                <a:gd name="T34" fmla="*/ 120 w 1146"/>
                <a:gd name="T35" fmla="*/ 0 h 689"/>
                <a:gd name="T36" fmla="*/ 7 w 1146"/>
                <a:gd name="T37" fmla="*/ 0 h 689"/>
                <a:gd name="T38" fmla="*/ 5 w 1146"/>
                <a:gd name="T39" fmla="*/ 0 h 689"/>
                <a:gd name="T40" fmla="*/ 4 w 1146"/>
                <a:gd name="T41" fmla="*/ 0 h 689"/>
                <a:gd name="T42" fmla="*/ 3 w 1146"/>
                <a:gd name="T43" fmla="*/ 1 h 689"/>
                <a:gd name="T44" fmla="*/ 2 w 1146"/>
                <a:gd name="T45" fmla="*/ 1 h 689"/>
                <a:gd name="T46" fmla="*/ 1 w 1146"/>
                <a:gd name="T47" fmla="*/ 2 h 689"/>
                <a:gd name="T48" fmla="*/ 0 w 1146"/>
                <a:gd name="T49" fmla="*/ 3 h 689"/>
                <a:gd name="T50" fmla="*/ 0 w 1146"/>
                <a:gd name="T51" fmla="*/ 4 h 689"/>
                <a:gd name="T52" fmla="*/ 0 w 1146"/>
                <a:gd name="T53" fmla="*/ 37 h 689"/>
                <a:gd name="T54" fmla="*/ 0 w 1146"/>
                <a:gd name="T55" fmla="*/ 38 h 689"/>
                <a:gd name="T56" fmla="*/ 1 w 1146"/>
                <a:gd name="T57" fmla="*/ 39 h 689"/>
                <a:gd name="T58" fmla="*/ 1 w 1146"/>
                <a:gd name="T59" fmla="*/ 39 h 689"/>
                <a:gd name="T60" fmla="*/ 2 w 1146"/>
                <a:gd name="T61" fmla="*/ 40 h 689"/>
                <a:gd name="T62" fmla="*/ 3 w 1146"/>
                <a:gd name="T63" fmla="*/ 40 h 689"/>
                <a:gd name="T64" fmla="*/ 5 w 1146"/>
                <a:gd name="T65" fmla="*/ 41 h 689"/>
                <a:gd name="T66" fmla="*/ 6 w 1146"/>
                <a:gd name="T67" fmla="*/ 41 h 689"/>
                <a:gd name="T68" fmla="*/ 8 w 1146"/>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6"/>
                <a:gd name="T106" fmla="*/ 0 h 689"/>
                <a:gd name="T107" fmla="*/ 1146 w 1146"/>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6" h="689">
                  <a:moveTo>
                    <a:pt x="68" y="689"/>
                  </a:moveTo>
                  <a:lnTo>
                    <a:pt x="1078" y="689"/>
                  </a:lnTo>
                  <a:lnTo>
                    <a:pt x="1085" y="688"/>
                  </a:lnTo>
                  <a:lnTo>
                    <a:pt x="1092" y="687"/>
                  </a:lnTo>
                  <a:lnTo>
                    <a:pt x="1098" y="686"/>
                  </a:lnTo>
                  <a:lnTo>
                    <a:pt x="1104" y="684"/>
                  </a:lnTo>
                  <a:lnTo>
                    <a:pt x="1110" y="680"/>
                  </a:lnTo>
                  <a:lnTo>
                    <a:pt x="1116" y="677"/>
                  </a:lnTo>
                  <a:lnTo>
                    <a:pt x="1121" y="674"/>
                  </a:lnTo>
                  <a:lnTo>
                    <a:pt x="1126" y="669"/>
                  </a:lnTo>
                  <a:lnTo>
                    <a:pt x="1130" y="665"/>
                  </a:lnTo>
                  <a:lnTo>
                    <a:pt x="1134" y="659"/>
                  </a:lnTo>
                  <a:lnTo>
                    <a:pt x="1137" y="653"/>
                  </a:lnTo>
                  <a:lnTo>
                    <a:pt x="1140" y="648"/>
                  </a:lnTo>
                  <a:lnTo>
                    <a:pt x="1143" y="641"/>
                  </a:lnTo>
                  <a:lnTo>
                    <a:pt x="1144" y="635"/>
                  </a:lnTo>
                  <a:lnTo>
                    <a:pt x="1145" y="628"/>
                  </a:lnTo>
                  <a:lnTo>
                    <a:pt x="1146" y="622"/>
                  </a:lnTo>
                  <a:lnTo>
                    <a:pt x="1146" y="68"/>
                  </a:lnTo>
                  <a:lnTo>
                    <a:pt x="1145" y="61"/>
                  </a:lnTo>
                  <a:lnTo>
                    <a:pt x="1144" y="54"/>
                  </a:lnTo>
                  <a:lnTo>
                    <a:pt x="1143" y="47"/>
                  </a:lnTo>
                  <a:lnTo>
                    <a:pt x="1140" y="42"/>
                  </a:lnTo>
                  <a:lnTo>
                    <a:pt x="1137" y="35"/>
                  </a:lnTo>
                  <a:lnTo>
                    <a:pt x="1134" y="30"/>
                  </a:lnTo>
                  <a:lnTo>
                    <a:pt x="1130" y="25"/>
                  </a:lnTo>
                  <a:lnTo>
                    <a:pt x="1126" y="20"/>
                  </a:lnTo>
                  <a:lnTo>
                    <a:pt x="1121" y="16"/>
                  </a:lnTo>
                  <a:lnTo>
                    <a:pt x="1116" y="11"/>
                  </a:lnTo>
                  <a:lnTo>
                    <a:pt x="1110" y="8"/>
                  </a:lnTo>
                  <a:lnTo>
                    <a:pt x="1104" y="6"/>
                  </a:lnTo>
                  <a:lnTo>
                    <a:pt x="1098" y="3"/>
                  </a:lnTo>
                  <a:lnTo>
                    <a:pt x="1092" y="1"/>
                  </a:lnTo>
                  <a:lnTo>
                    <a:pt x="1085" y="0"/>
                  </a:lnTo>
                  <a:lnTo>
                    <a:pt x="1078" y="0"/>
                  </a:lnTo>
                  <a:lnTo>
                    <a:pt x="68" y="0"/>
                  </a:lnTo>
                  <a:lnTo>
                    <a:pt x="60" y="0"/>
                  </a:lnTo>
                  <a:lnTo>
                    <a:pt x="53" y="1"/>
                  </a:lnTo>
                  <a:lnTo>
                    <a:pt x="48" y="3"/>
                  </a:lnTo>
                  <a:lnTo>
                    <a:pt x="41" y="6"/>
                  </a:lnTo>
                  <a:lnTo>
                    <a:pt x="35" y="8"/>
                  </a:lnTo>
                  <a:lnTo>
                    <a:pt x="30" y="11"/>
                  </a:lnTo>
                  <a:lnTo>
                    <a:pt x="24" y="16"/>
                  </a:lnTo>
                  <a:lnTo>
                    <a:pt x="19" y="20"/>
                  </a:lnTo>
                  <a:lnTo>
                    <a:pt x="15" y="25"/>
                  </a:lnTo>
                  <a:lnTo>
                    <a:pt x="11" y="30"/>
                  </a:lnTo>
                  <a:lnTo>
                    <a:pt x="8" y="35"/>
                  </a:lnTo>
                  <a:lnTo>
                    <a:pt x="5" y="42"/>
                  </a:lnTo>
                  <a:lnTo>
                    <a:pt x="2" y="47"/>
                  </a:lnTo>
                  <a:lnTo>
                    <a:pt x="1" y="54"/>
                  </a:lnTo>
                  <a:lnTo>
                    <a:pt x="0" y="61"/>
                  </a:lnTo>
                  <a:lnTo>
                    <a:pt x="0" y="68"/>
                  </a:lnTo>
                  <a:lnTo>
                    <a:pt x="0" y="622"/>
                  </a:lnTo>
                  <a:lnTo>
                    <a:pt x="0" y="628"/>
                  </a:lnTo>
                  <a:lnTo>
                    <a:pt x="1" y="635"/>
                  </a:lnTo>
                  <a:lnTo>
                    <a:pt x="2" y="641"/>
                  </a:lnTo>
                  <a:lnTo>
                    <a:pt x="5" y="648"/>
                  </a:lnTo>
                  <a:lnTo>
                    <a:pt x="8" y="653"/>
                  </a:lnTo>
                  <a:lnTo>
                    <a:pt x="11" y="659"/>
                  </a:lnTo>
                  <a:lnTo>
                    <a:pt x="15" y="665"/>
                  </a:lnTo>
                  <a:lnTo>
                    <a:pt x="19" y="669"/>
                  </a:lnTo>
                  <a:lnTo>
                    <a:pt x="24" y="674"/>
                  </a:lnTo>
                  <a:lnTo>
                    <a:pt x="30" y="677"/>
                  </a:lnTo>
                  <a:lnTo>
                    <a:pt x="35" y="680"/>
                  </a:lnTo>
                  <a:lnTo>
                    <a:pt x="41" y="684"/>
                  </a:lnTo>
                  <a:lnTo>
                    <a:pt x="48" y="686"/>
                  </a:lnTo>
                  <a:lnTo>
                    <a:pt x="53" y="687"/>
                  </a:lnTo>
                  <a:lnTo>
                    <a:pt x="60" y="688"/>
                  </a:lnTo>
                  <a:lnTo>
                    <a:pt x="68" y="689"/>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61" name="Rectangle 617"/>
            <p:cNvSpPr>
              <a:spLocks noChangeArrowheads="1"/>
            </p:cNvSpPr>
            <p:nvPr/>
          </p:nvSpPr>
          <p:spPr bwMode="auto">
            <a:xfrm>
              <a:off x="127" y="3766"/>
              <a:ext cx="337"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ata Management </a:t>
              </a:r>
              <a:endParaRPr lang="en-US" sz="1800" b="0" kern="0" baseline="0">
                <a:solidFill>
                  <a:sysClr val="windowText" lastClr="000000"/>
                </a:solidFill>
                <a:latin typeface="Arial" charset="0"/>
                <a:ea typeface="ＭＳ Ｐゴシック"/>
                <a:cs typeface="ＭＳ Ｐゴシック"/>
              </a:endParaRPr>
            </a:p>
          </p:txBody>
        </p:sp>
        <p:sp>
          <p:nvSpPr>
            <p:cNvPr id="62" name="Rectangle 618"/>
            <p:cNvSpPr>
              <a:spLocks noChangeArrowheads="1"/>
            </p:cNvSpPr>
            <p:nvPr/>
          </p:nvSpPr>
          <p:spPr bwMode="auto">
            <a:xfrm>
              <a:off x="228" y="3801"/>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63" name="Rectangle 619"/>
            <p:cNvSpPr>
              <a:spLocks noChangeArrowheads="1"/>
            </p:cNvSpPr>
            <p:nvPr/>
          </p:nvSpPr>
          <p:spPr bwMode="auto">
            <a:xfrm>
              <a:off x="266" y="3801"/>
              <a:ext cx="9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udit</a:t>
              </a:r>
              <a:endParaRPr lang="en-US" sz="1800" b="0" kern="0" baseline="0">
                <a:solidFill>
                  <a:sysClr val="windowText" lastClr="000000"/>
                </a:solidFill>
                <a:latin typeface="Arial" charset="0"/>
                <a:ea typeface="ＭＳ Ｐゴシック"/>
                <a:cs typeface="ＭＳ Ｐゴシック"/>
              </a:endParaRPr>
            </a:p>
          </p:txBody>
        </p:sp>
        <p:sp>
          <p:nvSpPr>
            <p:cNvPr id="64" name="Freeform 620"/>
            <p:cNvSpPr>
              <a:spLocks/>
            </p:cNvSpPr>
            <p:nvPr/>
          </p:nvSpPr>
          <p:spPr bwMode="auto">
            <a:xfrm>
              <a:off x="513" y="3717"/>
              <a:ext cx="359" cy="168"/>
            </a:xfrm>
            <a:custGeom>
              <a:avLst/>
              <a:gdLst>
                <a:gd name="T0" fmla="*/ 112 w 1078"/>
                <a:gd name="T1" fmla="*/ 41 h 689"/>
                <a:gd name="T2" fmla="*/ 114 w 1078"/>
                <a:gd name="T3" fmla="*/ 41 h 689"/>
                <a:gd name="T4" fmla="*/ 115 w 1078"/>
                <a:gd name="T5" fmla="*/ 41 h 689"/>
                <a:gd name="T6" fmla="*/ 116 w 1078"/>
                <a:gd name="T7" fmla="*/ 40 h 689"/>
                <a:gd name="T8" fmla="*/ 117 w 1078"/>
                <a:gd name="T9" fmla="*/ 40 h 689"/>
                <a:gd name="T10" fmla="*/ 118 w 1078"/>
                <a:gd name="T11" fmla="*/ 39 h 689"/>
                <a:gd name="T12" fmla="*/ 119 w 1078"/>
                <a:gd name="T13" fmla="*/ 39 h 689"/>
                <a:gd name="T14" fmla="*/ 119 w 1078"/>
                <a:gd name="T15" fmla="*/ 38 h 689"/>
                <a:gd name="T16" fmla="*/ 120 w 1078"/>
                <a:gd name="T17" fmla="*/ 37 h 689"/>
                <a:gd name="T18" fmla="*/ 120 w 1078"/>
                <a:gd name="T19" fmla="*/ 4 h 689"/>
                <a:gd name="T20" fmla="*/ 119 w 1078"/>
                <a:gd name="T21" fmla="*/ 3 h 689"/>
                <a:gd name="T22" fmla="*/ 119 w 1078"/>
                <a:gd name="T23" fmla="*/ 2 h 689"/>
                <a:gd name="T24" fmla="*/ 118 w 1078"/>
                <a:gd name="T25" fmla="*/ 2 h 689"/>
                <a:gd name="T26" fmla="*/ 117 w 1078"/>
                <a:gd name="T27" fmla="*/ 1 h 689"/>
                <a:gd name="T28" fmla="*/ 116 w 1078"/>
                <a:gd name="T29" fmla="*/ 1 h 689"/>
                <a:gd name="T30" fmla="*/ 115 w 1078"/>
                <a:gd name="T31" fmla="*/ 0 h 689"/>
                <a:gd name="T32" fmla="*/ 114 w 1078"/>
                <a:gd name="T33" fmla="*/ 0 h 689"/>
                <a:gd name="T34" fmla="*/ 112 w 1078"/>
                <a:gd name="T35" fmla="*/ 0 h 689"/>
                <a:gd name="T36" fmla="*/ 7 w 1078"/>
                <a:gd name="T37" fmla="*/ 0 h 689"/>
                <a:gd name="T38" fmla="*/ 5 w 1078"/>
                <a:gd name="T39" fmla="*/ 0 h 689"/>
                <a:gd name="T40" fmla="*/ 4 w 1078"/>
                <a:gd name="T41" fmla="*/ 0 h 689"/>
                <a:gd name="T42" fmla="*/ 3 w 1078"/>
                <a:gd name="T43" fmla="*/ 1 h 689"/>
                <a:gd name="T44" fmla="*/ 2 w 1078"/>
                <a:gd name="T45" fmla="*/ 1 h 689"/>
                <a:gd name="T46" fmla="*/ 1 w 1078"/>
                <a:gd name="T47" fmla="*/ 2 h 689"/>
                <a:gd name="T48" fmla="*/ 0 w 1078"/>
                <a:gd name="T49" fmla="*/ 3 h 689"/>
                <a:gd name="T50" fmla="*/ 0 w 1078"/>
                <a:gd name="T51" fmla="*/ 4 h 689"/>
                <a:gd name="T52" fmla="*/ 0 w 1078"/>
                <a:gd name="T53" fmla="*/ 37 h 689"/>
                <a:gd name="T54" fmla="*/ 0 w 1078"/>
                <a:gd name="T55" fmla="*/ 38 h 689"/>
                <a:gd name="T56" fmla="*/ 1 w 1078"/>
                <a:gd name="T57" fmla="*/ 39 h 689"/>
                <a:gd name="T58" fmla="*/ 1 w 1078"/>
                <a:gd name="T59" fmla="*/ 39 h 689"/>
                <a:gd name="T60" fmla="*/ 2 w 1078"/>
                <a:gd name="T61" fmla="*/ 40 h 689"/>
                <a:gd name="T62" fmla="*/ 3 w 1078"/>
                <a:gd name="T63" fmla="*/ 40 h 689"/>
                <a:gd name="T64" fmla="*/ 5 w 1078"/>
                <a:gd name="T65" fmla="*/ 41 h 689"/>
                <a:gd name="T66" fmla="*/ 6 w 1078"/>
                <a:gd name="T67" fmla="*/ 41 h 689"/>
                <a:gd name="T68" fmla="*/ 8 w 1078"/>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78"/>
                <a:gd name="T106" fmla="*/ 0 h 689"/>
                <a:gd name="T107" fmla="*/ 1078 w 1078"/>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78" h="689">
                  <a:moveTo>
                    <a:pt x="68" y="689"/>
                  </a:moveTo>
                  <a:lnTo>
                    <a:pt x="1011" y="689"/>
                  </a:lnTo>
                  <a:lnTo>
                    <a:pt x="1017" y="688"/>
                  </a:lnTo>
                  <a:lnTo>
                    <a:pt x="1024" y="687"/>
                  </a:lnTo>
                  <a:lnTo>
                    <a:pt x="1030" y="686"/>
                  </a:lnTo>
                  <a:lnTo>
                    <a:pt x="1037" y="684"/>
                  </a:lnTo>
                  <a:lnTo>
                    <a:pt x="1042" y="680"/>
                  </a:lnTo>
                  <a:lnTo>
                    <a:pt x="1048" y="677"/>
                  </a:lnTo>
                  <a:lnTo>
                    <a:pt x="1054" y="674"/>
                  </a:lnTo>
                  <a:lnTo>
                    <a:pt x="1058" y="669"/>
                  </a:lnTo>
                  <a:lnTo>
                    <a:pt x="1063" y="665"/>
                  </a:lnTo>
                  <a:lnTo>
                    <a:pt x="1066" y="659"/>
                  </a:lnTo>
                  <a:lnTo>
                    <a:pt x="1069" y="653"/>
                  </a:lnTo>
                  <a:lnTo>
                    <a:pt x="1073" y="648"/>
                  </a:lnTo>
                  <a:lnTo>
                    <a:pt x="1075" y="641"/>
                  </a:lnTo>
                  <a:lnTo>
                    <a:pt x="1076" y="635"/>
                  </a:lnTo>
                  <a:lnTo>
                    <a:pt x="1077" y="628"/>
                  </a:lnTo>
                  <a:lnTo>
                    <a:pt x="1078" y="622"/>
                  </a:lnTo>
                  <a:lnTo>
                    <a:pt x="1078" y="68"/>
                  </a:lnTo>
                  <a:lnTo>
                    <a:pt x="1077" y="61"/>
                  </a:lnTo>
                  <a:lnTo>
                    <a:pt x="1076" y="54"/>
                  </a:lnTo>
                  <a:lnTo>
                    <a:pt x="1075" y="47"/>
                  </a:lnTo>
                  <a:lnTo>
                    <a:pt x="1073" y="42"/>
                  </a:lnTo>
                  <a:lnTo>
                    <a:pt x="1069" y="35"/>
                  </a:lnTo>
                  <a:lnTo>
                    <a:pt x="1066" y="30"/>
                  </a:lnTo>
                  <a:lnTo>
                    <a:pt x="1063" y="25"/>
                  </a:lnTo>
                  <a:lnTo>
                    <a:pt x="1058" y="20"/>
                  </a:lnTo>
                  <a:lnTo>
                    <a:pt x="1054" y="16"/>
                  </a:lnTo>
                  <a:lnTo>
                    <a:pt x="1048" y="11"/>
                  </a:lnTo>
                  <a:lnTo>
                    <a:pt x="1042" y="8"/>
                  </a:lnTo>
                  <a:lnTo>
                    <a:pt x="1037" y="6"/>
                  </a:lnTo>
                  <a:lnTo>
                    <a:pt x="1030" y="3"/>
                  </a:lnTo>
                  <a:lnTo>
                    <a:pt x="1024" y="1"/>
                  </a:lnTo>
                  <a:lnTo>
                    <a:pt x="1017" y="0"/>
                  </a:lnTo>
                  <a:lnTo>
                    <a:pt x="1011" y="0"/>
                  </a:lnTo>
                  <a:lnTo>
                    <a:pt x="68" y="0"/>
                  </a:lnTo>
                  <a:lnTo>
                    <a:pt x="61" y="0"/>
                  </a:lnTo>
                  <a:lnTo>
                    <a:pt x="55" y="1"/>
                  </a:lnTo>
                  <a:lnTo>
                    <a:pt x="48" y="3"/>
                  </a:lnTo>
                  <a:lnTo>
                    <a:pt x="42" y="6"/>
                  </a:lnTo>
                  <a:lnTo>
                    <a:pt x="35" y="8"/>
                  </a:lnTo>
                  <a:lnTo>
                    <a:pt x="31" y="11"/>
                  </a:lnTo>
                  <a:lnTo>
                    <a:pt x="25" y="16"/>
                  </a:lnTo>
                  <a:lnTo>
                    <a:pt x="21" y="20"/>
                  </a:lnTo>
                  <a:lnTo>
                    <a:pt x="16" y="25"/>
                  </a:lnTo>
                  <a:lnTo>
                    <a:pt x="12" y="30"/>
                  </a:lnTo>
                  <a:lnTo>
                    <a:pt x="8" y="35"/>
                  </a:lnTo>
                  <a:lnTo>
                    <a:pt x="6" y="42"/>
                  </a:lnTo>
                  <a:lnTo>
                    <a:pt x="4" y="47"/>
                  </a:lnTo>
                  <a:lnTo>
                    <a:pt x="1" y="54"/>
                  </a:lnTo>
                  <a:lnTo>
                    <a:pt x="0" y="61"/>
                  </a:lnTo>
                  <a:lnTo>
                    <a:pt x="0" y="68"/>
                  </a:lnTo>
                  <a:lnTo>
                    <a:pt x="0" y="622"/>
                  </a:lnTo>
                  <a:lnTo>
                    <a:pt x="0" y="628"/>
                  </a:lnTo>
                  <a:lnTo>
                    <a:pt x="1" y="635"/>
                  </a:lnTo>
                  <a:lnTo>
                    <a:pt x="4" y="641"/>
                  </a:lnTo>
                  <a:lnTo>
                    <a:pt x="6" y="648"/>
                  </a:lnTo>
                  <a:lnTo>
                    <a:pt x="8" y="653"/>
                  </a:lnTo>
                  <a:lnTo>
                    <a:pt x="12" y="659"/>
                  </a:lnTo>
                  <a:lnTo>
                    <a:pt x="16" y="665"/>
                  </a:lnTo>
                  <a:lnTo>
                    <a:pt x="21" y="669"/>
                  </a:lnTo>
                  <a:lnTo>
                    <a:pt x="25" y="674"/>
                  </a:lnTo>
                  <a:lnTo>
                    <a:pt x="31" y="677"/>
                  </a:lnTo>
                  <a:lnTo>
                    <a:pt x="35" y="680"/>
                  </a:lnTo>
                  <a:lnTo>
                    <a:pt x="42" y="684"/>
                  </a:lnTo>
                  <a:lnTo>
                    <a:pt x="48" y="686"/>
                  </a:lnTo>
                  <a:lnTo>
                    <a:pt x="55" y="687"/>
                  </a:lnTo>
                  <a:lnTo>
                    <a:pt x="61" y="688"/>
                  </a:lnTo>
                  <a:lnTo>
                    <a:pt x="68" y="689"/>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65" name="Freeform 621"/>
            <p:cNvSpPr>
              <a:spLocks/>
            </p:cNvSpPr>
            <p:nvPr/>
          </p:nvSpPr>
          <p:spPr bwMode="auto">
            <a:xfrm>
              <a:off x="513" y="3717"/>
              <a:ext cx="359" cy="168"/>
            </a:xfrm>
            <a:custGeom>
              <a:avLst/>
              <a:gdLst>
                <a:gd name="T0" fmla="*/ 112 w 1078"/>
                <a:gd name="T1" fmla="*/ 41 h 689"/>
                <a:gd name="T2" fmla="*/ 114 w 1078"/>
                <a:gd name="T3" fmla="*/ 41 h 689"/>
                <a:gd name="T4" fmla="*/ 115 w 1078"/>
                <a:gd name="T5" fmla="*/ 41 h 689"/>
                <a:gd name="T6" fmla="*/ 116 w 1078"/>
                <a:gd name="T7" fmla="*/ 40 h 689"/>
                <a:gd name="T8" fmla="*/ 117 w 1078"/>
                <a:gd name="T9" fmla="*/ 40 h 689"/>
                <a:gd name="T10" fmla="*/ 118 w 1078"/>
                <a:gd name="T11" fmla="*/ 39 h 689"/>
                <a:gd name="T12" fmla="*/ 119 w 1078"/>
                <a:gd name="T13" fmla="*/ 39 h 689"/>
                <a:gd name="T14" fmla="*/ 119 w 1078"/>
                <a:gd name="T15" fmla="*/ 38 h 689"/>
                <a:gd name="T16" fmla="*/ 120 w 1078"/>
                <a:gd name="T17" fmla="*/ 37 h 689"/>
                <a:gd name="T18" fmla="*/ 120 w 1078"/>
                <a:gd name="T19" fmla="*/ 4 h 689"/>
                <a:gd name="T20" fmla="*/ 119 w 1078"/>
                <a:gd name="T21" fmla="*/ 3 h 689"/>
                <a:gd name="T22" fmla="*/ 119 w 1078"/>
                <a:gd name="T23" fmla="*/ 2 h 689"/>
                <a:gd name="T24" fmla="*/ 118 w 1078"/>
                <a:gd name="T25" fmla="*/ 2 h 689"/>
                <a:gd name="T26" fmla="*/ 117 w 1078"/>
                <a:gd name="T27" fmla="*/ 1 h 689"/>
                <a:gd name="T28" fmla="*/ 116 w 1078"/>
                <a:gd name="T29" fmla="*/ 1 h 689"/>
                <a:gd name="T30" fmla="*/ 115 w 1078"/>
                <a:gd name="T31" fmla="*/ 0 h 689"/>
                <a:gd name="T32" fmla="*/ 114 w 1078"/>
                <a:gd name="T33" fmla="*/ 0 h 689"/>
                <a:gd name="T34" fmla="*/ 112 w 1078"/>
                <a:gd name="T35" fmla="*/ 0 h 689"/>
                <a:gd name="T36" fmla="*/ 7 w 1078"/>
                <a:gd name="T37" fmla="*/ 0 h 689"/>
                <a:gd name="T38" fmla="*/ 5 w 1078"/>
                <a:gd name="T39" fmla="*/ 0 h 689"/>
                <a:gd name="T40" fmla="*/ 4 w 1078"/>
                <a:gd name="T41" fmla="*/ 0 h 689"/>
                <a:gd name="T42" fmla="*/ 3 w 1078"/>
                <a:gd name="T43" fmla="*/ 1 h 689"/>
                <a:gd name="T44" fmla="*/ 2 w 1078"/>
                <a:gd name="T45" fmla="*/ 1 h 689"/>
                <a:gd name="T46" fmla="*/ 1 w 1078"/>
                <a:gd name="T47" fmla="*/ 2 h 689"/>
                <a:gd name="T48" fmla="*/ 0 w 1078"/>
                <a:gd name="T49" fmla="*/ 3 h 689"/>
                <a:gd name="T50" fmla="*/ 0 w 1078"/>
                <a:gd name="T51" fmla="*/ 4 h 689"/>
                <a:gd name="T52" fmla="*/ 0 w 1078"/>
                <a:gd name="T53" fmla="*/ 37 h 689"/>
                <a:gd name="T54" fmla="*/ 0 w 1078"/>
                <a:gd name="T55" fmla="*/ 38 h 689"/>
                <a:gd name="T56" fmla="*/ 1 w 1078"/>
                <a:gd name="T57" fmla="*/ 39 h 689"/>
                <a:gd name="T58" fmla="*/ 1 w 1078"/>
                <a:gd name="T59" fmla="*/ 39 h 689"/>
                <a:gd name="T60" fmla="*/ 2 w 1078"/>
                <a:gd name="T61" fmla="*/ 40 h 689"/>
                <a:gd name="T62" fmla="*/ 3 w 1078"/>
                <a:gd name="T63" fmla="*/ 40 h 689"/>
                <a:gd name="T64" fmla="*/ 5 w 1078"/>
                <a:gd name="T65" fmla="*/ 41 h 689"/>
                <a:gd name="T66" fmla="*/ 6 w 1078"/>
                <a:gd name="T67" fmla="*/ 41 h 689"/>
                <a:gd name="T68" fmla="*/ 8 w 1078"/>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78"/>
                <a:gd name="T106" fmla="*/ 0 h 689"/>
                <a:gd name="T107" fmla="*/ 1078 w 1078"/>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78" h="689">
                  <a:moveTo>
                    <a:pt x="68" y="689"/>
                  </a:moveTo>
                  <a:lnTo>
                    <a:pt x="1011" y="689"/>
                  </a:lnTo>
                  <a:lnTo>
                    <a:pt x="1017" y="688"/>
                  </a:lnTo>
                  <a:lnTo>
                    <a:pt x="1024" y="687"/>
                  </a:lnTo>
                  <a:lnTo>
                    <a:pt x="1030" y="686"/>
                  </a:lnTo>
                  <a:lnTo>
                    <a:pt x="1037" y="684"/>
                  </a:lnTo>
                  <a:lnTo>
                    <a:pt x="1042" y="680"/>
                  </a:lnTo>
                  <a:lnTo>
                    <a:pt x="1048" y="677"/>
                  </a:lnTo>
                  <a:lnTo>
                    <a:pt x="1054" y="674"/>
                  </a:lnTo>
                  <a:lnTo>
                    <a:pt x="1058" y="669"/>
                  </a:lnTo>
                  <a:lnTo>
                    <a:pt x="1063" y="665"/>
                  </a:lnTo>
                  <a:lnTo>
                    <a:pt x="1066" y="659"/>
                  </a:lnTo>
                  <a:lnTo>
                    <a:pt x="1069" y="653"/>
                  </a:lnTo>
                  <a:lnTo>
                    <a:pt x="1073" y="648"/>
                  </a:lnTo>
                  <a:lnTo>
                    <a:pt x="1075" y="641"/>
                  </a:lnTo>
                  <a:lnTo>
                    <a:pt x="1076" y="635"/>
                  </a:lnTo>
                  <a:lnTo>
                    <a:pt x="1077" y="628"/>
                  </a:lnTo>
                  <a:lnTo>
                    <a:pt x="1078" y="622"/>
                  </a:lnTo>
                  <a:lnTo>
                    <a:pt x="1078" y="68"/>
                  </a:lnTo>
                  <a:lnTo>
                    <a:pt x="1077" y="61"/>
                  </a:lnTo>
                  <a:lnTo>
                    <a:pt x="1076" y="54"/>
                  </a:lnTo>
                  <a:lnTo>
                    <a:pt x="1075" y="47"/>
                  </a:lnTo>
                  <a:lnTo>
                    <a:pt x="1073" y="42"/>
                  </a:lnTo>
                  <a:lnTo>
                    <a:pt x="1069" y="35"/>
                  </a:lnTo>
                  <a:lnTo>
                    <a:pt x="1066" y="30"/>
                  </a:lnTo>
                  <a:lnTo>
                    <a:pt x="1063" y="25"/>
                  </a:lnTo>
                  <a:lnTo>
                    <a:pt x="1058" y="20"/>
                  </a:lnTo>
                  <a:lnTo>
                    <a:pt x="1054" y="16"/>
                  </a:lnTo>
                  <a:lnTo>
                    <a:pt x="1048" y="11"/>
                  </a:lnTo>
                  <a:lnTo>
                    <a:pt x="1042" y="8"/>
                  </a:lnTo>
                  <a:lnTo>
                    <a:pt x="1037" y="6"/>
                  </a:lnTo>
                  <a:lnTo>
                    <a:pt x="1030" y="3"/>
                  </a:lnTo>
                  <a:lnTo>
                    <a:pt x="1024" y="1"/>
                  </a:lnTo>
                  <a:lnTo>
                    <a:pt x="1017" y="0"/>
                  </a:lnTo>
                  <a:lnTo>
                    <a:pt x="1011" y="0"/>
                  </a:lnTo>
                  <a:lnTo>
                    <a:pt x="68" y="0"/>
                  </a:lnTo>
                  <a:lnTo>
                    <a:pt x="61" y="0"/>
                  </a:lnTo>
                  <a:lnTo>
                    <a:pt x="55" y="1"/>
                  </a:lnTo>
                  <a:lnTo>
                    <a:pt x="48" y="3"/>
                  </a:lnTo>
                  <a:lnTo>
                    <a:pt x="42" y="6"/>
                  </a:lnTo>
                  <a:lnTo>
                    <a:pt x="35" y="8"/>
                  </a:lnTo>
                  <a:lnTo>
                    <a:pt x="31" y="11"/>
                  </a:lnTo>
                  <a:lnTo>
                    <a:pt x="25" y="16"/>
                  </a:lnTo>
                  <a:lnTo>
                    <a:pt x="21" y="20"/>
                  </a:lnTo>
                  <a:lnTo>
                    <a:pt x="16" y="25"/>
                  </a:lnTo>
                  <a:lnTo>
                    <a:pt x="12" y="30"/>
                  </a:lnTo>
                  <a:lnTo>
                    <a:pt x="8" y="35"/>
                  </a:lnTo>
                  <a:lnTo>
                    <a:pt x="6" y="42"/>
                  </a:lnTo>
                  <a:lnTo>
                    <a:pt x="4" y="47"/>
                  </a:lnTo>
                  <a:lnTo>
                    <a:pt x="1" y="54"/>
                  </a:lnTo>
                  <a:lnTo>
                    <a:pt x="0" y="61"/>
                  </a:lnTo>
                  <a:lnTo>
                    <a:pt x="0" y="68"/>
                  </a:lnTo>
                  <a:lnTo>
                    <a:pt x="0" y="622"/>
                  </a:lnTo>
                  <a:lnTo>
                    <a:pt x="0" y="628"/>
                  </a:lnTo>
                  <a:lnTo>
                    <a:pt x="1" y="635"/>
                  </a:lnTo>
                  <a:lnTo>
                    <a:pt x="4" y="641"/>
                  </a:lnTo>
                  <a:lnTo>
                    <a:pt x="6" y="648"/>
                  </a:lnTo>
                  <a:lnTo>
                    <a:pt x="8" y="653"/>
                  </a:lnTo>
                  <a:lnTo>
                    <a:pt x="12" y="659"/>
                  </a:lnTo>
                  <a:lnTo>
                    <a:pt x="16" y="665"/>
                  </a:lnTo>
                  <a:lnTo>
                    <a:pt x="21" y="669"/>
                  </a:lnTo>
                  <a:lnTo>
                    <a:pt x="25" y="674"/>
                  </a:lnTo>
                  <a:lnTo>
                    <a:pt x="31" y="677"/>
                  </a:lnTo>
                  <a:lnTo>
                    <a:pt x="35" y="680"/>
                  </a:lnTo>
                  <a:lnTo>
                    <a:pt x="42" y="684"/>
                  </a:lnTo>
                  <a:lnTo>
                    <a:pt x="48" y="686"/>
                  </a:lnTo>
                  <a:lnTo>
                    <a:pt x="55" y="687"/>
                  </a:lnTo>
                  <a:lnTo>
                    <a:pt x="61" y="688"/>
                  </a:lnTo>
                  <a:lnTo>
                    <a:pt x="68" y="689"/>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66" name="Rectangle 622"/>
            <p:cNvSpPr>
              <a:spLocks noChangeArrowheads="1"/>
            </p:cNvSpPr>
            <p:nvPr/>
          </p:nvSpPr>
          <p:spPr bwMode="auto">
            <a:xfrm>
              <a:off x="592" y="3749"/>
              <a:ext cx="20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Information </a:t>
              </a:r>
              <a:endParaRPr lang="en-US" sz="1800" b="0" kern="0" baseline="0">
                <a:solidFill>
                  <a:sysClr val="windowText" lastClr="000000"/>
                </a:solidFill>
                <a:latin typeface="Arial" charset="0"/>
                <a:ea typeface="ＭＳ Ｐゴシック"/>
                <a:cs typeface="ＭＳ Ｐゴシック"/>
              </a:endParaRPr>
            </a:p>
          </p:txBody>
        </p:sp>
        <p:sp>
          <p:nvSpPr>
            <p:cNvPr id="67" name="Rectangle 623"/>
            <p:cNvSpPr>
              <a:spLocks noChangeArrowheads="1"/>
            </p:cNvSpPr>
            <p:nvPr/>
          </p:nvSpPr>
          <p:spPr bwMode="auto">
            <a:xfrm>
              <a:off x="541" y="3784"/>
              <a:ext cx="148"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Strategy</a:t>
              </a:r>
              <a:endParaRPr lang="en-US" sz="1800" b="0" kern="0" baseline="0">
                <a:solidFill>
                  <a:sysClr val="windowText" lastClr="000000"/>
                </a:solidFill>
                <a:latin typeface="Arial" charset="0"/>
                <a:ea typeface="ＭＳ Ｐゴシック"/>
                <a:cs typeface="ＭＳ Ｐゴシック"/>
              </a:endParaRPr>
            </a:p>
          </p:txBody>
        </p:sp>
        <p:sp>
          <p:nvSpPr>
            <p:cNvPr id="68" name="Rectangle 624"/>
            <p:cNvSpPr>
              <a:spLocks noChangeArrowheads="1"/>
            </p:cNvSpPr>
            <p:nvPr/>
          </p:nvSpPr>
          <p:spPr bwMode="auto">
            <a:xfrm>
              <a:off x="691" y="3784"/>
              <a:ext cx="22"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69" name="Rectangle 625"/>
            <p:cNvSpPr>
              <a:spLocks noChangeArrowheads="1"/>
            </p:cNvSpPr>
            <p:nvPr/>
          </p:nvSpPr>
          <p:spPr bwMode="auto">
            <a:xfrm>
              <a:off x="713" y="3784"/>
              <a:ext cx="82"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rch</a:t>
              </a:r>
              <a:endParaRPr lang="en-US" sz="1800" b="0" kern="0" baseline="0">
                <a:solidFill>
                  <a:sysClr val="windowText" lastClr="000000"/>
                </a:solidFill>
                <a:latin typeface="Arial" charset="0"/>
                <a:ea typeface="ＭＳ Ｐゴシック"/>
                <a:cs typeface="ＭＳ Ｐゴシック"/>
              </a:endParaRPr>
            </a:p>
          </p:txBody>
        </p:sp>
        <p:sp>
          <p:nvSpPr>
            <p:cNvPr id="70" name="Rectangle 626"/>
            <p:cNvSpPr>
              <a:spLocks noChangeArrowheads="1"/>
            </p:cNvSpPr>
            <p:nvPr/>
          </p:nvSpPr>
          <p:spPr bwMode="auto">
            <a:xfrm>
              <a:off x="795" y="3784"/>
              <a:ext cx="22"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71" name="Rectangle 627"/>
            <p:cNvSpPr>
              <a:spLocks noChangeArrowheads="1"/>
            </p:cNvSpPr>
            <p:nvPr/>
          </p:nvSpPr>
          <p:spPr bwMode="auto">
            <a:xfrm>
              <a:off x="818" y="3784"/>
              <a:ext cx="38"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72" name="Rectangle 628"/>
            <p:cNvSpPr>
              <a:spLocks noChangeArrowheads="1"/>
            </p:cNvSpPr>
            <p:nvPr/>
          </p:nvSpPr>
          <p:spPr bwMode="auto">
            <a:xfrm>
              <a:off x="583" y="3819"/>
              <a:ext cx="21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Governance</a:t>
              </a:r>
              <a:endParaRPr lang="en-US" sz="1800" b="0" kern="0" baseline="0">
                <a:solidFill>
                  <a:sysClr val="windowText" lastClr="000000"/>
                </a:solidFill>
                <a:latin typeface="Arial" charset="0"/>
                <a:ea typeface="ＭＳ Ｐゴシック"/>
                <a:cs typeface="ＭＳ Ｐゴシック"/>
              </a:endParaRPr>
            </a:p>
          </p:txBody>
        </p:sp>
        <p:sp>
          <p:nvSpPr>
            <p:cNvPr id="73" name="Freeform 629"/>
            <p:cNvSpPr>
              <a:spLocks/>
            </p:cNvSpPr>
            <p:nvPr/>
          </p:nvSpPr>
          <p:spPr bwMode="auto">
            <a:xfrm>
              <a:off x="101" y="2996"/>
              <a:ext cx="362" cy="167"/>
            </a:xfrm>
            <a:custGeom>
              <a:avLst/>
              <a:gdLst>
                <a:gd name="T0" fmla="*/ 113 w 1088"/>
                <a:gd name="T1" fmla="*/ 40 h 690"/>
                <a:gd name="T2" fmla="*/ 114 w 1088"/>
                <a:gd name="T3" fmla="*/ 40 h 690"/>
                <a:gd name="T4" fmla="*/ 116 w 1088"/>
                <a:gd name="T5" fmla="*/ 40 h 690"/>
                <a:gd name="T6" fmla="*/ 117 w 1088"/>
                <a:gd name="T7" fmla="*/ 40 h 690"/>
                <a:gd name="T8" fmla="*/ 118 w 1088"/>
                <a:gd name="T9" fmla="*/ 39 h 690"/>
                <a:gd name="T10" fmla="*/ 119 w 1088"/>
                <a:gd name="T11" fmla="*/ 38 h 690"/>
                <a:gd name="T12" fmla="*/ 120 w 1088"/>
                <a:gd name="T13" fmla="*/ 38 h 690"/>
                <a:gd name="T14" fmla="*/ 120 w 1088"/>
                <a:gd name="T15" fmla="*/ 37 h 690"/>
                <a:gd name="T16" fmla="*/ 120 w 1088"/>
                <a:gd name="T17" fmla="*/ 37 h 690"/>
                <a:gd name="T18" fmla="*/ 120 w 1088"/>
                <a:gd name="T19" fmla="*/ 4 h 690"/>
                <a:gd name="T20" fmla="*/ 120 w 1088"/>
                <a:gd name="T21" fmla="*/ 3 h 690"/>
                <a:gd name="T22" fmla="*/ 120 w 1088"/>
                <a:gd name="T23" fmla="*/ 2 h 690"/>
                <a:gd name="T24" fmla="*/ 119 w 1088"/>
                <a:gd name="T25" fmla="*/ 2 h 690"/>
                <a:gd name="T26" fmla="*/ 118 w 1088"/>
                <a:gd name="T27" fmla="*/ 1 h 690"/>
                <a:gd name="T28" fmla="*/ 117 w 1088"/>
                <a:gd name="T29" fmla="*/ 1 h 690"/>
                <a:gd name="T30" fmla="*/ 116 w 1088"/>
                <a:gd name="T31" fmla="*/ 0 h 690"/>
                <a:gd name="T32" fmla="*/ 114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7 h 690"/>
                <a:gd name="T56" fmla="*/ 0 w 1088"/>
                <a:gd name="T57" fmla="*/ 38 h 690"/>
                <a:gd name="T58" fmla="*/ 1 w 1088"/>
                <a:gd name="T59" fmla="*/ 38 h 690"/>
                <a:gd name="T60" fmla="*/ 2 w 1088"/>
                <a:gd name="T61" fmla="*/ 39 h 690"/>
                <a:gd name="T62" fmla="*/ 3 w 1088"/>
                <a:gd name="T63" fmla="*/ 40 h 690"/>
                <a:gd name="T64" fmla="*/ 4 w 1088"/>
                <a:gd name="T65" fmla="*/ 40 h 690"/>
                <a:gd name="T66" fmla="*/ 6 w 1088"/>
                <a:gd name="T67" fmla="*/ 40 h 690"/>
                <a:gd name="T68" fmla="*/ 8 w 1088"/>
                <a:gd name="T69" fmla="*/ 40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8" y="690"/>
                  </a:moveTo>
                  <a:lnTo>
                    <a:pt x="1020" y="690"/>
                  </a:lnTo>
                  <a:lnTo>
                    <a:pt x="1027" y="688"/>
                  </a:lnTo>
                  <a:lnTo>
                    <a:pt x="1034" y="687"/>
                  </a:lnTo>
                  <a:lnTo>
                    <a:pt x="1041" y="686"/>
                  </a:lnTo>
                  <a:lnTo>
                    <a:pt x="1046" y="684"/>
                  </a:lnTo>
                  <a:lnTo>
                    <a:pt x="1053" y="680"/>
                  </a:lnTo>
                  <a:lnTo>
                    <a:pt x="1059" y="677"/>
                  </a:lnTo>
                  <a:lnTo>
                    <a:pt x="1063" y="674"/>
                  </a:lnTo>
                  <a:lnTo>
                    <a:pt x="1068" y="669"/>
                  </a:lnTo>
                  <a:lnTo>
                    <a:pt x="1072" y="665"/>
                  </a:lnTo>
                  <a:lnTo>
                    <a:pt x="1077" y="659"/>
                  </a:lnTo>
                  <a:lnTo>
                    <a:pt x="1080" y="653"/>
                  </a:lnTo>
                  <a:lnTo>
                    <a:pt x="1082" y="648"/>
                  </a:lnTo>
                  <a:lnTo>
                    <a:pt x="1085" y="641"/>
                  </a:lnTo>
                  <a:lnTo>
                    <a:pt x="1087" y="635"/>
                  </a:lnTo>
                  <a:lnTo>
                    <a:pt x="1088" y="628"/>
                  </a:lnTo>
                  <a:lnTo>
                    <a:pt x="1088" y="622"/>
                  </a:lnTo>
                  <a:lnTo>
                    <a:pt x="1088" y="68"/>
                  </a:lnTo>
                  <a:lnTo>
                    <a:pt x="1088" y="61"/>
                  </a:lnTo>
                  <a:lnTo>
                    <a:pt x="1087" y="54"/>
                  </a:lnTo>
                  <a:lnTo>
                    <a:pt x="1085" y="48"/>
                  </a:lnTo>
                  <a:lnTo>
                    <a:pt x="1082" y="42"/>
                  </a:lnTo>
                  <a:lnTo>
                    <a:pt x="1080" y="36"/>
                  </a:lnTo>
                  <a:lnTo>
                    <a:pt x="1077" y="31"/>
                  </a:lnTo>
                  <a:lnTo>
                    <a:pt x="1072" y="25"/>
                  </a:lnTo>
                  <a:lnTo>
                    <a:pt x="1068" y="20"/>
                  </a:lnTo>
                  <a:lnTo>
                    <a:pt x="1063" y="16"/>
                  </a:lnTo>
                  <a:lnTo>
                    <a:pt x="1059" y="11"/>
                  </a:lnTo>
                  <a:lnTo>
                    <a:pt x="1053" y="8"/>
                  </a:lnTo>
                  <a:lnTo>
                    <a:pt x="1046" y="6"/>
                  </a:lnTo>
                  <a:lnTo>
                    <a:pt x="1041" y="3"/>
                  </a:lnTo>
                  <a:lnTo>
                    <a:pt x="1034" y="1"/>
                  </a:lnTo>
                  <a:lnTo>
                    <a:pt x="1027" y="1"/>
                  </a:lnTo>
                  <a:lnTo>
                    <a:pt x="1020" y="0"/>
                  </a:lnTo>
                  <a:lnTo>
                    <a:pt x="68" y="0"/>
                  </a:lnTo>
                  <a:lnTo>
                    <a:pt x="61" y="1"/>
                  </a:lnTo>
                  <a:lnTo>
                    <a:pt x="54" y="1"/>
                  </a:lnTo>
                  <a:lnTo>
                    <a:pt x="47" y="3"/>
                  </a:lnTo>
                  <a:lnTo>
                    <a:pt x="40" y="6"/>
                  </a:lnTo>
                  <a:lnTo>
                    <a:pt x="35" y="8"/>
                  </a:lnTo>
                  <a:lnTo>
                    <a:pt x="29" y="11"/>
                  </a:lnTo>
                  <a:lnTo>
                    <a:pt x="25" y="16"/>
                  </a:lnTo>
                  <a:lnTo>
                    <a:pt x="19" y="20"/>
                  </a:lnTo>
                  <a:lnTo>
                    <a:pt x="14" y="25"/>
                  </a:lnTo>
                  <a:lnTo>
                    <a:pt x="11" y="31"/>
                  </a:lnTo>
                  <a:lnTo>
                    <a:pt x="8" y="36"/>
                  </a:lnTo>
                  <a:lnTo>
                    <a:pt x="4" y="42"/>
                  </a:lnTo>
                  <a:lnTo>
                    <a:pt x="2" y="48"/>
                  </a:lnTo>
                  <a:lnTo>
                    <a:pt x="1" y="54"/>
                  </a:lnTo>
                  <a:lnTo>
                    <a:pt x="0" y="61"/>
                  </a:lnTo>
                  <a:lnTo>
                    <a:pt x="0" y="68"/>
                  </a:lnTo>
                  <a:lnTo>
                    <a:pt x="0" y="622"/>
                  </a:lnTo>
                  <a:lnTo>
                    <a:pt x="0" y="628"/>
                  </a:lnTo>
                  <a:lnTo>
                    <a:pt x="1" y="635"/>
                  </a:lnTo>
                  <a:lnTo>
                    <a:pt x="2" y="641"/>
                  </a:lnTo>
                  <a:lnTo>
                    <a:pt x="4" y="648"/>
                  </a:lnTo>
                  <a:lnTo>
                    <a:pt x="8" y="653"/>
                  </a:lnTo>
                  <a:lnTo>
                    <a:pt x="11" y="659"/>
                  </a:lnTo>
                  <a:lnTo>
                    <a:pt x="14" y="665"/>
                  </a:lnTo>
                  <a:lnTo>
                    <a:pt x="19" y="669"/>
                  </a:lnTo>
                  <a:lnTo>
                    <a:pt x="25" y="674"/>
                  </a:lnTo>
                  <a:lnTo>
                    <a:pt x="29" y="677"/>
                  </a:lnTo>
                  <a:lnTo>
                    <a:pt x="35" y="680"/>
                  </a:lnTo>
                  <a:lnTo>
                    <a:pt x="40" y="684"/>
                  </a:lnTo>
                  <a:lnTo>
                    <a:pt x="47" y="686"/>
                  </a:lnTo>
                  <a:lnTo>
                    <a:pt x="54" y="687"/>
                  </a:lnTo>
                  <a:lnTo>
                    <a:pt x="61" y="688"/>
                  </a:lnTo>
                  <a:lnTo>
                    <a:pt x="68" y="69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74" name="Freeform 630"/>
            <p:cNvSpPr>
              <a:spLocks/>
            </p:cNvSpPr>
            <p:nvPr/>
          </p:nvSpPr>
          <p:spPr bwMode="auto">
            <a:xfrm>
              <a:off x="101" y="2996"/>
              <a:ext cx="362" cy="167"/>
            </a:xfrm>
            <a:custGeom>
              <a:avLst/>
              <a:gdLst>
                <a:gd name="T0" fmla="*/ 113 w 1088"/>
                <a:gd name="T1" fmla="*/ 40 h 690"/>
                <a:gd name="T2" fmla="*/ 114 w 1088"/>
                <a:gd name="T3" fmla="*/ 40 h 690"/>
                <a:gd name="T4" fmla="*/ 116 w 1088"/>
                <a:gd name="T5" fmla="*/ 40 h 690"/>
                <a:gd name="T6" fmla="*/ 117 w 1088"/>
                <a:gd name="T7" fmla="*/ 40 h 690"/>
                <a:gd name="T8" fmla="*/ 118 w 1088"/>
                <a:gd name="T9" fmla="*/ 39 h 690"/>
                <a:gd name="T10" fmla="*/ 119 w 1088"/>
                <a:gd name="T11" fmla="*/ 38 h 690"/>
                <a:gd name="T12" fmla="*/ 120 w 1088"/>
                <a:gd name="T13" fmla="*/ 38 h 690"/>
                <a:gd name="T14" fmla="*/ 120 w 1088"/>
                <a:gd name="T15" fmla="*/ 37 h 690"/>
                <a:gd name="T16" fmla="*/ 120 w 1088"/>
                <a:gd name="T17" fmla="*/ 37 h 690"/>
                <a:gd name="T18" fmla="*/ 120 w 1088"/>
                <a:gd name="T19" fmla="*/ 4 h 690"/>
                <a:gd name="T20" fmla="*/ 120 w 1088"/>
                <a:gd name="T21" fmla="*/ 3 h 690"/>
                <a:gd name="T22" fmla="*/ 120 w 1088"/>
                <a:gd name="T23" fmla="*/ 2 h 690"/>
                <a:gd name="T24" fmla="*/ 119 w 1088"/>
                <a:gd name="T25" fmla="*/ 2 h 690"/>
                <a:gd name="T26" fmla="*/ 118 w 1088"/>
                <a:gd name="T27" fmla="*/ 1 h 690"/>
                <a:gd name="T28" fmla="*/ 117 w 1088"/>
                <a:gd name="T29" fmla="*/ 1 h 690"/>
                <a:gd name="T30" fmla="*/ 116 w 1088"/>
                <a:gd name="T31" fmla="*/ 0 h 690"/>
                <a:gd name="T32" fmla="*/ 114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7 h 690"/>
                <a:gd name="T56" fmla="*/ 0 w 1088"/>
                <a:gd name="T57" fmla="*/ 38 h 690"/>
                <a:gd name="T58" fmla="*/ 1 w 1088"/>
                <a:gd name="T59" fmla="*/ 38 h 690"/>
                <a:gd name="T60" fmla="*/ 2 w 1088"/>
                <a:gd name="T61" fmla="*/ 39 h 690"/>
                <a:gd name="T62" fmla="*/ 3 w 1088"/>
                <a:gd name="T63" fmla="*/ 40 h 690"/>
                <a:gd name="T64" fmla="*/ 4 w 1088"/>
                <a:gd name="T65" fmla="*/ 40 h 690"/>
                <a:gd name="T66" fmla="*/ 6 w 1088"/>
                <a:gd name="T67" fmla="*/ 40 h 690"/>
                <a:gd name="T68" fmla="*/ 8 w 1088"/>
                <a:gd name="T69" fmla="*/ 40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8" y="690"/>
                  </a:moveTo>
                  <a:lnTo>
                    <a:pt x="1020" y="690"/>
                  </a:lnTo>
                  <a:lnTo>
                    <a:pt x="1027" y="688"/>
                  </a:lnTo>
                  <a:lnTo>
                    <a:pt x="1034" y="687"/>
                  </a:lnTo>
                  <a:lnTo>
                    <a:pt x="1041" y="686"/>
                  </a:lnTo>
                  <a:lnTo>
                    <a:pt x="1046" y="684"/>
                  </a:lnTo>
                  <a:lnTo>
                    <a:pt x="1053" y="680"/>
                  </a:lnTo>
                  <a:lnTo>
                    <a:pt x="1059" y="677"/>
                  </a:lnTo>
                  <a:lnTo>
                    <a:pt x="1063" y="674"/>
                  </a:lnTo>
                  <a:lnTo>
                    <a:pt x="1068" y="669"/>
                  </a:lnTo>
                  <a:lnTo>
                    <a:pt x="1072" y="665"/>
                  </a:lnTo>
                  <a:lnTo>
                    <a:pt x="1077" y="659"/>
                  </a:lnTo>
                  <a:lnTo>
                    <a:pt x="1080" y="653"/>
                  </a:lnTo>
                  <a:lnTo>
                    <a:pt x="1082" y="648"/>
                  </a:lnTo>
                  <a:lnTo>
                    <a:pt x="1085" y="641"/>
                  </a:lnTo>
                  <a:lnTo>
                    <a:pt x="1087" y="635"/>
                  </a:lnTo>
                  <a:lnTo>
                    <a:pt x="1088" y="628"/>
                  </a:lnTo>
                  <a:lnTo>
                    <a:pt x="1088" y="622"/>
                  </a:lnTo>
                  <a:lnTo>
                    <a:pt x="1088" y="68"/>
                  </a:lnTo>
                  <a:lnTo>
                    <a:pt x="1088" y="61"/>
                  </a:lnTo>
                  <a:lnTo>
                    <a:pt x="1087" y="54"/>
                  </a:lnTo>
                  <a:lnTo>
                    <a:pt x="1085" y="48"/>
                  </a:lnTo>
                  <a:lnTo>
                    <a:pt x="1082" y="42"/>
                  </a:lnTo>
                  <a:lnTo>
                    <a:pt x="1080" y="36"/>
                  </a:lnTo>
                  <a:lnTo>
                    <a:pt x="1077" y="31"/>
                  </a:lnTo>
                  <a:lnTo>
                    <a:pt x="1072" y="25"/>
                  </a:lnTo>
                  <a:lnTo>
                    <a:pt x="1068" y="20"/>
                  </a:lnTo>
                  <a:lnTo>
                    <a:pt x="1063" y="16"/>
                  </a:lnTo>
                  <a:lnTo>
                    <a:pt x="1059" y="11"/>
                  </a:lnTo>
                  <a:lnTo>
                    <a:pt x="1053" y="8"/>
                  </a:lnTo>
                  <a:lnTo>
                    <a:pt x="1046" y="6"/>
                  </a:lnTo>
                  <a:lnTo>
                    <a:pt x="1041" y="3"/>
                  </a:lnTo>
                  <a:lnTo>
                    <a:pt x="1034" y="1"/>
                  </a:lnTo>
                  <a:lnTo>
                    <a:pt x="1027" y="1"/>
                  </a:lnTo>
                  <a:lnTo>
                    <a:pt x="1020" y="0"/>
                  </a:lnTo>
                  <a:lnTo>
                    <a:pt x="68" y="0"/>
                  </a:lnTo>
                  <a:lnTo>
                    <a:pt x="61" y="1"/>
                  </a:lnTo>
                  <a:lnTo>
                    <a:pt x="54" y="1"/>
                  </a:lnTo>
                  <a:lnTo>
                    <a:pt x="47" y="3"/>
                  </a:lnTo>
                  <a:lnTo>
                    <a:pt x="40" y="6"/>
                  </a:lnTo>
                  <a:lnTo>
                    <a:pt x="35" y="8"/>
                  </a:lnTo>
                  <a:lnTo>
                    <a:pt x="29" y="11"/>
                  </a:lnTo>
                  <a:lnTo>
                    <a:pt x="25" y="16"/>
                  </a:lnTo>
                  <a:lnTo>
                    <a:pt x="19" y="20"/>
                  </a:lnTo>
                  <a:lnTo>
                    <a:pt x="14" y="25"/>
                  </a:lnTo>
                  <a:lnTo>
                    <a:pt x="11" y="31"/>
                  </a:lnTo>
                  <a:lnTo>
                    <a:pt x="8" y="36"/>
                  </a:lnTo>
                  <a:lnTo>
                    <a:pt x="4" y="42"/>
                  </a:lnTo>
                  <a:lnTo>
                    <a:pt x="2" y="48"/>
                  </a:lnTo>
                  <a:lnTo>
                    <a:pt x="1" y="54"/>
                  </a:lnTo>
                  <a:lnTo>
                    <a:pt x="0" y="61"/>
                  </a:lnTo>
                  <a:lnTo>
                    <a:pt x="0" y="68"/>
                  </a:lnTo>
                  <a:lnTo>
                    <a:pt x="0" y="622"/>
                  </a:lnTo>
                  <a:lnTo>
                    <a:pt x="0" y="628"/>
                  </a:lnTo>
                  <a:lnTo>
                    <a:pt x="1" y="635"/>
                  </a:lnTo>
                  <a:lnTo>
                    <a:pt x="2" y="641"/>
                  </a:lnTo>
                  <a:lnTo>
                    <a:pt x="4" y="648"/>
                  </a:lnTo>
                  <a:lnTo>
                    <a:pt x="8" y="653"/>
                  </a:lnTo>
                  <a:lnTo>
                    <a:pt x="11" y="659"/>
                  </a:lnTo>
                  <a:lnTo>
                    <a:pt x="14" y="665"/>
                  </a:lnTo>
                  <a:lnTo>
                    <a:pt x="19" y="669"/>
                  </a:lnTo>
                  <a:lnTo>
                    <a:pt x="25" y="674"/>
                  </a:lnTo>
                  <a:lnTo>
                    <a:pt x="29" y="677"/>
                  </a:lnTo>
                  <a:lnTo>
                    <a:pt x="35" y="680"/>
                  </a:lnTo>
                  <a:lnTo>
                    <a:pt x="40" y="684"/>
                  </a:lnTo>
                  <a:lnTo>
                    <a:pt x="47" y="686"/>
                  </a:lnTo>
                  <a:lnTo>
                    <a:pt x="54" y="687"/>
                  </a:lnTo>
                  <a:lnTo>
                    <a:pt x="61" y="688"/>
                  </a:lnTo>
                  <a:lnTo>
                    <a:pt x="68" y="69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75" name="Rectangle 631"/>
            <p:cNvSpPr>
              <a:spLocks noChangeArrowheads="1"/>
            </p:cNvSpPr>
            <p:nvPr/>
          </p:nvSpPr>
          <p:spPr bwMode="auto">
            <a:xfrm>
              <a:off x="146" y="3026"/>
              <a:ext cx="6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Net</a:t>
              </a:r>
              <a:endParaRPr lang="en-US" sz="1800" b="0" kern="0" baseline="0">
                <a:solidFill>
                  <a:sysClr val="windowText" lastClr="000000"/>
                </a:solidFill>
                <a:latin typeface="Arial" charset="0"/>
                <a:ea typeface="ＭＳ Ｐゴシック"/>
                <a:cs typeface="ＭＳ Ｐゴシック"/>
              </a:endParaRPr>
            </a:p>
          </p:txBody>
        </p:sp>
        <p:sp>
          <p:nvSpPr>
            <p:cNvPr id="76" name="Rectangle 632"/>
            <p:cNvSpPr>
              <a:spLocks noChangeArrowheads="1"/>
            </p:cNvSpPr>
            <p:nvPr/>
          </p:nvSpPr>
          <p:spPr bwMode="auto">
            <a:xfrm>
              <a:off x="208" y="3026"/>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77" name="Rectangle 633"/>
            <p:cNvSpPr>
              <a:spLocks noChangeArrowheads="1"/>
            </p:cNvSpPr>
            <p:nvPr/>
          </p:nvSpPr>
          <p:spPr bwMode="auto">
            <a:xfrm>
              <a:off x="231" y="3026"/>
              <a:ext cx="16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nalysis </a:t>
              </a:r>
              <a:endParaRPr lang="en-US" sz="1800" b="0" kern="0" baseline="0">
                <a:solidFill>
                  <a:sysClr val="windowText" lastClr="000000"/>
                </a:solidFill>
                <a:latin typeface="Arial" charset="0"/>
                <a:ea typeface="ＭＳ Ｐゴシック"/>
                <a:cs typeface="ＭＳ Ｐゴシック"/>
              </a:endParaRPr>
            </a:p>
          </p:txBody>
        </p:sp>
        <p:sp>
          <p:nvSpPr>
            <p:cNvPr id="78" name="Rectangle 634"/>
            <p:cNvSpPr>
              <a:spLocks noChangeArrowheads="1"/>
            </p:cNvSpPr>
            <p:nvPr/>
          </p:nvSpPr>
          <p:spPr bwMode="auto">
            <a:xfrm>
              <a:off x="391" y="3026"/>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79" name="Rectangle 635"/>
            <p:cNvSpPr>
              <a:spLocks noChangeArrowheads="1"/>
            </p:cNvSpPr>
            <p:nvPr/>
          </p:nvSpPr>
          <p:spPr bwMode="auto">
            <a:xfrm>
              <a:off x="191" y="3062"/>
              <a:ext cx="189"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Long term </a:t>
              </a:r>
              <a:endParaRPr lang="en-US" sz="1800" b="0" kern="0" baseline="0">
                <a:solidFill>
                  <a:sysClr val="windowText" lastClr="000000"/>
                </a:solidFill>
                <a:latin typeface="Arial" charset="0"/>
                <a:ea typeface="ＭＳ Ｐゴシック"/>
                <a:cs typeface="ＭＳ Ｐゴシック"/>
              </a:endParaRPr>
            </a:p>
          </p:txBody>
        </p:sp>
        <p:sp>
          <p:nvSpPr>
            <p:cNvPr id="80" name="Rectangle 636"/>
            <p:cNvSpPr>
              <a:spLocks noChangeArrowheads="1"/>
            </p:cNvSpPr>
            <p:nvPr/>
          </p:nvSpPr>
          <p:spPr bwMode="auto">
            <a:xfrm>
              <a:off x="204" y="3097"/>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lanning</a:t>
              </a:r>
              <a:endParaRPr lang="en-US" sz="1800" b="0" kern="0" baseline="0">
                <a:solidFill>
                  <a:sysClr val="windowText" lastClr="000000"/>
                </a:solidFill>
                <a:latin typeface="Arial" charset="0"/>
                <a:ea typeface="ＭＳ Ｐゴシック"/>
                <a:cs typeface="ＭＳ Ｐゴシック"/>
              </a:endParaRPr>
            </a:p>
          </p:txBody>
        </p:sp>
        <p:sp>
          <p:nvSpPr>
            <p:cNvPr id="81" name="Freeform 637"/>
            <p:cNvSpPr>
              <a:spLocks/>
            </p:cNvSpPr>
            <p:nvPr/>
          </p:nvSpPr>
          <p:spPr bwMode="auto">
            <a:xfrm>
              <a:off x="510" y="2996"/>
              <a:ext cx="364" cy="167"/>
            </a:xfrm>
            <a:custGeom>
              <a:avLst/>
              <a:gdLst>
                <a:gd name="T0" fmla="*/ 114 w 1090"/>
                <a:gd name="T1" fmla="*/ 40 h 690"/>
                <a:gd name="T2" fmla="*/ 116 w 1090"/>
                <a:gd name="T3" fmla="*/ 40 h 690"/>
                <a:gd name="T4" fmla="*/ 117 w 1090"/>
                <a:gd name="T5" fmla="*/ 40 h 690"/>
                <a:gd name="T6" fmla="*/ 118 w 1090"/>
                <a:gd name="T7" fmla="*/ 40 h 690"/>
                <a:gd name="T8" fmla="*/ 119 w 1090"/>
                <a:gd name="T9" fmla="*/ 39 h 690"/>
                <a:gd name="T10" fmla="*/ 120 w 1090"/>
                <a:gd name="T11" fmla="*/ 38 h 690"/>
                <a:gd name="T12" fmla="*/ 121 w 1090"/>
                <a:gd name="T13" fmla="*/ 38 h 690"/>
                <a:gd name="T14" fmla="*/ 121 w 1090"/>
                <a:gd name="T15" fmla="*/ 37 h 690"/>
                <a:gd name="T16" fmla="*/ 122 w 1090"/>
                <a:gd name="T17" fmla="*/ 37 h 690"/>
                <a:gd name="T18" fmla="*/ 122 w 1090"/>
                <a:gd name="T19" fmla="*/ 4 h 690"/>
                <a:gd name="T20" fmla="*/ 121 w 1090"/>
                <a:gd name="T21" fmla="*/ 3 h 690"/>
                <a:gd name="T22" fmla="*/ 121 w 1090"/>
                <a:gd name="T23" fmla="*/ 2 h 690"/>
                <a:gd name="T24" fmla="*/ 120 w 1090"/>
                <a:gd name="T25" fmla="*/ 2 h 690"/>
                <a:gd name="T26" fmla="*/ 119 w 1090"/>
                <a:gd name="T27" fmla="*/ 1 h 690"/>
                <a:gd name="T28" fmla="*/ 118 w 1090"/>
                <a:gd name="T29" fmla="*/ 1 h 690"/>
                <a:gd name="T30" fmla="*/ 117 w 1090"/>
                <a:gd name="T31" fmla="*/ 0 h 690"/>
                <a:gd name="T32" fmla="*/ 116 w 1090"/>
                <a:gd name="T33" fmla="*/ 0 h 690"/>
                <a:gd name="T34" fmla="*/ 114 w 1090"/>
                <a:gd name="T35" fmla="*/ 0 h 690"/>
                <a:gd name="T36" fmla="*/ 7 w 1090"/>
                <a:gd name="T37" fmla="*/ 0 h 690"/>
                <a:gd name="T38" fmla="*/ 5 w 1090"/>
                <a:gd name="T39" fmla="*/ 0 h 690"/>
                <a:gd name="T40" fmla="*/ 4 w 1090"/>
                <a:gd name="T41" fmla="*/ 0 h 690"/>
                <a:gd name="T42" fmla="*/ 3 w 1090"/>
                <a:gd name="T43" fmla="*/ 1 h 690"/>
                <a:gd name="T44" fmla="*/ 2 w 1090"/>
                <a:gd name="T45" fmla="*/ 1 h 690"/>
                <a:gd name="T46" fmla="*/ 1 w 1090"/>
                <a:gd name="T47" fmla="*/ 2 h 690"/>
                <a:gd name="T48" fmla="*/ 0 w 1090"/>
                <a:gd name="T49" fmla="*/ 3 h 690"/>
                <a:gd name="T50" fmla="*/ 0 w 1090"/>
                <a:gd name="T51" fmla="*/ 4 h 690"/>
                <a:gd name="T52" fmla="*/ 0 w 1090"/>
                <a:gd name="T53" fmla="*/ 37 h 690"/>
                <a:gd name="T54" fmla="*/ 0 w 1090"/>
                <a:gd name="T55" fmla="*/ 37 h 690"/>
                <a:gd name="T56" fmla="*/ 1 w 1090"/>
                <a:gd name="T57" fmla="*/ 38 h 690"/>
                <a:gd name="T58" fmla="*/ 1 w 1090"/>
                <a:gd name="T59" fmla="*/ 38 h 690"/>
                <a:gd name="T60" fmla="*/ 2 w 1090"/>
                <a:gd name="T61" fmla="*/ 39 h 690"/>
                <a:gd name="T62" fmla="*/ 3 w 1090"/>
                <a:gd name="T63" fmla="*/ 40 h 690"/>
                <a:gd name="T64" fmla="*/ 5 w 1090"/>
                <a:gd name="T65" fmla="*/ 40 h 690"/>
                <a:gd name="T66" fmla="*/ 6 w 1090"/>
                <a:gd name="T67" fmla="*/ 40 h 690"/>
                <a:gd name="T68" fmla="*/ 8 w 1090"/>
                <a:gd name="T69" fmla="*/ 40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90"/>
                <a:gd name="T106" fmla="*/ 0 h 690"/>
                <a:gd name="T107" fmla="*/ 1090 w 1090"/>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90" h="690">
                  <a:moveTo>
                    <a:pt x="68" y="690"/>
                  </a:moveTo>
                  <a:lnTo>
                    <a:pt x="1022" y="690"/>
                  </a:lnTo>
                  <a:lnTo>
                    <a:pt x="1029" y="688"/>
                  </a:lnTo>
                  <a:lnTo>
                    <a:pt x="1036" y="687"/>
                  </a:lnTo>
                  <a:lnTo>
                    <a:pt x="1041" y="686"/>
                  </a:lnTo>
                  <a:lnTo>
                    <a:pt x="1048" y="684"/>
                  </a:lnTo>
                  <a:lnTo>
                    <a:pt x="1054" y="680"/>
                  </a:lnTo>
                  <a:lnTo>
                    <a:pt x="1059" y="677"/>
                  </a:lnTo>
                  <a:lnTo>
                    <a:pt x="1065" y="674"/>
                  </a:lnTo>
                  <a:lnTo>
                    <a:pt x="1069" y="669"/>
                  </a:lnTo>
                  <a:lnTo>
                    <a:pt x="1074" y="665"/>
                  </a:lnTo>
                  <a:lnTo>
                    <a:pt x="1077" y="659"/>
                  </a:lnTo>
                  <a:lnTo>
                    <a:pt x="1081" y="653"/>
                  </a:lnTo>
                  <a:lnTo>
                    <a:pt x="1084" y="648"/>
                  </a:lnTo>
                  <a:lnTo>
                    <a:pt x="1086" y="641"/>
                  </a:lnTo>
                  <a:lnTo>
                    <a:pt x="1088" y="635"/>
                  </a:lnTo>
                  <a:lnTo>
                    <a:pt x="1089" y="628"/>
                  </a:lnTo>
                  <a:lnTo>
                    <a:pt x="1090" y="622"/>
                  </a:lnTo>
                  <a:lnTo>
                    <a:pt x="1090" y="68"/>
                  </a:lnTo>
                  <a:lnTo>
                    <a:pt x="1089" y="61"/>
                  </a:lnTo>
                  <a:lnTo>
                    <a:pt x="1088" y="54"/>
                  </a:lnTo>
                  <a:lnTo>
                    <a:pt x="1086" y="48"/>
                  </a:lnTo>
                  <a:lnTo>
                    <a:pt x="1084" y="42"/>
                  </a:lnTo>
                  <a:lnTo>
                    <a:pt x="1081" y="36"/>
                  </a:lnTo>
                  <a:lnTo>
                    <a:pt x="1077" y="31"/>
                  </a:lnTo>
                  <a:lnTo>
                    <a:pt x="1074" y="25"/>
                  </a:lnTo>
                  <a:lnTo>
                    <a:pt x="1069" y="20"/>
                  </a:lnTo>
                  <a:lnTo>
                    <a:pt x="1065" y="16"/>
                  </a:lnTo>
                  <a:lnTo>
                    <a:pt x="1059" y="11"/>
                  </a:lnTo>
                  <a:lnTo>
                    <a:pt x="1054" y="8"/>
                  </a:lnTo>
                  <a:lnTo>
                    <a:pt x="1048" y="6"/>
                  </a:lnTo>
                  <a:lnTo>
                    <a:pt x="1041" y="3"/>
                  </a:lnTo>
                  <a:lnTo>
                    <a:pt x="1036" y="1"/>
                  </a:lnTo>
                  <a:lnTo>
                    <a:pt x="1029" y="1"/>
                  </a:lnTo>
                  <a:lnTo>
                    <a:pt x="1022" y="0"/>
                  </a:lnTo>
                  <a:lnTo>
                    <a:pt x="68" y="0"/>
                  </a:lnTo>
                  <a:lnTo>
                    <a:pt x="61" y="1"/>
                  </a:lnTo>
                  <a:lnTo>
                    <a:pt x="55" y="1"/>
                  </a:lnTo>
                  <a:lnTo>
                    <a:pt x="48" y="3"/>
                  </a:lnTo>
                  <a:lnTo>
                    <a:pt x="42" y="6"/>
                  </a:lnTo>
                  <a:lnTo>
                    <a:pt x="37" y="8"/>
                  </a:lnTo>
                  <a:lnTo>
                    <a:pt x="31" y="11"/>
                  </a:lnTo>
                  <a:lnTo>
                    <a:pt x="25" y="16"/>
                  </a:lnTo>
                  <a:lnTo>
                    <a:pt x="21" y="20"/>
                  </a:lnTo>
                  <a:lnTo>
                    <a:pt x="16" y="25"/>
                  </a:lnTo>
                  <a:lnTo>
                    <a:pt x="12" y="31"/>
                  </a:lnTo>
                  <a:lnTo>
                    <a:pt x="8" y="36"/>
                  </a:lnTo>
                  <a:lnTo>
                    <a:pt x="6" y="42"/>
                  </a:lnTo>
                  <a:lnTo>
                    <a:pt x="4" y="48"/>
                  </a:lnTo>
                  <a:lnTo>
                    <a:pt x="1" y="54"/>
                  </a:lnTo>
                  <a:lnTo>
                    <a:pt x="1" y="61"/>
                  </a:lnTo>
                  <a:lnTo>
                    <a:pt x="0" y="68"/>
                  </a:lnTo>
                  <a:lnTo>
                    <a:pt x="0" y="622"/>
                  </a:lnTo>
                  <a:lnTo>
                    <a:pt x="1" y="628"/>
                  </a:lnTo>
                  <a:lnTo>
                    <a:pt x="1" y="635"/>
                  </a:lnTo>
                  <a:lnTo>
                    <a:pt x="4" y="641"/>
                  </a:lnTo>
                  <a:lnTo>
                    <a:pt x="6" y="648"/>
                  </a:lnTo>
                  <a:lnTo>
                    <a:pt x="8" y="653"/>
                  </a:lnTo>
                  <a:lnTo>
                    <a:pt x="12" y="659"/>
                  </a:lnTo>
                  <a:lnTo>
                    <a:pt x="16" y="665"/>
                  </a:lnTo>
                  <a:lnTo>
                    <a:pt x="21" y="669"/>
                  </a:lnTo>
                  <a:lnTo>
                    <a:pt x="25" y="674"/>
                  </a:lnTo>
                  <a:lnTo>
                    <a:pt x="31" y="677"/>
                  </a:lnTo>
                  <a:lnTo>
                    <a:pt x="37" y="680"/>
                  </a:lnTo>
                  <a:lnTo>
                    <a:pt x="42" y="684"/>
                  </a:lnTo>
                  <a:lnTo>
                    <a:pt x="48" y="686"/>
                  </a:lnTo>
                  <a:lnTo>
                    <a:pt x="55" y="687"/>
                  </a:lnTo>
                  <a:lnTo>
                    <a:pt x="61" y="688"/>
                  </a:lnTo>
                  <a:lnTo>
                    <a:pt x="68" y="69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82" name="Freeform 638"/>
            <p:cNvSpPr>
              <a:spLocks/>
            </p:cNvSpPr>
            <p:nvPr/>
          </p:nvSpPr>
          <p:spPr bwMode="auto">
            <a:xfrm>
              <a:off x="510" y="2996"/>
              <a:ext cx="364" cy="167"/>
            </a:xfrm>
            <a:custGeom>
              <a:avLst/>
              <a:gdLst>
                <a:gd name="T0" fmla="*/ 114 w 1090"/>
                <a:gd name="T1" fmla="*/ 40 h 690"/>
                <a:gd name="T2" fmla="*/ 116 w 1090"/>
                <a:gd name="T3" fmla="*/ 40 h 690"/>
                <a:gd name="T4" fmla="*/ 117 w 1090"/>
                <a:gd name="T5" fmla="*/ 40 h 690"/>
                <a:gd name="T6" fmla="*/ 118 w 1090"/>
                <a:gd name="T7" fmla="*/ 40 h 690"/>
                <a:gd name="T8" fmla="*/ 119 w 1090"/>
                <a:gd name="T9" fmla="*/ 39 h 690"/>
                <a:gd name="T10" fmla="*/ 120 w 1090"/>
                <a:gd name="T11" fmla="*/ 38 h 690"/>
                <a:gd name="T12" fmla="*/ 121 w 1090"/>
                <a:gd name="T13" fmla="*/ 38 h 690"/>
                <a:gd name="T14" fmla="*/ 121 w 1090"/>
                <a:gd name="T15" fmla="*/ 37 h 690"/>
                <a:gd name="T16" fmla="*/ 122 w 1090"/>
                <a:gd name="T17" fmla="*/ 37 h 690"/>
                <a:gd name="T18" fmla="*/ 122 w 1090"/>
                <a:gd name="T19" fmla="*/ 4 h 690"/>
                <a:gd name="T20" fmla="*/ 121 w 1090"/>
                <a:gd name="T21" fmla="*/ 3 h 690"/>
                <a:gd name="T22" fmla="*/ 121 w 1090"/>
                <a:gd name="T23" fmla="*/ 2 h 690"/>
                <a:gd name="T24" fmla="*/ 120 w 1090"/>
                <a:gd name="T25" fmla="*/ 2 h 690"/>
                <a:gd name="T26" fmla="*/ 119 w 1090"/>
                <a:gd name="T27" fmla="*/ 1 h 690"/>
                <a:gd name="T28" fmla="*/ 118 w 1090"/>
                <a:gd name="T29" fmla="*/ 1 h 690"/>
                <a:gd name="T30" fmla="*/ 117 w 1090"/>
                <a:gd name="T31" fmla="*/ 0 h 690"/>
                <a:gd name="T32" fmla="*/ 116 w 1090"/>
                <a:gd name="T33" fmla="*/ 0 h 690"/>
                <a:gd name="T34" fmla="*/ 114 w 1090"/>
                <a:gd name="T35" fmla="*/ 0 h 690"/>
                <a:gd name="T36" fmla="*/ 7 w 1090"/>
                <a:gd name="T37" fmla="*/ 0 h 690"/>
                <a:gd name="T38" fmla="*/ 5 w 1090"/>
                <a:gd name="T39" fmla="*/ 0 h 690"/>
                <a:gd name="T40" fmla="*/ 4 w 1090"/>
                <a:gd name="T41" fmla="*/ 0 h 690"/>
                <a:gd name="T42" fmla="*/ 3 w 1090"/>
                <a:gd name="T43" fmla="*/ 1 h 690"/>
                <a:gd name="T44" fmla="*/ 2 w 1090"/>
                <a:gd name="T45" fmla="*/ 1 h 690"/>
                <a:gd name="T46" fmla="*/ 1 w 1090"/>
                <a:gd name="T47" fmla="*/ 2 h 690"/>
                <a:gd name="T48" fmla="*/ 0 w 1090"/>
                <a:gd name="T49" fmla="*/ 3 h 690"/>
                <a:gd name="T50" fmla="*/ 0 w 1090"/>
                <a:gd name="T51" fmla="*/ 4 h 690"/>
                <a:gd name="T52" fmla="*/ 0 w 1090"/>
                <a:gd name="T53" fmla="*/ 37 h 690"/>
                <a:gd name="T54" fmla="*/ 0 w 1090"/>
                <a:gd name="T55" fmla="*/ 37 h 690"/>
                <a:gd name="T56" fmla="*/ 1 w 1090"/>
                <a:gd name="T57" fmla="*/ 38 h 690"/>
                <a:gd name="T58" fmla="*/ 1 w 1090"/>
                <a:gd name="T59" fmla="*/ 38 h 690"/>
                <a:gd name="T60" fmla="*/ 2 w 1090"/>
                <a:gd name="T61" fmla="*/ 39 h 690"/>
                <a:gd name="T62" fmla="*/ 3 w 1090"/>
                <a:gd name="T63" fmla="*/ 40 h 690"/>
                <a:gd name="T64" fmla="*/ 5 w 1090"/>
                <a:gd name="T65" fmla="*/ 40 h 690"/>
                <a:gd name="T66" fmla="*/ 6 w 1090"/>
                <a:gd name="T67" fmla="*/ 40 h 690"/>
                <a:gd name="T68" fmla="*/ 8 w 1090"/>
                <a:gd name="T69" fmla="*/ 40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90"/>
                <a:gd name="T106" fmla="*/ 0 h 690"/>
                <a:gd name="T107" fmla="*/ 1090 w 1090"/>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90" h="690">
                  <a:moveTo>
                    <a:pt x="68" y="690"/>
                  </a:moveTo>
                  <a:lnTo>
                    <a:pt x="1022" y="690"/>
                  </a:lnTo>
                  <a:lnTo>
                    <a:pt x="1029" y="688"/>
                  </a:lnTo>
                  <a:lnTo>
                    <a:pt x="1036" y="687"/>
                  </a:lnTo>
                  <a:lnTo>
                    <a:pt x="1041" y="686"/>
                  </a:lnTo>
                  <a:lnTo>
                    <a:pt x="1048" y="684"/>
                  </a:lnTo>
                  <a:lnTo>
                    <a:pt x="1054" y="680"/>
                  </a:lnTo>
                  <a:lnTo>
                    <a:pt x="1059" y="677"/>
                  </a:lnTo>
                  <a:lnTo>
                    <a:pt x="1065" y="674"/>
                  </a:lnTo>
                  <a:lnTo>
                    <a:pt x="1069" y="669"/>
                  </a:lnTo>
                  <a:lnTo>
                    <a:pt x="1074" y="665"/>
                  </a:lnTo>
                  <a:lnTo>
                    <a:pt x="1077" y="659"/>
                  </a:lnTo>
                  <a:lnTo>
                    <a:pt x="1081" y="653"/>
                  </a:lnTo>
                  <a:lnTo>
                    <a:pt x="1084" y="648"/>
                  </a:lnTo>
                  <a:lnTo>
                    <a:pt x="1086" y="641"/>
                  </a:lnTo>
                  <a:lnTo>
                    <a:pt x="1088" y="635"/>
                  </a:lnTo>
                  <a:lnTo>
                    <a:pt x="1089" y="628"/>
                  </a:lnTo>
                  <a:lnTo>
                    <a:pt x="1090" y="622"/>
                  </a:lnTo>
                  <a:lnTo>
                    <a:pt x="1090" y="68"/>
                  </a:lnTo>
                  <a:lnTo>
                    <a:pt x="1089" y="61"/>
                  </a:lnTo>
                  <a:lnTo>
                    <a:pt x="1088" y="54"/>
                  </a:lnTo>
                  <a:lnTo>
                    <a:pt x="1086" y="48"/>
                  </a:lnTo>
                  <a:lnTo>
                    <a:pt x="1084" y="42"/>
                  </a:lnTo>
                  <a:lnTo>
                    <a:pt x="1081" y="36"/>
                  </a:lnTo>
                  <a:lnTo>
                    <a:pt x="1077" y="31"/>
                  </a:lnTo>
                  <a:lnTo>
                    <a:pt x="1074" y="25"/>
                  </a:lnTo>
                  <a:lnTo>
                    <a:pt x="1069" y="20"/>
                  </a:lnTo>
                  <a:lnTo>
                    <a:pt x="1065" y="16"/>
                  </a:lnTo>
                  <a:lnTo>
                    <a:pt x="1059" y="11"/>
                  </a:lnTo>
                  <a:lnTo>
                    <a:pt x="1054" y="8"/>
                  </a:lnTo>
                  <a:lnTo>
                    <a:pt x="1048" y="6"/>
                  </a:lnTo>
                  <a:lnTo>
                    <a:pt x="1041" y="3"/>
                  </a:lnTo>
                  <a:lnTo>
                    <a:pt x="1036" y="1"/>
                  </a:lnTo>
                  <a:lnTo>
                    <a:pt x="1029" y="1"/>
                  </a:lnTo>
                  <a:lnTo>
                    <a:pt x="1022" y="0"/>
                  </a:lnTo>
                  <a:lnTo>
                    <a:pt x="68" y="0"/>
                  </a:lnTo>
                  <a:lnTo>
                    <a:pt x="61" y="1"/>
                  </a:lnTo>
                  <a:lnTo>
                    <a:pt x="55" y="1"/>
                  </a:lnTo>
                  <a:lnTo>
                    <a:pt x="48" y="3"/>
                  </a:lnTo>
                  <a:lnTo>
                    <a:pt x="42" y="6"/>
                  </a:lnTo>
                  <a:lnTo>
                    <a:pt x="37" y="8"/>
                  </a:lnTo>
                  <a:lnTo>
                    <a:pt x="31" y="11"/>
                  </a:lnTo>
                  <a:lnTo>
                    <a:pt x="25" y="16"/>
                  </a:lnTo>
                  <a:lnTo>
                    <a:pt x="21" y="20"/>
                  </a:lnTo>
                  <a:lnTo>
                    <a:pt x="16" y="25"/>
                  </a:lnTo>
                  <a:lnTo>
                    <a:pt x="12" y="31"/>
                  </a:lnTo>
                  <a:lnTo>
                    <a:pt x="8" y="36"/>
                  </a:lnTo>
                  <a:lnTo>
                    <a:pt x="6" y="42"/>
                  </a:lnTo>
                  <a:lnTo>
                    <a:pt x="4" y="48"/>
                  </a:lnTo>
                  <a:lnTo>
                    <a:pt x="1" y="54"/>
                  </a:lnTo>
                  <a:lnTo>
                    <a:pt x="1" y="61"/>
                  </a:lnTo>
                  <a:lnTo>
                    <a:pt x="0" y="68"/>
                  </a:lnTo>
                  <a:lnTo>
                    <a:pt x="0" y="622"/>
                  </a:lnTo>
                  <a:lnTo>
                    <a:pt x="1" y="628"/>
                  </a:lnTo>
                  <a:lnTo>
                    <a:pt x="1" y="635"/>
                  </a:lnTo>
                  <a:lnTo>
                    <a:pt x="4" y="641"/>
                  </a:lnTo>
                  <a:lnTo>
                    <a:pt x="6" y="648"/>
                  </a:lnTo>
                  <a:lnTo>
                    <a:pt x="8" y="653"/>
                  </a:lnTo>
                  <a:lnTo>
                    <a:pt x="12" y="659"/>
                  </a:lnTo>
                  <a:lnTo>
                    <a:pt x="16" y="665"/>
                  </a:lnTo>
                  <a:lnTo>
                    <a:pt x="21" y="669"/>
                  </a:lnTo>
                  <a:lnTo>
                    <a:pt x="25" y="674"/>
                  </a:lnTo>
                  <a:lnTo>
                    <a:pt x="31" y="677"/>
                  </a:lnTo>
                  <a:lnTo>
                    <a:pt x="37" y="680"/>
                  </a:lnTo>
                  <a:lnTo>
                    <a:pt x="42" y="684"/>
                  </a:lnTo>
                  <a:lnTo>
                    <a:pt x="48" y="686"/>
                  </a:lnTo>
                  <a:lnTo>
                    <a:pt x="55" y="687"/>
                  </a:lnTo>
                  <a:lnTo>
                    <a:pt x="61" y="688"/>
                  </a:lnTo>
                  <a:lnTo>
                    <a:pt x="68" y="69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83" name="Rectangle 639"/>
            <p:cNvSpPr>
              <a:spLocks noChangeArrowheads="1"/>
            </p:cNvSpPr>
            <p:nvPr/>
          </p:nvSpPr>
          <p:spPr bwMode="auto">
            <a:xfrm>
              <a:off x="540" y="3026"/>
              <a:ext cx="7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g</a:t>
              </a:r>
              <a:endParaRPr lang="en-US" sz="1800" b="0" kern="0" baseline="0">
                <a:solidFill>
                  <a:sysClr val="windowText" lastClr="000000"/>
                </a:solidFill>
                <a:latin typeface="Arial" charset="0"/>
                <a:ea typeface="ＭＳ Ｐゴシック"/>
                <a:cs typeface="ＭＳ Ｐゴシック"/>
              </a:endParaRPr>
            </a:p>
          </p:txBody>
        </p:sp>
        <p:sp>
          <p:nvSpPr>
            <p:cNvPr id="84" name="Rectangle 640"/>
            <p:cNvSpPr>
              <a:spLocks noChangeArrowheads="1"/>
            </p:cNvSpPr>
            <p:nvPr/>
          </p:nvSpPr>
          <p:spPr bwMode="auto">
            <a:xfrm>
              <a:off x="614" y="3026"/>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85" name="Rectangle 641"/>
            <p:cNvSpPr>
              <a:spLocks noChangeArrowheads="1"/>
            </p:cNvSpPr>
            <p:nvPr/>
          </p:nvSpPr>
          <p:spPr bwMode="auto">
            <a:xfrm>
              <a:off x="636" y="3026"/>
              <a:ext cx="19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sset Strat</a:t>
              </a:r>
              <a:endParaRPr lang="en-US" sz="1800" b="0" kern="0" baseline="0">
                <a:solidFill>
                  <a:sysClr val="windowText" lastClr="000000"/>
                </a:solidFill>
                <a:latin typeface="Arial" charset="0"/>
                <a:ea typeface="ＭＳ Ｐゴシック"/>
                <a:cs typeface="ＭＳ Ｐゴシック"/>
              </a:endParaRPr>
            </a:p>
          </p:txBody>
        </p:sp>
        <p:sp>
          <p:nvSpPr>
            <p:cNvPr id="86" name="Rectangle 642"/>
            <p:cNvSpPr>
              <a:spLocks noChangeArrowheads="1"/>
            </p:cNvSpPr>
            <p:nvPr/>
          </p:nvSpPr>
          <p:spPr bwMode="auto">
            <a:xfrm>
              <a:off x="833" y="3026"/>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87" name="Rectangle 643"/>
            <p:cNvSpPr>
              <a:spLocks noChangeArrowheads="1"/>
            </p:cNvSpPr>
            <p:nvPr/>
          </p:nvSpPr>
          <p:spPr bwMode="auto">
            <a:xfrm>
              <a:off x="633" y="3062"/>
              <a:ext cx="107"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olicy</a:t>
              </a:r>
              <a:endParaRPr lang="en-US" sz="1800" b="0" kern="0" baseline="0">
                <a:solidFill>
                  <a:sysClr val="windowText" lastClr="000000"/>
                </a:solidFill>
                <a:latin typeface="Arial" charset="0"/>
                <a:ea typeface="ＭＳ Ｐゴシック"/>
                <a:cs typeface="ＭＳ Ｐゴシック"/>
              </a:endParaRPr>
            </a:p>
          </p:txBody>
        </p:sp>
        <p:sp>
          <p:nvSpPr>
            <p:cNvPr id="88" name="Rectangle 644"/>
            <p:cNvSpPr>
              <a:spLocks noChangeArrowheads="1"/>
            </p:cNvSpPr>
            <p:nvPr/>
          </p:nvSpPr>
          <p:spPr bwMode="auto">
            <a:xfrm>
              <a:off x="740" y="3062"/>
              <a:ext cx="11"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89" name="Rectangle 645"/>
            <p:cNvSpPr>
              <a:spLocks noChangeArrowheads="1"/>
            </p:cNvSpPr>
            <p:nvPr/>
          </p:nvSpPr>
          <p:spPr bwMode="auto">
            <a:xfrm>
              <a:off x="586" y="3097"/>
              <a:ext cx="21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ompliance</a:t>
              </a:r>
              <a:endParaRPr lang="en-US" sz="1800" b="0" kern="0" baseline="0">
                <a:solidFill>
                  <a:sysClr val="windowText" lastClr="000000"/>
                </a:solidFill>
                <a:latin typeface="Arial" charset="0"/>
                <a:ea typeface="ＭＳ Ｐゴシック"/>
                <a:cs typeface="ＭＳ Ｐゴシック"/>
              </a:endParaRPr>
            </a:p>
          </p:txBody>
        </p:sp>
        <p:sp>
          <p:nvSpPr>
            <p:cNvPr id="90" name="Freeform 646"/>
            <p:cNvSpPr>
              <a:spLocks/>
            </p:cNvSpPr>
            <p:nvPr/>
          </p:nvSpPr>
          <p:spPr bwMode="auto">
            <a:xfrm>
              <a:off x="503" y="3178"/>
              <a:ext cx="362" cy="167"/>
            </a:xfrm>
            <a:custGeom>
              <a:avLst/>
              <a:gdLst>
                <a:gd name="T0" fmla="*/ 113 w 1088"/>
                <a:gd name="T1" fmla="*/ 41 h 688"/>
                <a:gd name="T2" fmla="*/ 114 w 1088"/>
                <a:gd name="T3" fmla="*/ 41 h 688"/>
                <a:gd name="T4" fmla="*/ 116 w 1088"/>
                <a:gd name="T5" fmla="*/ 40 h 688"/>
                <a:gd name="T6" fmla="*/ 117 w 1088"/>
                <a:gd name="T7" fmla="*/ 40 h 688"/>
                <a:gd name="T8" fmla="*/ 118 w 1088"/>
                <a:gd name="T9" fmla="*/ 39 h 688"/>
                <a:gd name="T10" fmla="*/ 119 w 1088"/>
                <a:gd name="T11" fmla="*/ 39 h 688"/>
                <a:gd name="T12" fmla="*/ 120 w 1088"/>
                <a:gd name="T13" fmla="*/ 38 h 688"/>
                <a:gd name="T14" fmla="*/ 120 w 1088"/>
                <a:gd name="T15" fmla="*/ 37 h 688"/>
                <a:gd name="T16" fmla="*/ 120 w 1088"/>
                <a:gd name="T17" fmla="*/ 36 h 688"/>
                <a:gd name="T18" fmla="*/ 120 w 1088"/>
                <a:gd name="T19" fmla="*/ 4 h 688"/>
                <a:gd name="T20" fmla="*/ 120 w 1088"/>
                <a:gd name="T21" fmla="*/ 3 h 688"/>
                <a:gd name="T22" fmla="*/ 120 w 1088"/>
                <a:gd name="T23" fmla="*/ 2 h 688"/>
                <a:gd name="T24" fmla="*/ 119 w 1088"/>
                <a:gd name="T25" fmla="*/ 2 h 688"/>
                <a:gd name="T26" fmla="*/ 118 w 1088"/>
                <a:gd name="T27" fmla="*/ 1 h 688"/>
                <a:gd name="T28" fmla="*/ 117 w 1088"/>
                <a:gd name="T29" fmla="*/ 1 h 688"/>
                <a:gd name="T30" fmla="*/ 116 w 1088"/>
                <a:gd name="T31" fmla="*/ 0 h 688"/>
                <a:gd name="T32" fmla="*/ 114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0 w 1088"/>
                <a:gd name="T57" fmla="*/ 38 h 688"/>
                <a:gd name="T58" fmla="*/ 1 w 1088"/>
                <a:gd name="T59" fmla="*/ 39 h 688"/>
                <a:gd name="T60" fmla="*/ 2 w 1088"/>
                <a:gd name="T61" fmla="*/ 39 h 688"/>
                <a:gd name="T62" fmla="*/ 3 w 1088"/>
                <a:gd name="T63" fmla="*/ 40 h 688"/>
                <a:gd name="T64" fmla="*/ 4 w 1088"/>
                <a:gd name="T65" fmla="*/ 40 h 688"/>
                <a:gd name="T66" fmla="*/ 6 w 1088"/>
                <a:gd name="T67" fmla="*/ 41 h 688"/>
                <a:gd name="T68" fmla="*/ 7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7" y="688"/>
                  </a:moveTo>
                  <a:lnTo>
                    <a:pt x="1020" y="688"/>
                  </a:lnTo>
                  <a:lnTo>
                    <a:pt x="1027" y="688"/>
                  </a:lnTo>
                  <a:lnTo>
                    <a:pt x="1034" y="687"/>
                  </a:lnTo>
                  <a:lnTo>
                    <a:pt x="1040" y="685"/>
                  </a:lnTo>
                  <a:lnTo>
                    <a:pt x="1046" y="682"/>
                  </a:lnTo>
                  <a:lnTo>
                    <a:pt x="1052" y="680"/>
                  </a:lnTo>
                  <a:lnTo>
                    <a:pt x="1057" y="677"/>
                  </a:lnTo>
                  <a:lnTo>
                    <a:pt x="1063" y="672"/>
                  </a:lnTo>
                  <a:lnTo>
                    <a:pt x="1068" y="668"/>
                  </a:lnTo>
                  <a:lnTo>
                    <a:pt x="1072" y="663"/>
                  </a:lnTo>
                  <a:lnTo>
                    <a:pt x="1077" y="659"/>
                  </a:lnTo>
                  <a:lnTo>
                    <a:pt x="1080" y="653"/>
                  </a:lnTo>
                  <a:lnTo>
                    <a:pt x="1082" y="646"/>
                  </a:lnTo>
                  <a:lnTo>
                    <a:pt x="1085" y="641"/>
                  </a:lnTo>
                  <a:lnTo>
                    <a:pt x="1087" y="634"/>
                  </a:lnTo>
                  <a:lnTo>
                    <a:pt x="1087" y="627"/>
                  </a:lnTo>
                  <a:lnTo>
                    <a:pt x="1088" y="620"/>
                  </a:lnTo>
                  <a:lnTo>
                    <a:pt x="1088" y="68"/>
                  </a:lnTo>
                  <a:lnTo>
                    <a:pt x="1087" y="60"/>
                  </a:lnTo>
                  <a:lnTo>
                    <a:pt x="1087" y="53"/>
                  </a:lnTo>
                  <a:lnTo>
                    <a:pt x="1085" y="47"/>
                  </a:lnTo>
                  <a:lnTo>
                    <a:pt x="1082" y="40"/>
                  </a:lnTo>
                  <a:lnTo>
                    <a:pt x="1080" y="35"/>
                  </a:lnTo>
                  <a:lnTo>
                    <a:pt x="1077" y="29"/>
                  </a:lnTo>
                  <a:lnTo>
                    <a:pt x="1072" y="23"/>
                  </a:lnTo>
                  <a:lnTo>
                    <a:pt x="1068" y="19"/>
                  </a:lnTo>
                  <a:lnTo>
                    <a:pt x="1063" y="14"/>
                  </a:lnTo>
                  <a:lnTo>
                    <a:pt x="1057" y="11"/>
                  </a:lnTo>
                  <a:lnTo>
                    <a:pt x="1052" y="8"/>
                  </a:lnTo>
                  <a:lnTo>
                    <a:pt x="1046" y="4"/>
                  </a:lnTo>
                  <a:lnTo>
                    <a:pt x="1040" y="2"/>
                  </a:lnTo>
                  <a:lnTo>
                    <a:pt x="1034" y="1"/>
                  </a:lnTo>
                  <a:lnTo>
                    <a:pt x="1027" y="0"/>
                  </a:lnTo>
                  <a:lnTo>
                    <a:pt x="1020" y="0"/>
                  </a:lnTo>
                  <a:lnTo>
                    <a:pt x="67" y="0"/>
                  </a:lnTo>
                  <a:lnTo>
                    <a:pt x="60" y="0"/>
                  </a:lnTo>
                  <a:lnTo>
                    <a:pt x="53" y="1"/>
                  </a:lnTo>
                  <a:lnTo>
                    <a:pt x="47" y="2"/>
                  </a:lnTo>
                  <a:lnTo>
                    <a:pt x="40" y="4"/>
                  </a:lnTo>
                  <a:lnTo>
                    <a:pt x="35" y="8"/>
                  </a:lnTo>
                  <a:lnTo>
                    <a:pt x="29" y="11"/>
                  </a:lnTo>
                  <a:lnTo>
                    <a:pt x="23" y="14"/>
                  </a:lnTo>
                  <a:lnTo>
                    <a:pt x="19" y="19"/>
                  </a:lnTo>
                  <a:lnTo>
                    <a:pt x="14" y="23"/>
                  </a:lnTo>
                  <a:lnTo>
                    <a:pt x="11" y="29"/>
                  </a:lnTo>
                  <a:lnTo>
                    <a:pt x="8" y="35"/>
                  </a:lnTo>
                  <a:lnTo>
                    <a:pt x="4" y="40"/>
                  </a:lnTo>
                  <a:lnTo>
                    <a:pt x="2" y="47"/>
                  </a:lnTo>
                  <a:lnTo>
                    <a:pt x="1" y="53"/>
                  </a:lnTo>
                  <a:lnTo>
                    <a:pt x="0" y="60"/>
                  </a:lnTo>
                  <a:lnTo>
                    <a:pt x="0" y="68"/>
                  </a:lnTo>
                  <a:lnTo>
                    <a:pt x="0" y="620"/>
                  </a:lnTo>
                  <a:lnTo>
                    <a:pt x="0" y="627"/>
                  </a:lnTo>
                  <a:lnTo>
                    <a:pt x="1" y="634"/>
                  </a:lnTo>
                  <a:lnTo>
                    <a:pt x="2" y="641"/>
                  </a:lnTo>
                  <a:lnTo>
                    <a:pt x="4" y="646"/>
                  </a:lnTo>
                  <a:lnTo>
                    <a:pt x="8" y="653"/>
                  </a:lnTo>
                  <a:lnTo>
                    <a:pt x="11" y="659"/>
                  </a:lnTo>
                  <a:lnTo>
                    <a:pt x="14" y="663"/>
                  </a:lnTo>
                  <a:lnTo>
                    <a:pt x="19" y="668"/>
                  </a:lnTo>
                  <a:lnTo>
                    <a:pt x="23" y="672"/>
                  </a:lnTo>
                  <a:lnTo>
                    <a:pt x="29" y="677"/>
                  </a:lnTo>
                  <a:lnTo>
                    <a:pt x="35" y="680"/>
                  </a:lnTo>
                  <a:lnTo>
                    <a:pt x="40" y="682"/>
                  </a:lnTo>
                  <a:lnTo>
                    <a:pt x="47" y="685"/>
                  </a:lnTo>
                  <a:lnTo>
                    <a:pt x="53" y="687"/>
                  </a:lnTo>
                  <a:lnTo>
                    <a:pt x="60" y="688"/>
                  </a:lnTo>
                  <a:lnTo>
                    <a:pt x="67" y="688"/>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91" name="Freeform 647"/>
            <p:cNvSpPr>
              <a:spLocks/>
            </p:cNvSpPr>
            <p:nvPr/>
          </p:nvSpPr>
          <p:spPr bwMode="auto">
            <a:xfrm>
              <a:off x="503" y="3178"/>
              <a:ext cx="362" cy="167"/>
            </a:xfrm>
            <a:custGeom>
              <a:avLst/>
              <a:gdLst>
                <a:gd name="T0" fmla="*/ 113 w 1088"/>
                <a:gd name="T1" fmla="*/ 41 h 688"/>
                <a:gd name="T2" fmla="*/ 114 w 1088"/>
                <a:gd name="T3" fmla="*/ 41 h 688"/>
                <a:gd name="T4" fmla="*/ 116 w 1088"/>
                <a:gd name="T5" fmla="*/ 40 h 688"/>
                <a:gd name="T6" fmla="*/ 117 w 1088"/>
                <a:gd name="T7" fmla="*/ 40 h 688"/>
                <a:gd name="T8" fmla="*/ 118 w 1088"/>
                <a:gd name="T9" fmla="*/ 39 h 688"/>
                <a:gd name="T10" fmla="*/ 119 w 1088"/>
                <a:gd name="T11" fmla="*/ 39 h 688"/>
                <a:gd name="T12" fmla="*/ 120 w 1088"/>
                <a:gd name="T13" fmla="*/ 38 h 688"/>
                <a:gd name="T14" fmla="*/ 120 w 1088"/>
                <a:gd name="T15" fmla="*/ 37 h 688"/>
                <a:gd name="T16" fmla="*/ 120 w 1088"/>
                <a:gd name="T17" fmla="*/ 36 h 688"/>
                <a:gd name="T18" fmla="*/ 120 w 1088"/>
                <a:gd name="T19" fmla="*/ 4 h 688"/>
                <a:gd name="T20" fmla="*/ 120 w 1088"/>
                <a:gd name="T21" fmla="*/ 3 h 688"/>
                <a:gd name="T22" fmla="*/ 120 w 1088"/>
                <a:gd name="T23" fmla="*/ 2 h 688"/>
                <a:gd name="T24" fmla="*/ 119 w 1088"/>
                <a:gd name="T25" fmla="*/ 2 h 688"/>
                <a:gd name="T26" fmla="*/ 118 w 1088"/>
                <a:gd name="T27" fmla="*/ 1 h 688"/>
                <a:gd name="T28" fmla="*/ 117 w 1088"/>
                <a:gd name="T29" fmla="*/ 1 h 688"/>
                <a:gd name="T30" fmla="*/ 116 w 1088"/>
                <a:gd name="T31" fmla="*/ 0 h 688"/>
                <a:gd name="T32" fmla="*/ 114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0 w 1088"/>
                <a:gd name="T57" fmla="*/ 38 h 688"/>
                <a:gd name="T58" fmla="*/ 1 w 1088"/>
                <a:gd name="T59" fmla="*/ 39 h 688"/>
                <a:gd name="T60" fmla="*/ 2 w 1088"/>
                <a:gd name="T61" fmla="*/ 39 h 688"/>
                <a:gd name="T62" fmla="*/ 3 w 1088"/>
                <a:gd name="T63" fmla="*/ 40 h 688"/>
                <a:gd name="T64" fmla="*/ 4 w 1088"/>
                <a:gd name="T65" fmla="*/ 40 h 688"/>
                <a:gd name="T66" fmla="*/ 6 w 1088"/>
                <a:gd name="T67" fmla="*/ 41 h 688"/>
                <a:gd name="T68" fmla="*/ 7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7" y="688"/>
                  </a:moveTo>
                  <a:lnTo>
                    <a:pt x="1020" y="688"/>
                  </a:lnTo>
                  <a:lnTo>
                    <a:pt x="1027" y="688"/>
                  </a:lnTo>
                  <a:lnTo>
                    <a:pt x="1034" y="687"/>
                  </a:lnTo>
                  <a:lnTo>
                    <a:pt x="1040" y="685"/>
                  </a:lnTo>
                  <a:lnTo>
                    <a:pt x="1046" y="682"/>
                  </a:lnTo>
                  <a:lnTo>
                    <a:pt x="1052" y="680"/>
                  </a:lnTo>
                  <a:lnTo>
                    <a:pt x="1057" y="677"/>
                  </a:lnTo>
                  <a:lnTo>
                    <a:pt x="1063" y="672"/>
                  </a:lnTo>
                  <a:lnTo>
                    <a:pt x="1068" y="668"/>
                  </a:lnTo>
                  <a:lnTo>
                    <a:pt x="1072" y="663"/>
                  </a:lnTo>
                  <a:lnTo>
                    <a:pt x="1077" y="659"/>
                  </a:lnTo>
                  <a:lnTo>
                    <a:pt x="1080" y="653"/>
                  </a:lnTo>
                  <a:lnTo>
                    <a:pt x="1082" y="646"/>
                  </a:lnTo>
                  <a:lnTo>
                    <a:pt x="1085" y="641"/>
                  </a:lnTo>
                  <a:lnTo>
                    <a:pt x="1087" y="634"/>
                  </a:lnTo>
                  <a:lnTo>
                    <a:pt x="1087" y="627"/>
                  </a:lnTo>
                  <a:lnTo>
                    <a:pt x="1088" y="620"/>
                  </a:lnTo>
                  <a:lnTo>
                    <a:pt x="1088" y="68"/>
                  </a:lnTo>
                  <a:lnTo>
                    <a:pt x="1087" y="60"/>
                  </a:lnTo>
                  <a:lnTo>
                    <a:pt x="1087" y="53"/>
                  </a:lnTo>
                  <a:lnTo>
                    <a:pt x="1085" y="47"/>
                  </a:lnTo>
                  <a:lnTo>
                    <a:pt x="1082" y="40"/>
                  </a:lnTo>
                  <a:lnTo>
                    <a:pt x="1080" y="35"/>
                  </a:lnTo>
                  <a:lnTo>
                    <a:pt x="1077" y="29"/>
                  </a:lnTo>
                  <a:lnTo>
                    <a:pt x="1072" y="23"/>
                  </a:lnTo>
                  <a:lnTo>
                    <a:pt x="1068" y="19"/>
                  </a:lnTo>
                  <a:lnTo>
                    <a:pt x="1063" y="14"/>
                  </a:lnTo>
                  <a:lnTo>
                    <a:pt x="1057" y="11"/>
                  </a:lnTo>
                  <a:lnTo>
                    <a:pt x="1052" y="8"/>
                  </a:lnTo>
                  <a:lnTo>
                    <a:pt x="1046" y="4"/>
                  </a:lnTo>
                  <a:lnTo>
                    <a:pt x="1040" y="2"/>
                  </a:lnTo>
                  <a:lnTo>
                    <a:pt x="1034" y="1"/>
                  </a:lnTo>
                  <a:lnTo>
                    <a:pt x="1027" y="0"/>
                  </a:lnTo>
                  <a:lnTo>
                    <a:pt x="1020" y="0"/>
                  </a:lnTo>
                  <a:lnTo>
                    <a:pt x="67" y="0"/>
                  </a:lnTo>
                  <a:lnTo>
                    <a:pt x="60" y="0"/>
                  </a:lnTo>
                  <a:lnTo>
                    <a:pt x="53" y="1"/>
                  </a:lnTo>
                  <a:lnTo>
                    <a:pt x="47" y="2"/>
                  </a:lnTo>
                  <a:lnTo>
                    <a:pt x="40" y="4"/>
                  </a:lnTo>
                  <a:lnTo>
                    <a:pt x="35" y="8"/>
                  </a:lnTo>
                  <a:lnTo>
                    <a:pt x="29" y="11"/>
                  </a:lnTo>
                  <a:lnTo>
                    <a:pt x="23" y="14"/>
                  </a:lnTo>
                  <a:lnTo>
                    <a:pt x="19" y="19"/>
                  </a:lnTo>
                  <a:lnTo>
                    <a:pt x="14" y="23"/>
                  </a:lnTo>
                  <a:lnTo>
                    <a:pt x="11" y="29"/>
                  </a:lnTo>
                  <a:lnTo>
                    <a:pt x="8" y="35"/>
                  </a:lnTo>
                  <a:lnTo>
                    <a:pt x="4" y="40"/>
                  </a:lnTo>
                  <a:lnTo>
                    <a:pt x="2" y="47"/>
                  </a:lnTo>
                  <a:lnTo>
                    <a:pt x="1" y="53"/>
                  </a:lnTo>
                  <a:lnTo>
                    <a:pt x="0" y="60"/>
                  </a:lnTo>
                  <a:lnTo>
                    <a:pt x="0" y="68"/>
                  </a:lnTo>
                  <a:lnTo>
                    <a:pt x="0" y="620"/>
                  </a:lnTo>
                  <a:lnTo>
                    <a:pt x="0" y="627"/>
                  </a:lnTo>
                  <a:lnTo>
                    <a:pt x="1" y="634"/>
                  </a:lnTo>
                  <a:lnTo>
                    <a:pt x="2" y="641"/>
                  </a:lnTo>
                  <a:lnTo>
                    <a:pt x="4" y="646"/>
                  </a:lnTo>
                  <a:lnTo>
                    <a:pt x="8" y="653"/>
                  </a:lnTo>
                  <a:lnTo>
                    <a:pt x="11" y="659"/>
                  </a:lnTo>
                  <a:lnTo>
                    <a:pt x="14" y="663"/>
                  </a:lnTo>
                  <a:lnTo>
                    <a:pt x="19" y="668"/>
                  </a:lnTo>
                  <a:lnTo>
                    <a:pt x="23" y="672"/>
                  </a:lnTo>
                  <a:lnTo>
                    <a:pt x="29" y="677"/>
                  </a:lnTo>
                  <a:lnTo>
                    <a:pt x="35" y="680"/>
                  </a:lnTo>
                  <a:lnTo>
                    <a:pt x="40" y="682"/>
                  </a:lnTo>
                  <a:lnTo>
                    <a:pt x="47" y="685"/>
                  </a:lnTo>
                  <a:lnTo>
                    <a:pt x="53" y="687"/>
                  </a:lnTo>
                  <a:lnTo>
                    <a:pt x="60" y="688"/>
                  </a:lnTo>
                  <a:lnTo>
                    <a:pt x="67"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92" name="Rectangle 648"/>
            <p:cNvSpPr>
              <a:spLocks noChangeArrowheads="1"/>
            </p:cNvSpPr>
            <p:nvPr/>
          </p:nvSpPr>
          <p:spPr bwMode="auto">
            <a:xfrm>
              <a:off x="589" y="3226"/>
              <a:ext cx="20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sset Risk </a:t>
              </a:r>
              <a:endParaRPr lang="en-US" sz="1800" b="0" kern="0" baseline="0">
                <a:solidFill>
                  <a:sysClr val="windowText" lastClr="000000"/>
                </a:solidFill>
                <a:latin typeface="Arial" charset="0"/>
                <a:ea typeface="ＭＳ Ｐゴシック"/>
                <a:cs typeface="ＭＳ Ｐゴシック"/>
              </a:endParaRPr>
            </a:p>
          </p:txBody>
        </p:sp>
        <p:sp>
          <p:nvSpPr>
            <p:cNvPr id="93" name="Rectangle 649"/>
            <p:cNvSpPr>
              <a:spLocks noChangeArrowheads="1"/>
            </p:cNvSpPr>
            <p:nvPr/>
          </p:nvSpPr>
          <p:spPr bwMode="auto">
            <a:xfrm>
              <a:off x="567" y="3261"/>
              <a:ext cx="23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ment</a:t>
              </a:r>
              <a:endParaRPr lang="en-US" sz="1800" b="0" kern="0" baseline="0">
                <a:solidFill>
                  <a:sysClr val="windowText" lastClr="000000"/>
                </a:solidFill>
                <a:latin typeface="Arial" charset="0"/>
                <a:ea typeface="ＭＳ Ｐゴシック"/>
                <a:cs typeface="ＭＳ Ｐゴシック"/>
              </a:endParaRPr>
            </a:p>
          </p:txBody>
        </p:sp>
        <p:sp>
          <p:nvSpPr>
            <p:cNvPr id="94" name="Freeform 650"/>
            <p:cNvSpPr>
              <a:spLocks/>
            </p:cNvSpPr>
            <p:nvPr/>
          </p:nvSpPr>
          <p:spPr bwMode="auto">
            <a:xfrm>
              <a:off x="101" y="3178"/>
              <a:ext cx="362" cy="167"/>
            </a:xfrm>
            <a:custGeom>
              <a:avLst/>
              <a:gdLst>
                <a:gd name="T0" fmla="*/ 113 w 1088"/>
                <a:gd name="T1" fmla="*/ 41 h 688"/>
                <a:gd name="T2" fmla="*/ 114 w 1088"/>
                <a:gd name="T3" fmla="*/ 41 h 688"/>
                <a:gd name="T4" fmla="*/ 116 w 1088"/>
                <a:gd name="T5" fmla="*/ 40 h 688"/>
                <a:gd name="T6" fmla="*/ 117 w 1088"/>
                <a:gd name="T7" fmla="*/ 40 h 688"/>
                <a:gd name="T8" fmla="*/ 118 w 1088"/>
                <a:gd name="T9" fmla="*/ 39 h 688"/>
                <a:gd name="T10" fmla="*/ 119 w 1088"/>
                <a:gd name="T11" fmla="*/ 39 h 688"/>
                <a:gd name="T12" fmla="*/ 120 w 1088"/>
                <a:gd name="T13" fmla="*/ 38 h 688"/>
                <a:gd name="T14" fmla="*/ 120 w 1088"/>
                <a:gd name="T15" fmla="*/ 37 h 688"/>
                <a:gd name="T16" fmla="*/ 120 w 1088"/>
                <a:gd name="T17" fmla="*/ 36 h 688"/>
                <a:gd name="T18" fmla="*/ 120 w 1088"/>
                <a:gd name="T19" fmla="*/ 4 h 688"/>
                <a:gd name="T20" fmla="*/ 120 w 1088"/>
                <a:gd name="T21" fmla="*/ 3 h 688"/>
                <a:gd name="T22" fmla="*/ 120 w 1088"/>
                <a:gd name="T23" fmla="*/ 2 h 688"/>
                <a:gd name="T24" fmla="*/ 119 w 1088"/>
                <a:gd name="T25" fmla="*/ 2 h 688"/>
                <a:gd name="T26" fmla="*/ 118 w 1088"/>
                <a:gd name="T27" fmla="*/ 1 h 688"/>
                <a:gd name="T28" fmla="*/ 117 w 1088"/>
                <a:gd name="T29" fmla="*/ 1 h 688"/>
                <a:gd name="T30" fmla="*/ 116 w 1088"/>
                <a:gd name="T31" fmla="*/ 0 h 688"/>
                <a:gd name="T32" fmla="*/ 114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0 w 1088"/>
                <a:gd name="T57" fmla="*/ 38 h 688"/>
                <a:gd name="T58" fmla="*/ 1 w 1088"/>
                <a:gd name="T59" fmla="*/ 39 h 688"/>
                <a:gd name="T60" fmla="*/ 2 w 1088"/>
                <a:gd name="T61" fmla="*/ 39 h 688"/>
                <a:gd name="T62" fmla="*/ 3 w 1088"/>
                <a:gd name="T63" fmla="*/ 40 h 688"/>
                <a:gd name="T64" fmla="*/ 4 w 1088"/>
                <a:gd name="T65" fmla="*/ 40 h 688"/>
                <a:gd name="T66" fmla="*/ 6 w 1088"/>
                <a:gd name="T67" fmla="*/ 41 h 688"/>
                <a:gd name="T68" fmla="*/ 8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8" y="688"/>
                  </a:moveTo>
                  <a:lnTo>
                    <a:pt x="1020" y="688"/>
                  </a:lnTo>
                  <a:lnTo>
                    <a:pt x="1027" y="688"/>
                  </a:lnTo>
                  <a:lnTo>
                    <a:pt x="1034" y="687"/>
                  </a:lnTo>
                  <a:lnTo>
                    <a:pt x="1041" y="685"/>
                  </a:lnTo>
                  <a:lnTo>
                    <a:pt x="1046" y="682"/>
                  </a:lnTo>
                  <a:lnTo>
                    <a:pt x="1053" y="680"/>
                  </a:lnTo>
                  <a:lnTo>
                    <a:pt x="1059" y="677"/>
                  </a:lnTo>
                  <a:lnTo>
                    <a:pt x="1063" y="672"/>
                  </a:lnTo>
                  <a:lnTo>
                    <a:pt x="1068" y="668"/>
                  </a:lnTo>
                  <a:lnTo>
                    <a:pt x="1072" y="663"/>
                  </a:lnTo>
                  <a:lnTo>
                    <a:pt x="1077" y="659"/>
                  </a:lnTo>
                  <a:lnTo>
                    <a:pt x="1080" y="653"/>
                  </a:lnTo>
                  <a:lnTo>
                    <a:pt x="1082" y="646"/>
                  </a:lnTo>
                  <a:lnTo>
                    <a:pt x="1085" y="641"/>
                  </a:lnTo>
                  <a:lnTo>
                    <a:pt x="1087" y="634"/>
                  </a:lnTo>
                  <a:lnTo>
                    <a:pt x="1088" y="627"/>
                  </a:lnTo>
                  <a:lnTo>
                    <a:pt x="1088" y="620"/>
                  </a:lnTo>
                  <a:lnTo>
                    <a:pt x="1088" y="68"/>
                  </a:lnTo>
                  <a:lnTo>
                    <a:pt x="1088" y="60"/>
                  </a:lnTo>
                  <a:lnTo>
                    <a:pt x="1087" y="53"/>
                  </a:lnTo>
                  <a:lnTo>
                    <a:pt x="1085" y="47"/>
                  </a:lnTo>
                  <a:lnTo>
                    <a:pt x="1082" y="40"/>
                  </a:lnTo>
                  <a:lnTo>
                    <a:pt x="1080" y="35"/>
                  </a:lnTo>
                  <a:lnTo>
                    <a:pt x="1077" y="29"/>
                  </a:lnTo>
                  <a:lnTo>
                    <a:pt x="1072" y="23"/>
                  </a:lnTo>
                  <a:lnTo>
                    <a:pt x="1068" y="19"/>
                  </a:lnTo>
                  <a:lnTo>
                    <a:pt x="1063" y="14"/>
                  </a:lnTo>
                  <a:lnTo>
                    <a:pt x="1059" y="11"/>
                  </a:lnTo>
                  <a:lnTo>
                    <a:pt x="1053" y="8"/>
                  </a:lnTo>
                  <a:lnTo>
                    <a:pt x="1046" y="4"/>
                  </a:lnTo>
                  <a:lnTo>
                    <a:pt x="1041" y="2"/>
                  </a:lnTo>
                  <a:lnTo>
                    <a:pt x="1034" y="1"/>
                  </a:lnTo>
                  <a:lnTo>
                    <a:pt x="1027" y="0"/>
                  </a:lnTo>
                  <a:lnTo>
                    <a:pt x="1020" y="0"/>
                  </a:lnTo>
                  <a:lnTo>
                    <a:pt x="68" y="0"/>
                  </a:lnTo>
                  <a:lnTo>
                    <a:pt x="61" y="0"/>
                  </a:lnTo>
                  <a:lnTo>
                    <a:pt x="54" y="1"/>
                  </a:lnTo>
                  <a:lnTo>
                    <a:pt x="47" y="2"/>
                  </a:lnTo>
                  <a:lnTo>
                    <a:pt x="40" y="4"/>
                  </a:lnTo>
                  <a:lnTo>
                    <a:pt x="35" y="8"/>
                  </a:lnTo>
                  <a:lnTo>
                    <a:pt x="29" y="11"/>
                  </a:lnTo>
                  <a:lnTo>
                    <a:pt x="25" y="14"/>
                  </a:lnTo>
                  <a:lnTo>
                    <a:pt x="19" y="19"/>
                  </a:lnTo>
                  <a:lnTo>
                    <a:pt x="14" y="23"/>
                  </a:lnTo>
                  <a:lnTo>
                    <a:pt x="11" y="29"/>
                  </a:lnTo>
                  <a:lnTo>
                    <a:pt x="8" y="35"/>
                  </a:lnTo>
                  <a:lnTo>
                    <a:pt x="4" y="40"/>
                  </a:lnTo>
                  <a:lnTo>
                    <a:pt x="2" y="47"/>
                  </a:lnTo>
                  <a:lnTo>
                    <a:pt x="1" y="53"/>
                  </a:lnTo>
                  <a:lnTo>
                    <a:pt x="0" y="60"/>
                  </a:lnTo>
                  <a:lnTo>
                    <a:pt x="0" y="68"/>
                  </a:lnTo>
                  <a:lnTo>
                    <a:pt x="0" y="620"/>
                  </a:lnTo>
                  <a:lnTo>
                    <a:pt x="0" y="627"/>
                  </a:lnTo>
                  <a:lnTo>
                    <a:pt x="1" y="634"/>
                  </a:lnTo>
                  <a:lnTo>
                    <a:pt x="2" y="641"/>
                  </a:lnTo>
                  <a:lnTo>
                    <a:pt x="4" y="646"/>
                  </a:lnTo>
                  <a:lnTo>
                    <a:pt x="8" y="653"/>
                  </a:lnTo>
                  <a:lnTo>
                    <a:pt x="11" y="659"/>
                  </a:lnTo>
                  <a:lnTo>
                    <a:pt x="14" y="663"/>
                  </a:lnTo>
                  <a:lnTo>
                    <a:pt x="19" y="668"/>
                  </a:lnTo>
                  <a:lnTo>
                    <a:pt x="25" y="672"/>
                  </a:lnTo>
                  <a:lnTo>
                    <a:pt x="29" y="677"/>
                  </a:lnTo>
                  <a:lnTo>
                    <a:pt x="35" y="680"/>
                  </a:lnTo>
                  <a:lnTo>
                    <a:pt x="40" y="682"/>
                  </a:lnTo>
                  <a:lnTo>
                    <a:pt x="47" y="685"/>
                  </a:lnTo>
                  <a:lnTo>
                    <a:pt x="54" y="687"/>
                  </a:lnTo>
                  <a:lnTo>
                    <a:pt x="61" y="688"/>
                  </a:lnTo>
                  <a:lnTo>
                    <a:pt x="68" y="688"/>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95" name="Freeform 651"/>
            <p:cNvSpPr>
              <a:spLocks/>
            </p:cNvSpPr>
            <p:nvPr/>
          </p:nvSpPr>
          <p:spPr bwMode="auto">
            <a:xfrm>
              <a:off x="101" y="3178"/>
              <a:ext cx="362" cy="167"/>
            </a:xfrm>
            <a:custGeom>
              <a:avLst/>
              <a:gdLst>
                <a:gd name="T0" fmla="*/ 113 w 1088"/>
                <a:gd name="T1" fmla="*/ 41 h 688"/>
                <a:gd name="T2" fmla="*/ 114 w 1088"/>
                <a:gd name="T3" fmla="*/ 41 h 688"/>
                <a:gd name="T4" fmla="*/ 116 w 1088"/>
                <a:gd name="T5" fmla="*/ 40 h 688"/>
                <a:gd name="T6" fmla="*/ 117 w 1088"/>
                <a:gd name="T7" fmla="*/ 40 h 688"/>
                <a:gd name="T8" fmla="*/ 118 w 1088"/>
                <a:gd name="T9" fmla="*/ 39 h 688"/>
                <a:gd name="T10" fmla="*/ 119 w 1088"/>
                <a:gd name="T11" fmla="*/ 39 h 688"/>
                <a:gd name="T12" fmla="*/ 120 w 1088"/>
                <a:gd name="T13" fmla="*/ 38 h 688"/>
                <a:gd name="T14" fmla="*/ 120 w 1088"/>
                <a:gd name="T15" fmla="*/ 37 h 688"/>
                <a:gd name="T16" fmla="*/ 120 w 1088"/>
                <a:gd name="T17" fmla="*/ 36 h 688"/>
                <a:gd name="T18" fmla="*/ 120 w 1088"/>
                <a:gd name="T19" fmla="*/ 4 h 688"/>
                <a:gd name="T20" fmla="*/ 120 w 1088"/>
                <a:gd name="T21" fmla="*/ 3 h 688"/>
                <a:gd name="T22" fmla="*/ 120 w 1088"/>
                <a:gd name="T23" fmla="*/ 2 h 688"/>
                <a:gd name="T24" fmla="*/ 119 w 1088"/>
                <a:gd name="T25" fmla="*/ 2 h 688"/>
                <a:gd name="T26" fmla="*/ 118 w 1088"/>
                <a:gd name="T27" fmla="*/ 1 h 688"/>
                <a:gd name="T28" fmla="*/ 117 w 1088"/>
                <a:gd name="T29" fmla="*/ 1 h 688"/>
                <a:gd name="T30" fmla="*/ 116 w 1088"/>
                <a:gd name="T31" fmla="*/ 0 h 688"/>
                <a:gd name="T32" fmla="*/ 114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0 w 1088"/>
                <a:gd name="T57" fmla="*/ 38 h 688"/>
                <a:gd name="T58" fmla="*/ 1 w 1088"/>
                <a:gd name="T59" fmla="*/ 39 h 688"/>
                <a:gd name="T60" fmla="*/ 2 w 1088"/>
                <a:gd name="T61" fmla="*/ 39 h 688"/>
                <a:gd name="T62" fmla="*/ 3 w 1088"/>
                <a:gd name="T63" fmla="*/ 40 h 688"/>
                <a:gd name="T64" fmla="*/ 4 w 1088"/>
                <a:gd name="T65" fmla="*/ 40 h 688"/>
                <a:gd name="T66" fmla="*/ 6 w 1088"/>
                <a:gd name="T67" fmla="*/ 41 h 688"/>
                <a:gd name="T68" fmla="*/ 8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8" y="688"/>
                  </a:moveTo>
                  <a:lnTo>
                    <a:pt x="1020" y="688"/>
                  </a:lnTo>
                  <a:lnTo>
                    <a:pt x="1027" y="688"/>
                  </a:lnTo>
                  <a:lnTo>
                    <a:pt x="1034" y="687"/>
                  </a:lnTo>
                  <a:lnTo>
                    <a:pt x="1041" y="685"/>
                  </a:lnTo>
                  <a:lnTo>
                    <a:pt x="1046" y="682"/>
                  </a:lnTo>
                  <a:lnTo>
                    <a:pt x="1053" y="680"/>
                  </a:lnTo>
                  <a:lnTo>
                    <a:pt x="1059" y="677"/>
                  </a:lnTo>
                  <a:lnTo>
                    <a:pt x="1063" y="672"/>
                  </a:lnTo>
                  <a:lnTo>
                    <a:pt x="1068" y="668"/>
                  </a:lnTo>
                  <a:lnTo>
                    <a:pt x="1072" y="663"/>
                  </a:lnTo>
                  <a:lnTo>
                    <a:pt x="1077" y="659"/>
                  </a:lnTo>
                  <a:lnTo>
                    <a:pt x="1080" y="653"/>
                  </a:lnTo>
                  <a:lnTo>
                    <a:pt x="1082" y="646"/>
                  </a:lnTo>
                  <a:lnTo>
                    <a:pt x="1085" y="641"/>
                  </a:lnTo>
                  <a:lnTo>
                    <a:pt x="1087" y="634"/>
                  </a:lnTo>
                  <a:lnTo>
                    <a:pt x="1088" y="627"/>
                  </a:lnTo>
                  <a:lnTo>
                    <a:pt x="1088" y="620"/>
                  </a:lnTo>
                  <a:lnTo>
                    <a:pt x="1088" y="68"/>
                  </a:lnTo>
                  <a:lnTo>
                    <a:pt x="1088" y="60"/>
                  </a:lnTo>
                  <a:lnTo>
                    <a:pt x="1087" y="53"/>
                  </a:lnTo>
                  <a:lnTo>
                    <a:pt x="1085" y="47"/>
                  </a:lnTo>
                  <a:lnTo>
                    <a:pt x="1082" y="40"/>
                  </a:lnTo>
                  <a:lnTo>
                    <a:pt x="1080" y="35"/>
                  </a:lnTo>
                  <a:lnTo>
                    <a:pt x="1077" y="29"/>
                  </a:lnTo>
                  <a:lnTo>
                    <a:pt x="1072" y="23"/>
                  </a:lnTo>
                  <a:lnTo>
                    <a:pt x="1068" y="19"/>
                  </a:lnTo>
                  <a:lnTo>
                    <a:pt x="1063" y="14"/>
                  </a:lnTo>
                  <a:lnTo>
                    <a:pt x="1059" y="11"/>
                  </a:lnTo>
                  <a:lnTo>
                    <a:pt x="1053" y="8"/>
                  </a:lnTo>
                  <a:lnTo>
                    <a:pt x="1046" y="4"/>
                  </a:lnTo>
                  <a:lnTo>
                    <a:pt x="1041" y="2"/>
                  </a:lnTo>
                  <a:lnTo>
                    <a:pt x="1034" y="1"/>
                  </a:lnTo>
                  <a:lnTo>
                    <a:pt x="1027" y="0"/>
                  </a:lnTo>
                  <a:lnTo>
                    <a:pt x="1020" y="0"/>
                  </a:lnTo>
                  <a:lnTo>
                    <a:pt x="68" y="0"/>
                  </a:lnTo>
                  <a:lnTo>
                    <a:pt x="61" y="0"/>
                  </a:lnTo>
                  <a:lnTo>
                    <a:pt x="54" y="1"/>
                  </a:lnTo>
                  <a:lnTo>
                    <a:pt x="47" y="2"/>
                  </a:lnTo>
                  <a:lnTo>
                    <a:pt x="40" y="4"/>
                  </a:lnTo>
                  <a:lnTo>
                    <a:pt x="35" y="8"/>
                  </a:lnTo>
                  <a:lnTo>
                    <a:pt x="29" y="11"/>
                  </a:lnTo>
                  <a:lnTo>
                    <a:pt x="25" y="14"/>
                  </a:lnTo>
                  <a:lnTo>
                    <a:pt x="19" y="19"/>
                  </a:lnTo>
                  <a:lnTo>
                    <a:pt x="14" y="23"/>
                  </a:lnTo>
                  <a:lnTo>
                    <a:pt x="11" y="29"/>
                  </a:lnTo>
                  <a:lnTo>
                    <a:pt x="8" y="35"/>
                  </a:lnTo>
                  <a:lnTo>
                    <a:pt x="4" y="40"/>
                  </a:lnTo>
                  <a:lnTo>
                    <a:pt x="2" y="47"/>
                  </a:lnTo>
                  <a:lnTo>
                    <a:pt x="1" y="53"/>
                  </a:lnTo>
                  <a:lnTo>
                    <a:pt x="0" y="60"/>
                  </a:lnTo>
                  <a:lnTo>
                    <a:pt x="0" y="68"/>
                  </a:lnTo>
                  <a:lnTo>
                    <a:pt x="0" y="620"/>
                  </a:lnTo>
                  <a:lnTo>
                    <a:pt x="0" y="627"/>
                  </a:lnTo>
                  <a:lnTo>
                    <a:pt x="1" y="634"/>
                  </a:lnTo>
                  <a:lnTo>
                    <a:pt x="2" y="641"/>
                  </a:lnTo>
                  <a:lnTo>
                    <a:pt x="4" y="646"/>
                  </a:lnTo>
                  <a:lnTo>
                    <a:pt x="8" y="653"/>
                  </a:lnTo>
                  <a:lnTo>
                    <a:pt x="11" y="659"/>
                  </a:lnTo>
                  <a:lnTo>
                    <a:pt x="14" y="663"/>
                  </a:lnTo>
                  <a:lnTo>
                    <a:pt x="19" y="668"/>
                  </a:lnTo>
                  <a:lnTo>
                    <a:pt x="25" y="672"/>
                  </a:lnTo>
                  <a:lnTo>
                    <a:pt x="29" y="677"/>
                  </a:lnTo>
                  <a:lnTo>
                    <a:pt x="35" y="680"/>
                  </a:lnTo>
                  <a:lnTo>
                    <a:pt x="40" y="682"/>
                  </a:lnTo>
                  <a:lnTo>
                    <a:pt x="47" y="685"/>
                  </a:lnTo>
                  <a:lnTo>
                    <a:pt x="54" y="687"/>
                  </a:lnTo>
                  <a:lnTo>
                    <a:pt x="61" y="688"/>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96" name="Rectangle 652"/>
            <p:cNvSpPr>
              <a:spLocks noChangeArrowheads="1"/>
            </p:cNvSpPr>
            <p:nvPr/>
          </p:nvSpPr>
          <p:spPr bwMode="auto">
            <a:xfrm>
              <a:off x="165" y="3209"/>
              <a:ext cx="18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sset Perf</a:t>
              </a:r>
              <a:endParaRPr lang="en-US" sz="1800" b="0" kern="0" baseline="0">
                <a:solidFill>
                  <a:sysClr val="windowText" lastClr="000000"/>
                </a:solidFill>
                <a:latin typeface="Arial" charset="0"/>
                <a:ea typeface="ＭＳ Ｐゴシック"/>
                <a:cs typeface="ＭＳ Ｐゴシック"/>
              </a:endParaRPr>
            </a:p>
          </p:txBody>
        </p:sp>
        <p:sp>
          <p:nvSpPr>
            <p:cNvPr id="97" name="Rectangle 653"/>
            <p:cNvSpPr>
              <a:spLocks noChangeArrowheads="1"/>
            </p:cNvSpPr>
            <p:nvPr/>
          </p:nvSpPr>
          <p:spPr bwMode="auto">
            <a:xfrm>
              <a:off x="350" y="3209"/>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98" name="Rectangle 654"/>
            <p:cNvSpPr>
              <a:spLocks noChangeArrowheads="1"/>
            </p:cNvSpPr>
            <p:nvPr/>
          </p:nvSpPr>
          <p:spPr bwMode="auto">
            <a:xfrm>
              <a:off x="372" y="3209"/>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99" name="Rectangle 655"/>
            <p:cNvSpPr>
              <a:spLocks noChangeArrowheads="1"/>
            </p:cNvSpPr>
            <p:nvPr/>
          </p:nvSpPr>
          <p:spPr bwMode="auto">
            <a:xfrm>
              <a:off x="197" y="3244"/>
              <a:ext cx="17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ondition </a:t>
              </a:r>
              <a:endParaRPr lang="en-US" sz="1800" b="0" kern="0" baseline="0">
                <a:solidFill>
                  <a:sysClr val="windowText" lastClr="000000"/>
                </a:solidFill>
                <a:latin typeface="Arial" charset="0"/>
                <a:ea typeface="ＭＳ Ｐゴシック"/>
                <a:cs typeface="ＭＳ Ｐゴシック"/>
              </a:endParaRPr>
            </a:p>
          </p:txBody>
        </p:sp>
        <p:sp>
          <p:nvSpPr>
            <p:cNvPr id="100" name="Rectangle 656"/>
            <p:cNvSpPr>
              <a:spLocks noChangeArrowheads="1"/>
            </p:cNvSpPr>
            <p:nvPr/>
          </p:nvSpPr>
          <p:spPr bwMode="auto">
            <a:xfrm>
              <a:off x="165" y="3279"/>
              <a:ext cx="23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ment</a:t>
              </a:r>
              <a:endParaRPr lang="en-US" sz="1800" b="0" kern="0" baseline="0">
                <a:solidFill>
                  <a:sysClr val="windowText" lastClr="000000"/>
                </a:solidFill>
                <a:latin typeface="Arial" charset="0"/>
                <a:ea typeface="ＭＳ Ｐゴシック"/>
                <a:cs typeface="ＭＳ Ｐゴシック"/>
              </a:endParaRPr>
            </a:p>
          </p:txBody>
        </p:sp>
        <p:sp>
          <p:nvSpPr>
            <p:cNvPr id="101" name="Freeform 657"/>
            <p:cNvSpPr>
              <a:spLocks/>
            </p:cNvSpPr>
            <p:nvPr/>
          </p:nvSpPr>
          <p:spPr bwMode="auto">
            <a:xfrm>
              <a:off x="292" y="3363"/>
              <a:ext cx="376" cy="167"/>
            </a:xfrm>
            <a:custGeom>
              <a:avLst/>
              <a:gdLst>
                <a:gd name="T0" fmla="*/ 118 w 1128"/>
                <a:gd name="T1" fmla="*/ 41 h 688"/>
                <a:gd name="T2" fmla="*/ 119 w 1128"/>
                <a:gd name="T3" fmla="*/ 41 h 688"/>
                <a:gd name="T4" fmla="*/ 121 w 1128"/>
                <a:gd name="T5" fmla="*/ 40 h 688"/>
                <a:gd name="T6" fmla="*/ 122 w 1128"/>
                <a:gd name="T7" fmla="*/ 40 h 688"/>
                <a:gd name="T8" fmla="*/ 123 w 1128"/>
                <a:gd name="T9" fmla="*/ 39 h 688"/>
                <a:gd name="T10" fmla="*/ 124 w 1128"/>
                <a:gd name="T11" fmla="*/ 39 h 688"/>
                <a:gd name="T12" fmla="*/ 125 w 1128"/>
                <a:gd name="T13" fmla="*/ 38 h 688"/>
                <a:gd name="T14" fmla="*/ 125 w 1128"/>
                <a:gd name="T15" fmla="*/ 37 h 688"/>
                <a:gd name="T16" fmla="*/ 125 w 1128"/>
                <a:gd name="T17" fmla="*/ 36 h 688"/>
                <a:gd name="T18" fmla="*/ 125 w 1128"/>
                <a:gd name="T19" fmla="*/ 4 h 688"/>
                <a:gd name="T20" fmla="*/ 125 w 1128"/>
                <a:gd name="T21" fmla="*/ 3 h 688"/>
                <a:gd name="T22" fmla="*/ 125 w 1128"/>
                <a:gd name="T23" fmla="*/ 2 h 688"/>
                <a:gd name="T24" fmla="*/ 124 w 1128"/>
                <a:gd name="T25" fmla="*/ 2 h 688"/>
                <a:gd name="T26" fmla="*/ 123 w 1128"/>
                <a:gd name="T27" fmla="*/ 1 h 688"/>
                <a:gd name="T28" fmla="*/ 122 w 1128"/>
                <a:gd name="T29" fmla="*/ 1 h 688"/>
                <a:gd name="T30" fmla="*/ 121 w 1128"/>
                <a:gd name="T31" fmla="*/ 0 h 688"/>
                <a:gd name="T32" fmla="*/ 119 w 1128"/>
                <a:gd name="T33" fmla="*/ 0 h 688"/>
                <a:gd name="T34" fmla="*/ 118 w 1128"/>
                <a:gd name="T35" fmla="*/ 0 h 688"/>
                <a:gd name="T36" fmla="*/ 7 w 1128"/>
                <a:gd name="T37" fmla="*/ 0 h 688"/>
                <a:gd name="T38" fmla="*/ 5 w 1128"/>
                <a:gd name="T39" fmla="*/ 0 h 688"/>
                <a:gd name="T40" fmla="*/ 4 w 1128"/>
                <a:gd name="T41" fmla="*/ 0 h 688"/>
                <a:gd name="T42" fmla="*/ 3 w 1128"/>
                <a:gd name="T43" fmla="*/ 1 h 688"/>
                <a:gd name="T44" fmla="*/ 2 w 1128"/>
                <a:gd name="T45" fmla="*/ 1 h 688"/>
                <a:gd name="T46" fmla="*/ 1 w 1128"/>
                <a:gd name="T47" fmla="*/ 2 h 688"/>
                <a:gd name="T48" fmla="*/ 0 w 1128"/>
                <a:gd name="T49" fmla="*/ 3 h 688"/>
                <a:gd name="T50" fmla="*/ 0 w 1128"/>
                <a:gd name="T51" fmla="*/ 4 h 688"/>
                <a:gd name="T52" fmla="*/ 0 w 1128"/>
                <a:gd name="T53" fmla="*/ 36 h 688"/>
                <a:gd name="T54" fmla="*/ 0 w 1128"/>
                <a:gd name="T55" fmla="*/ 37 h 688"/>
                <a:gd name="T56" fmla="*/ 1 w 1128"/>
                <a:gd name="T57" fmla="*/ 38 h 688"/>
                <a:gd name="T58" fmla="*/ 1 w 1128"/>
                <a:gd name="T59" fmla="*/ 39 h 688"/>
                <a:gd name="T60" fmla="*/ 2 w 1128"/>
                <a:gd name="T61" fmla="*/ 39 h 688"/>
                <a:gd name="T62" fmla="*/ 3 w 1128"/>
                <a:gd name="T63" fmla="*/ 40 h 688"/>
                <a:gd name="T64" fmla="*/ 5 w 1128"/>
                <a:gd name="T65" fmla="*/ 40 h 688"/>
                <a:gd name="T66" fmla="*/ 6 w 1128"/>
                <a:gd name="T67" fmla="*/ 41 h 688"/>
                <a:gd name="T68" fmla="*/ 8 w 112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8"/>
                <a:gd name="T106" fmla="*/ 0 h 688"/>
                <a:gd name="T107" fmla="*/ 1128 w 112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8" h="688">
                  <a:moveTo>
                    <a:pt x="68" y="688"/>
                  </a:moveTo>
                  <a:lnTo>
                    <a:pt x="1060" y="688"/>
                  </a:lnTo>
                  <a:lnTo>
                    <a:pt x="1067" y="688"/>
                  </a:lnTo>
                  <a:lnTo>
                    <a:pt x="1074" y="687"/>
                  </a:lnTo>
                  <a:lnTo>
                    <a:pt x="1079" y="685"/>
                  </a:lnTo>
                  <a:lnTo>
                    <a:pt x="1086" y="682"/>
                  </a:lnTo>
                  <a:lnTo>
                    <a:pt x="1092" y="680"/>
                  </a:lnTo>
                  <a:lnTo>
                    <a:pt x="1097" y="677"/>
                  </a:lnTo>
                  <a:lnTo>
                    <a:pt x="1103" y="672"/>
                  </a:lnTo>
                  <a:lnTo>
                    <a:pt x="1108" y="668"/>
                  </a:lnTo>
                  <a:lnTo>
                    <a:pt x="1112" y="663"/>
                  </a:lnTo>
                  <a:lnTo>
                    <a:pt x="1115" y="659"/>
                  </a:lnTo>
                  <a:lnTo>
                    <a:pt x="1119" y="653"/>
                  </a:lnTo>
                  <a:lnTo>
                    <a:pt x="1122" y="646"/>
                  </a:lnTo>
                  <a:lnTo>
                    <a:pt x="1124" y="641"/>
                  </a:lnTo>
                  <a:lnTo>
                    <a:pt x="1126" y="634"/>
                  </a:lnTo>
                  <a:lnTo>
                    <a:pt x="1127" y="627"/>
                  </a:lnTo>
                  <a:lnTo>
                    <a:pt x="1128" y="620"/>
                  </a:lnTo>
                  <a:lnTo>
                    <a:pt x="1128" y="67"/>
                  </a:lnTo>
                  <a:lnTo>
                    <a:pt x="1127" y="60"/>
                  </a:lnTo>
                  <a:lnTo>
                    <a:pt x="1126" y="53"/>
                  </a:lnTo>
                  <a:lnTo>
                    <a:pt x="1124" y="47"/>
                  </a:lnTo>
                  <a:lnTo>
                    <a:pt x="1122" y="40"/>
                  </a:lnTo>
                  <a:lnTo>
                    <a:pt x="1119" y="35"/>
                  </a:lnTo>
                  <a:lnTo>
                    <a:pt x="1115" y="29"/>
                  </a:lnTo>
                  <a:lnTo>
                    <a:pt x="1112" y="23"/>
                  </a:lnTo>
                  <a:lnTo>
                    <a:pt x="1108" y="19"/>
                  </a:lnTo>
                  <a:lnTo>
                    <a:pt x="1103" y="14"/>
                  </a:lnTo>
                  <a:lnTo>
                    <a:pt x="1097" y="11"/>
                  </a:lnTo>
                  <a:lnTo>
                    <a:pt x="1092" y="8"/>
                  </a:lnTo>
                  <a:lnTo>
                    <a:pt x="1086" y="4"/>
                  </a:lnTo>
                  <a:lnTo>
                    <a:pt x="1079" y="2"/>
                  </a:lnTo>
                  <a:lnTo>
                    <a:pt x="1074" y="1"/>
                  </a:lnTo>
                  <a:lnTo>
                    <a:pt x="1067" y="0"/>
                  </a:lnTo>
                  <a:lnTo>
                    <a:pt x="1060" y="0"/>
                  </a:lnTo>
                  <a:lnTo>
                    <a:pt x="68" y="0"/>
                  </a:lnTo>
                  <a:lnTo>
                    <a:pt x="60" y="0"/>
                  </a:lnTo>
                  <a:lnTo>
                    <a:pt x="53" y="1"/>
                  </a:lnTo>
                  <a:lnTo>
                    <a:pt x="47" y="2"/>
                  </a:lnTo>
                  <a:lnTo>
                    <a:pt x="41" y="4"/>
                  </a:lnTo>
                  <a:lnTo>
                    <a:pt x="35" y="8"/>
                  </a:lnTo>
                  <a:lnTo>
                    <a:pt x="29" y="11"/>
                  </a:lnTo>
                  <a:lnTo>
                    <a:pt x="24" y="14"/>
                  </a:lnTo>
                  <a:lnTo>
                    <a:pt x="19" y="19"/>
                  </a:lnTo>
                  <a:lnTo>
                    <a:pt x="15" y="23"/>
                  </a:lnTo>
                  <a:lnTo>
                    <a:pt x="11" y="29"/>
                  </a:lnTo>
                  <a:lnTo>
                    <a:pt x="8" y="35"/>
                  </a:lnTo>
                  <a:lnTo>
                    <a:pt x="5" y="40"/>
                  </a:lnTo>
                  <a:lnTo>
                    <a:pt x="2" y="47"/>
                  </a:lnTo>
                  <a:lnTo>
                    <a:pt x="1" y="53"/>
                  </a:lnTo>
                  <a:lnTo>
                    <a:pt x="0" y="60"/>
                  </a:lnTo>
                  <a:lnTo>
                    <a:pt x="0" y="67"/>
                  </a:lnTo>
                  <a:lnTo>
                    <a:pt x="0" y="620"/>
                  </a:lnTo>
                  <a:lnTo>
                    <a:pt x="0" y="627"/>
                  </a:lnTo>
                  <a:lnTo>
                    <a:pt x="1" y="634"/>
                  </a:lnTo>
                  <a:lnTo>
                    <a:pt x="2" y="641"/>
                  </a:lnTo>
                  <a:lnTo>
                    <a:pt x="5" y="646"/>
                  </a:lnTo>
                  <a:lnTo>
                    <a:pt x="8" y="653"/>
                  </a:lnTo>
                  <a:lnTo>
                    <a:pt x="11" y="659"/>
                  </a:lnTo>
                  <a:lnTo>
                    <a:pt x="15" y="663"/>
                  </a:lnTo>
                  <a:lnTo>
                    <a:pt x="19" y="668"/>
                  </a:lnTo>
                  <a:lnTo>
                    <a:pt x="24" y="672"/>
                  </a:lnTo>
                  <a:lnTo>
                    <a:pt x="29" y="677"/>
                  </a:lnTo>
                  <a:lnTo>
                    <a:pt x="35" y="680"/>
                  </a:lnTo>
                  <a:lnTo>
                    <a:pt x="41" y="682"/>
                  </a:lnTo>
                  <a:lnTo>
                    <a:pt x="47" y="685"/>
                  </a:lnTo>
                  <a:lnTo>
                    <a:pt x="53" y="687"/>
                  </a:lnTo>
                  <a:lnTo>
                    <a:pt x="60" y="688"/>
                  </a:lnTo>
                  <a:lnTo>
                    <a:pt x="68" y="688"/>
                  </a:lnTo>
                  <a:close/>
                </a:path>
              </a:pathLst>
            </a:custGeom>
            <a:solidFill>
              <a:srgbClr val="00CC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02" name="Freeform 658"/>
            <p:cNvSpPr>
              <a:spLocks/>
            </p:cNvSpPr>
            <p:nvPr/>
          </p:nvSpPr>
          <p:spPr bwMode="auto">
            <a:xfrm>
              <a:off x="292" y="3363"/>
              <a:ext cx="376" cy="167"/>
            </a:xfrm>
            <a:custGeom>
              <a:avLst/>
              <a:gdLst>
                <a:gd name="T0" fmla="*/ 118 w 1128"/>
                <a:gd name="T1" fmla="*/ 41 h 688"/>
                <a:gd name="T2" fmla="*/ 119 w 1128"/>
                <a:gd name="T3" fmla="*/ 41 h 688"/>
                <a:gd name="T4" fmla="*/ 121 w 1128"/>
                <a:gd name="T5" fmla="*/ 40 h 688"/>
                <a:gd name="T6" fmla="*/ 122 w 1128"/>
                <a:gd name="T7" fmla="*/ 40 h 688"/>
                <a:gd name="T8" fmla="*/ 123 w 1128"/>
                <a:gd name="T9" fmla="*/ 39 h 688"/>
                <a:gd name="T10" fmla="*/ 124 w 1128"/>
                <a:gd name="T11" fmla="*/ 39 h 688"/>
                <a:gd name="T12" fmla="*/ 125 w 1128"/>
                <a:gd name="T13" fmla="*/ 38 h 688"/>
                <a:gd name="T14" fmla="*/ 125 w 1128"/>
                <a:gd name="T15" fmla="*/ 37 h 688"/>
                <a:gd name="T16" fmla="*/ 125 w 1128"/>
                <a:gd name="T17" fmla="*/ 36 h 688"/>
                <a:gd name="T18" fmla="*/ 125 w 1128"/>
                <a:gd name="T19" fmla="*/ 4 h 688"/>
                <a:gd name="T20" fmla="*/ 125 w 1128"/>
                <a:gd name="T21" fmla="*/ 3 h 688"/>
                <a:gd name="T22" fmla="*/ 125 w 1128"/>
                <a:gd name="T23" fmla="*/ 2 h 688"/>
                <a:gd name="T24" fmla="*/ 124 w 1128"/>
                <a:gd name="T25" fmla="*/ 2 h 688"/>
                <a:gd name="T26" fmla="*/ 123 w 1128"/>
                <a:gd name="T27" fmla="*/ 1 h 688"/>
                <a:gd name="T28" fmla="*/ 122 w 1128"/>
                <a:gd name="T29" fmla="*/ 1 h 688"/>
                <a:gd name="T30" fmla="*/ 121 w 1128"/>
                <a:gd name="T31" fmla="*/ 0 h 688"/>
                <a:gd name="T32" fmla="*/ 119 w 1128"/>
                <a:gd name="T33" fmla="*/ 0 h 688"/>
                <a:gd name="T34" fmla="*/ 118 w 1128"/>
                <a:gd name="T35" fmla="*/ 0 h 688"/>
                <a:gd name="T36" fmla="*/ 7 w 1128"/>
                <a:gd name="T37" fmla="*/ 0 h 688"/>
                <a:gd name="T38" fmla="*/ 5 w 1128"/>
                <a:gd name="T39" fmla="*/ 0 h 688"/>
                <a:gd name="T40" fmla="*/ 4 w 1128"/>
                <a:gd name="T41" fmla="*/ 0 h 688"/>
                <a:gd name="T42" fmla="*/ 3 w 1128"/>
                <a:gd name="T43" fmla="*/ 1 h 688"/>
                <a:gd name="T44" fmla="*/ 2 w 1128"/>
                <a:gd name="T45" fmla="*/ 1 h 688"/>
                <a:gd name="T46" fmla="*/ 1 w 1128"/>
                <a:gd name="T47" fmla="*/ 2 h 688"/>
                <a:gd name="T48" fmla="*/ 0 w 1128"/>
                <a:gd name="T49" fmla="*/ 3 h 688"/>
                <a:gd name="T50" fmla="*/ 0 w 1128"/>
                <a:gd name="T51" fmla="*/ 4 h 688"/>
                <a:gd name="T52" fmla="*/ 0 w 1128"/>
                <a:gd name="T53" fmla="*/ 36 h 688"/>
                <a:gd name="T54" fmla="*/ 0 w 1128"/>
                <a:gd name="T55" fmla="*/ 37 h 688"/>
                <a:gd name="T56" fmla="*/ 1 w 1128"/>
                <a:gd name="T57" fmla="*/ 38 h 688"/>
                <a:gd name="T58" fmla="*/ 1 w 1128"/>
                <a:gd name="T59" fmla="*/ 39 h 688"/>
                <a:gd name="T60" fmla="*/ 2 w 1128"/>
                <a:gd name="T61" fmla="*/ 39 h 688"/>
                <a:gd name="T62" fmla="*/ 3 w 1128"/>
                <a:gd name="T63" fmla="*/ 40 h 688"/>
                <a:gd name="T64" fmla="*/ 5 w 1128"/>
                <a:gd name="T65" fmla="*/ 40 h 688"/>
                <a:gd name="T66" fmla="*/ 6 w 1128"/>
                <a:gd name="T67" fmla="*/ 41 h 688"/>
                <a:gd name="T68" fmla="*/ 8 w 112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8"/>
                <a:gd name="T106" fmla="*/ 0 h 688"/>
                <a:gd name="T107" fmla="*/ 1128 w 112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8" h="688">
                  <a:moveTo>
                    <a:pt x="68" y="688"/>
                  </a:moveTo>
                  <a:lnTo>
                    <a:pt x="1060" y="688"/>
                  </a:lnTo>
                  <a:lnTo>
                    <a:pt x="1067" y="688"/>
                  </a:lnTo>
                  <a:lnTo>
                    <a:pt x="1074" y="687"/>
                  </a:lnTo>
                  <a:lnTo>
                    <a:pt x="1079" y="685"/>
                  </a:lnTo>
                  <a:lnTo>
                    <a:pt x="1086" y="682"/>
                  </a:lnTo>
                  <a:lnTo>
                    <a:pt x="1092" y="680"/>
                  </a:lnTo>
                  <a:lnTo>
                    <a:pt x="1097" y="677"/>
                  </a:lnTo>
                  <a:lnTo>
                    <a:pt x="1103" y="672"/>
                  </a:lnTo>
                  <a:lnTo>
                    <a:pt x="1108" y="668"/>
                  </a:lnTo>
                  <a:lnTo>
                    <a:pt x="1112" y="663"/>
                  </a:lnTo>
                  <a:lnTo>
                    <a:pt x="1115" y="659"/>
                  </a:lnTo>
                  <a:lnTo>
                    <a:pt x="1119" y="653"/>
                  </a:lnTo>
                  <a:lnTo>
                    <a:pt x="1122" y="646"/>
                  </a:lnTo>
                  <a:lnTo>
                    <a:pt x="1124" y="641"/>
                  </a:lnTo>
                  <a:lnTo>
                    <a:pt x="1126" y="634"/>
                  </a:lnTo>
                  <a:lnTo>
                    <a:pt x="1127" y="627"/>
                  </a:lnTo>
                  <a:lnTo>
                    <a:pt x="1128" y="620"/>
                  </a:lnTo>
                  <a:lnTo>
                    <a:pt x="1128" y="67"/>
                  </a:lnTo>
                  <a:lnTo>
                    <a:pt x="1127" y="60"/>
                  </a:lnTo>
                  <a:lnTo>
                    <a:pt x="1126" y="53"/>
                  </a:lnTo>
                  <a:lnTo>
                    <a:pt x="1124" y="47"/>
                  </a:lnTo>
                  <a:lnTo>
                    <a:pt x="1122" y="40"/>
                  </a:lnTo>
                  <a:lnTo>
                    <a:pt x="1119" y="35"/>
                  </a:lnTo>
                  <a:lnTo>
                    <a:pt x="1115" y="29"/>
                  </a:lnTo>
                  <a:lnTo>
                    <a:pt x="1112" y="23"/>
                  </a:lnTo>
                  <a:lnTo>
                    <a:pt x="1108" y="19"/>
                  </a:lnTo>
                  <a:lnTo>
                    <a:pt x="1103" y="14"/>
                  </a:lnTo>
                  <a:lnTo>
                    <a:pt x="1097" y="11"/>
                  </a:lnTo>
                  <a:lnTo>
                    <a:pt x="1092" y="8"/>
                  </a:lnTo>
                  <a:lnTo>
                    <a:pt x="1086" y="4"/>
                  </a:lnTo>
                  <a:lnTo>
                    <a:pt x="1079" y="2"/>
                  </a:lnTo>
                  <a:lnTo>
                    <a:pt x="1074" y="1"/>
                  </a:lnTo>
                  <a:lnTo>
                    <a:pt x="1067" y="0"/>
                  </a:lnTo>
                  <a:lnTo>
                    <a:pt x="1060" y="0"/>
                  </a:lnTo>
                  <a:lnTo>
                    <a:pt x="68" y="0"/>
                  </a:lnTo>
                  <a:lnTo>
                    <a:pt x="60" y="0"/>
                  </a:lnTo>
                  <a:lnTo>
                    <a:pt x="53" y="1"/>
                  </a:lnTo>
                  <a:lnTo>
                    <a:pt x="47" y="2"/>
                  </a:lnTo>
                  <a:lnTo>
                    <a:pt x="41" y="4"/>
                  </a:lnTo>
                  <a:lnTo>
                    <a:pt x="35" y="8"/>
                  </a:lnTo>
                  <a:lnTo>
                    <a:pt x="29" y="11"/>
                  </a:lnTo>
                  <a:lnTo>
                    <a:pt x="24" y="14"/>
                  </a:lnTo>
                  <a:lnTo>
                    <a:pt x="19" y="19"/>
                  </a:lnTo>
                  <a:lnTo>
                    <a:pt x="15" y="23"/>
                  </a:lnTo>
                  <a:lnTo>
                    <a:pt x="11" y="29"/>
                  </a:lnTo>
                  <a:lnTo>
                    <a:pt x="8" y="35"/>
                  </a:lnTo>
                  <a:lnTo>
                    <a:pt x="5" y="40"/>
                  </a:lnTo>
                  <a:lnTo>
                    <a:pt x="2" y="47"/>
                  </a:lnTo>
                  <a:lnTo>
                    <a:pt x="1" y="53"/>
                  </a:lnTo>
                  <a:lnTo>
                    <a:pt x="0" y="60"/>
                  </a:lnTo>
                  <a:lnTo>
                    <a:pt x="0" y="67"/>
                  </a:lnTo>
                  <a:lnTo>
                    <a:pt x="0" y="620"/>
                  </a:lnTo>
                  <a:lnTo>
                    <a:pt x="0" y="627"/>
                  </a:lnTo>
                  <a:lnTo>
                    <a:pt x="1" y="634"/>
                  </a:lnTo>
                  <a:lnTo>
                    <a:pt x="2" y="641"/>
                  </a:lnTo>
                  <a:lnTo>
                    <a:pt x="5" y="646"/>
                  </a:lnTo>
                  <a:lnTo>
                    <a:pt x="8" y="653"/>
                  </a:lnTo>
                  <a:lnTo>
                    <a:pt x="11" y="659"/>
                  </a:lnTo>
                  <a:lnTo>
                    <a:pt x="15" y="663"/>
                  </a:lnTo>
                  <a:lnTo>
                    <a:pt x="19" y="668"/>
                  </a:lnTo>
                  <a:lnTo>
                    <a:pt x="24" y="672"/>
                  </a:lnTo>
                  <a:lnTo>
                    <a:pt x="29" y="677"/>
                  </a:lnTo>
                  <a:lnTo>
                    <a:pt x="35" y="680"/>
                  </a:lnTo>
                  <a:lnTo>
                    <a:pt x="41" y="682"/>
                  </a:lnTo>
                  <a:lnTo>
                    <a:pt x="47" y="685"/>
                  </a:lnTo>
                  <a:lnTo>
                    <a:pt x="53" y="687"/>
                  </a:lnTo>
                  <a:lnTo>
                    <a:pt x="60" y="688"/>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03" name="Rectangle 659"/>
            <p:cNvSpPr>
              <a:spLocks noChangeArrowheads="1"/>
            </p:cNvSpPr>
            <p:nvPr/>
          </p:nvSpPr>
          <p:spPr bwMode="auto">
            <a:xfrm>
              <a:off x="368" y="3394"/>
              <a:ext cx="13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System</a:t>
              </a:r>
              <a:endParaRPr lang="en-US" sz="1800" b="0" kern="0" baseline="0">
                <a:solidFill>
                  <a:sysClr val="windowText" lastClr="000000"/>
                </a:solidFill>
                <a:latin typeface="Arial" charset="0"/>
                <a:ea typeface="ＭＳ Ｐゴシック"/>
                <a:cs typeface="ＭＳ Ｐゴシック"/>
              </a:endParaRPr>
            </a:p>
          </p:txBody>
        </p:sp>
        <p:sp>
          <p:nvSpPr>
            <p:cNvPr id="104" name="Rectangle 660"/>
            <p:cNvSpPr>
              <a:spLocks noChangeArrowheads="1"/>
            </p:cNvSpPr>
            <p:nvPr/>
          </p:nvSpPr>
          <p:spPr bwMode="auto">
            <a:xfrm>
              <a:off x="503" y="3394"/>
              <a:ext cx="1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105" name="Rectangle 661"/>
            <p:cNvSpPr>
              <a:spLocks noChangeArrowheads="1"/>
            </p:cNvSpPr>
            <p:nvPr/>
          </p:nvSpPr>
          <p:spPr bwMode="auto">
            <a:xfrm>
              <a:off x="513" y="3394"/>
              <a:ext cx="6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t</a:t>
              </a:r>
              <a:endParaRPr lang="en-US" sz="1800" b="0" kern="0" baseline="0">
                <a:solidFill>
                  <a:sysClr val="windowText" lastClr="000000"/>
                </a:solidFill>
                <a:latin typeface="Arial" charset="0"/>
                <a:ea typeface="ＭＳ Ｐゴシック"/>
                <a:cs typeface="ＭＳ Ｐゴシック"/>
              </a:endParaRPr>
            </a:p>
          </p:txBody>
        </p:sp>
        <p:sp>
          <p:nvSpPr>
            <p:cNvPr id="106" name="Rectangle 662"/>
            <p:cNvSpPr>
              <a:spLocks noChangeArrowheads="1"/>
            </p:cNvSpPr>
            <p:nvPr/>
          </p:nvSpPr>
          <p:spPr bwMode="auto">
            <a:xfrm>
              <a:off x="581" y="3394"/>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107" name="Rectangle 663"/>
            <p:cNvSpPr>
              <a:spLocks noChangeArrowheads="1"/>
            </p:cNvSpPr>
            <p:nvPr/>
          </p:nvSpPr>
          <p:spPr bwMode="auto">
            <a:xfrm>
              <a:off x="333" y="3429"/>
              <a:ext cx="12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esign</a:t>
              </a:r>
              <a:endParaRPr lang="en-US" sz="1800" b="0" kern="0" baseline="0">
                <a:solidFill>
                  <a:sysClr val="windowText" lastClr="000000"/>
                </a:solidFill>
                <a:latin typeface="Arial" charset="0"/>
                <a:ea typeface="ＭＳ Ｐゴシック"/>
                <a:cs typeface="ＭＳ Ｐゴシック"/>
              </a:endParaRPr>
            </a:p>
          </p:txBody>
        </p:sp>
        <p:sp>
          <p:nvSpPr>
            <p:cNvPr id="108" name="Rectangle 664"/>
            <p:cNvSpPr>
              <a:spLocks noChangeArrowheads="1"/>
            </p:cNvSpPr>
            <p:nvPr/>
          </p:nvSpPr>
          <p:spPr bwMode="auto">
            <a:xfrm>
              <a:off x="458" y="3429"/>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109" name="Rectangle 665"/>
            <p:cNvSpPr>
              <a:spLocks noChangeArrowheads="1"/>
            </p:cNvSpPr>
            <p:nvPr/>
          </p:nvSpPr>
          <p:spPr bwMode="auto">
            <a:xfrm>
              <a:off x="480" y="3429"/>
              <a:ext cx="97"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Innov</a:t>
              </a:r>
              <a:endParaRPr lang="en-US" sz="1800" b="0" kern="0" baseline="0">
                <a:solidFill>
                  <a:sysClr val="windowText" lastClr="000000"/>
                </a:solidFill>
                <a:latin typeface="Arial" charset="0"/>
                <a:ea typeface="ＭＳ Ｐゴシック"/>
                <a:cs typeface="ＭＳ Ｐゴシック"/>
              </a:endParaRPr>
            </a:p>
          </p:txBody>
        </p:sp>
        <p:sp>
          <p:nvSpPr>
            <p:cNvPr id="110" name="Rectangle 666"/>
            <p:cNvSpPr>
              <a:spLocks noChangeArrowheads="1"/>
            </p:cNvSpPr>
            <p:nvPr/>
          </p:nvSpPr>
          <p:spPr bwMode="auto">
            <a:xfrm>
              <a:off x="578" y="3429"/>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111" name="Rectangle 667"/>
            <p:cNvSpPr>
              <a:spLocks noChangeArrowheads="1"/>
            </p:cNvSpPr>
            <p:nvPr/>
          </p:nvSpPr>
          <p:spPr bwMode="auto">
            <a:xfrm>
              <a:off x="601" y="3429"/>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112" name="Rectangle 668"/>
            <p:cNvSpPr>
              <a:spLocks noChangeArrowheads="1"/>
            </p:cNvSpPr>
            <p:nvPr/>
          </p:nvSpPr>
          <p:spPr bwMode="auto">
            <a:xfrm>
              <a:off x="439" y="3464"/>
              <a:ext cx="7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Eng</a:t>
              </a:r>
              <a:endParaRPr lang="en-US" sz="1800" b="0" kern="0" baseline="0">
                <a:solidFill>
                  <a:sysClr val="windowText" lastClr="000000"/>
                </a:solidFill>
                <a:latin typeface="Arial" charset="0"/>
                <a:ea typeface="ＭＳ Ｐゴシック"/>
                <a:cs typeface="ＭＳ Ｐゴシック"/>
              </a:endParaRPr>
            </a:p>
          </p:txBody>
        </p:sp>
        <p:sp>
          <p:nvSpPr>
            <p:cNvPr id="113" name="Rectangle 669"/>
            <p:cNvSpPr>
              <a:spLocks noChangeArrowheads="1"/>
            </p:cNvSpPr>
            <p:nvPr/>
          </p:nvSpPr>
          <p:spPr bwMode="auto">
            <a:xfrm>
              <a:off x="510" y="3464"/>
              <a:ext cx="1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114" name="Freeform 670"/>
            <p:cNvSpPr>
              <a:spLocks/>
            </p:cNvSpPr>
            <p:nvPr/>
          </p:nvSpPr>
          <p:spPr bwMode="auto">
            <a:xfrm>
              <a:off x="107" y="2414"/>
              <a:ext cx="363" cy="166"/>
            </a:xfrm>
            <a:custGeom>
              <a:avLst/>
              <a:gdLst>
                <a:gd name="T0" fmla="*/ 114 w 1089"/>
                <a:gd name="T1" fmla="*/ 40 h 688"/>
                <a:gd name="T2" fmla="*/ 115 w 1089"/>
                <a:gd name="T3" fmla="*/ 40 h 688"/>
                <a:gd name="T4" fmla="*/ 116 w 1089"/>
                <a:gd name="T5" fmla="*/ 40 h 688"/>
                <a:gd name="T6" fmla="*/ 118 w 1089"/>
                <a:gd name="T7" fmla="*/ 39 h 688"/>
                <a:gd name="T8" fmla="*/ 119 w 1089"/>
                <a:gd name="T9" fmla="*/ 39 h 688"/>
                <a:gd name="T10" fmla="*/ 120 w 1089"/>
                <a:gd name="T11" fmla="*/ 38 h 688"/>
                <a:gd name="T12" fmla="*/ 120 w 1089"/>
                <a:gd name="T13" fmla="*/ 38 h 688"/>
                <a:gd name="T14" fmla="*/ 121 w 1089"/>
                <a:gd name="T15" fmla="*/ 37 h 688"/>
                <a:gd name="T16" fmla="*/ 121 w 1089"/>
                <a:gd name="T17" fmla="*/ 36 h 688"/>
                <a:gd name="T18" fmla="*/ 121 w 1089"/>
                <a:gd name="T19" fmla="*/ 4 h 688"/>
                <a:gd name="T20" fmla="*/ 121 w 1089"/>
                <a:gd name="T21" fmla="*/ 3 h 688"/>
                <a:gd name="T22" fmla="*/ 120 w 1089"/>
                <a:gd name="T23" fmla="*/ 2 h 688"/>
                <a:gd name="T24" fmla="*/ 120 w 1089"/>
                <a:gd name="T25" fmla="*/ 2 h 688"/>
                <a:gd name="T26" fmla="*/ 119 w 1089"/>
                <a:gd name="T27" fmla="*/ 1 h 688"/>
                <a:gd name="T28" fmla="*/ 118 w 1089"/>
                <a:gd name="T29" fmla="*/ 1 h 688"/>
                <a:gd name="T30" fmla="*/ 116 w 1089"/>
                <a:gd name="T31" fmla="*/ 0 h 688"/>
                <a:gd name="T32" fmla="*/ 115 w 1089"/>
                <a:gd name="T33" fmla="*/ 0 h 688"/>
                <a:gd name="T34" fmla="*/ 114 w 1089"/>
                <a:gd name="T35" fmla="*/ 0 h 688"/>
                <a:gd name="T36" fmla="*/ 7 w 1089"/>
                <a:gd name="T37" fmla="*/ 0 h 688"/>
                <a:gd name="T38" fmla="*/ 5 w 1089"/>
                <a:gd name="T39" fmla="*/ 0 h 688"/>
                <a:gd name="T40" fmla="*/ 4 w 1089"/>
                <a:gd name="T41" fmla="*/ 0 h 688"/>
                <a:gd name="T42" fmla="*/ 3 w 1089"/>
                <a:gd name="T43" fmla="*/ 1 h 688"/>
                <a:gd name="T44" fmla="*/ 2 w 1089"/>
                <a:gd name="T45" fmla="*/ 1 h 688"/>
                <a:gd name="T46" fmla="*/ 1 w 1089"/>
                <a:gd name="T47" fmla="*/ 2 h 688"/>
                <a:gd name="T48" fmla="*/ 0 w 1089"/>
                <a:gd name="T49" fmla="*/ 3 h 688"/>
                <a:gd name="T50" fmla="*/ 0 w 1089"/>
                <a:gd name="T51" fmla="*/ 3 h 688"/>
                <a:gd name="T52" fmla="*/ 0 w 1089"/>
                <a:gd name="T53" fmla="*/ 36 h 688"/>
                <a:gd name="T54" fmla="*/ 0 w 1089"/>
                <a:gd name="T55" fmla="*/ 37 h 688"/>
                <a:gd name="T56" fmla="*/ 1 w 1089"/>
                <a:gd name="T57" fmla="*/ 38 h 688"/>
                <a:gd name="T58" fmla="*/ 1 w 1089"/>
                <a:gd name="T59" fmla="*/ 38 h 688"/>
                <a:gd name="T60" fmla="*/ 2 w 1089"/>
                <a:gd name="T61" fmla="*/ 39 h 688"/>
                <a:gd name="T62" fmla="*/ 3 w 1089"/>
                <a:gd name="T63" fmla="*/ 39 h 688"/>
                <a:gd name="T64" fmla="*/ 5 w 1089"/>
                <a:gd name="T65" fmla="*/ 40 h 688"/>
                <a:gd name="T66" fmla="*/ 6 w 1089"/>
                <a:gd name="T67" fmla="*/ 40 h 688"/>
                <a:gd name="T68" fmla="*/ 8 w 1089"/>
                <a:gd name="T69" fmla="*/ 40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8"/>
                <a:gd name="T107" fmla="*/ 1089 w 1089"/>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8">
                  <a:moveTo>
                    <a:pt x="68" y="688"/>
                  </a:moveTo>
                  <a:lnTo>
                    <a:pt x="1022" y="688"/>
                  </a:lnTo>
                  <a:lnTo>
                    <a:pt x="1028" y="688"/>
                  </a:lnTo>
                  <a:lnTo>
                    <a:pt x="1035" y="687"/>
                  </a:lnTo>
                  <a:lnTo>
                    <a:pt x="1041" y="685"/>
                  </a:lnTo>
                  <a:lnTo>
                    <a:pt x="1048" y="682"/>
                  </a:lnTo>
                  <a:lnTo>
                    <a:pt x="1053" y="680"/>
                  </a:lnTo>
                  <a:lnTo>
                    <a:pt x="1059" y="677"/>
                  </a:lnTo>
                  <a:lnTo>
                    <a:pt x="1065" y="672"/>
                  </a:lnTo>
                  <a:lnTo>
                    <a:pt x="1069" y="668"/>
                  </a:lnTo>
                  <a:lnTo>
                    <a:pt x="1074" y="663"/>
                  </a:lnTo>
                  <a:lnTo>
                    <a:pt x="1077" y="659"/>
                  </a:lnTo>
                  <a:lnTo>
                    <a:pt x="1080" y="653"/>
                  </a:lnTo>
                  <a:lnTo>
                    <a:pt x="1084" y="646"/>
                  </a:lnTo>
                  <a:lnTo>
                    <a:pt x="1086" y="640"/>
                  </a:lnTo>
                  <a:lnTo>
                    <a:pt x="1087" y="634"/>
                  </a:lnTo>
                  <a:lnTo>
                    <a:pt x="1088" y="627"/>
                  </a:lnTo>
                  <a:lnTo>
                    <a:pt x="1089" y="620"/>
                  </a:lnTo>
                  <a:lnTo>
                    <a:pt x="1089" y="67"/>
                  </a:lnTo>
                  <a:lnTo>
                    <a:pt x="1088" y="60"/>
                  </a:lnTo>
                  <a:lnTo>
                    <a:pt x="1087" y="53"/>
                  </a:lnTo>
                  <a:lnTo>
                    <a:pt x="1086" y="47"/>
                  </a:lnTo>
                  <a:lnTo>
                    <a:pt x="1084" y="40"/>
                  </a:lnTo>
                  <a:lnTo>
                    <a:pt x="1080" y="35"/>
                  </a:lnTo>
                  <a:lnTo>
                    <a:pt x="1077" y="29"/>
                  </a:lnTo>
                  <a:lnTo>
                    <a:pt x="1074" y="23"/>
                  </a:lnTo>
                  <a:lnTo>
                    <a:pt x="1069" y="19"/>
                  </a:lnTo>
                  <a:lnTo>
                    <a:pt x="1065" y="14"/>
                  </a:lnTo>
                  <a:lnTo>
                    <a:pt x="1059" y="11"/>
                  </a:lnTo>
                  <a:lnTo>
                    <a:pt x="1053" y="8"/>
                  </a:lnTo>
                  <a:lnTo>
                    <a:pt x="1048" y="4"/>
                  </a:lnTo>
                  <a:lnTo>
                    <a:pt x="1041" y="2"/>
                  </a:lnTo>
                  <a:lnTo>
                    <a:pt x="1035" y="1"/>
                  </a:lnTo>
                  <a:lnTo>
                    <a:pt x="1028" y="0"/>
                  </a:lnTo>
                  <a:lnTo>
                    <a:pt x="1022" y="0"/>
                  </a:lnTo>
                  <a:lnTo>
                    <a:pt x="68" y="0"/>
                  </a:lnTo>
                  <a:lnTo>
                    <a:pt x="61" y="0"/>
                  </a:lnTo>
                  <a:lnTo>
                    <a:pt x="54" y="1"/>
                  </a:lnTo>
                  <a:lnTo>
                    <a:pt x="47" y="2"/>
                  </a:lnTo>
                  <a:lnTo>
                    <a:pt x="42" y="4"/>
                  </a:lnTo>
                  <a:lnTo>
                    <a:pt x="36" y="8"/>
                  </a:lnTo>
                  <a:lnTo>
                    <a:pt x="30" y="11"/>
                  </a:lnTo>
                  <a:lnTo>
                    <a:pt x="25" y="14"/>
                  </a:lnTo>
                  <a:lnTo>
                    <a:pt x="20" y="19"/>
                  </a:lnTo>
                  <a:lnTo>
                    <a:pt x="16" y="23"/>
                  </a:lnTo>
                  <a:lnTo>
                    <a:pt x="12" y="29"/>
                  </a:lnTo>
                  <a:lnTo>
                    <a:pt x="9" y="35"/>
                  </a:lnTo>
                  <a:lnTo>
                    <a:pt x="6" y="40"/>
                  </a:lnTo>
                  <a:lnTo>
                    <a:pt x="3" y="47"/>
                  </a:lnTo>
                  <a:lnTo>
                    <a:pt x="1" y="53"/>
                  </a:lnTo>
                  <a:lnTo>
                    <a:pt x="1" y="60"/>
                  </a:lnTo>
                  <a:lnTo>
                    <a:pt x="0" y="67"/>
                  </a:lnTo>
                  <a:lnTo>
                    <a:pt x="0" y="620"/>
                  </a:lnTo>
                  <a:lnTo>
                    <a:pt x="1" y="627"/>
                  </a:lnTo>
                  <a:lnTo>
                    <a:pt x="1" y="634"/>
                  </a:lnTo>
                  <a:lnTo>
                    <a:pt x="3" y="640"/>
                  </a:lnTo>
                  <a:lnTo>
                    <a:pt x="6" y="646"/>
                  </a:lnTo>
                  <a:lnTo>
                    <a:pt x="9" y="653"/>
                  </a:lnTo>
                  <a:lnTo>
                    <a:pt x="12" y="659"/>
                  </a:lnTo>
                  <a:lnTo>
                    <a:pt x="16" y="663"/>
                  </a:lnTo>
                  <a:lnTo>
                    <a:pt x="20" y="668"/>
                  </a:lnTo>
                  <a:lnTo>
                    <a:pt x="25" y="672"/>
                  </a:lnTo>
                  <a:lnTo>
                    <a:pt x="30" y="677"/>
                  </a:lnTo>
                  <a:lnTo>
                    <a:pt x="36" y="680"/>
                  </a:lnTo>
                  <a:lnTo>
                    <a:pt x="42" y="682"/>
                  </a:lnTo>
                  <a:lnTo>
                    <a:pt x="47" y="685"/>
                  </a:lnTo>
                  <a:lnTo>
                    <a:pt x="54" y="687"/>
                  </a:lnTo>
                  <a:lnTo>
                    <a:pt x="61" y="688"/>
                  </a:lnTo>
                  <a:lnTo>
                    <a:pt x="68" y="688"/>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15" name="Freeform 671"/>
            <p:cNvSpPr>
              <a:spLocks/>
            </p:cNvSpPr>
            <p:nvPr/>
          </p:nvSpPr>
          <p:spPr bwMode="auto">
            <a:xfrm>
              <a:off x="107" y="2414"/>
              <a:ext cx="363" cy="166"/>
            </a:xfrm>
            <a:custGeom>
              <a:avLst/>
              <a:gdLst>
                <a:gd name="T0" fmla="*/ 114 w 1089"/>
                <a:gd name="T1" fmla="*/ 40 h 688"/>
                <a:gd name="T2" fmla="*/ 115 w 1089"/>
                <a:gd name="T3" fmla="*/ 40 h 688"/>
                <a:gd name="T4" fmla="*/ 116 w 1089"/>
                <a:gd name="T5" fmla="*/ 40 h 688"/>
                <a:gd name="T6" fmla="*/ 118 w 1089"/>
                <a:gd name="T7" fmla="*/ 39 h 688"/>
                <a:gd name="T8" fmla="*/ 119 w 1089"/>
                <a:gd name="T9" fmla="*/ 39 h 688"/>
                <a:gd name="T10" fmla="*/ 120 w 1089"/>
                <a:gd name="T11" fmla="*/ 38 h 688"/>
                <a:gd name="T12" fmla="*/ 120 w 1089"/>
                <a:gd name="T13" fmla="*/ 38 h 688"/>
                <a:gd name="T14" fmla="*/ 121 w 1089"/>
                <a:gd name="T15" fmla="*/ 37 h 688"/>
                <a:gd name="T16" fmla="*/ 121 w 1089"/>
                <a:gd name="T17" fmla="*/ 36 h 688"/>
                <a:gd name="T18" fmla="*/ 121 w 1089"/>
                <a:gd name="T19" fmla="*/ 4 h 688"/>
                <a:gd name="T20" fmla="*/ 121 w 1089"/>
                <a:gd name="T21" fmla="*/ 3 h 688"/>
                <a:gd name="T22" fmla="*/ 120 w 1089"/>
                <a:gd name="T23" fmla="*/ 2 h 688"/>
                <a:gd name="T24" fmla="*/ 120 w 1089"/>
                <a:gd name="T25" fmla="*/ 2 h 688"/>
                <a:gd name="T26" fmla="*/ 119 w 1089"/>
                <a:gd name="T27" fmla="*/ 1 h 688"/>
                <a:gd name="T28" fmla="*/ 118 w 1089"/>
                <a:gd name="T29" fmla="*/ 1 h 688"/>
                <a:gd name="T30" fmla="*/ 116 w 1089"/>
                <a:gd name="T31" fmla="*/ 0 h 688"/>
                <a:gd name="T32" fmla="*/ 115 w 1089"/>
                <a:gd name="T33" fmla="*/ 0 h 688"/>
                <a:gd name="T34" fmla="*/ 114 w 1089"/>
                <a:gd name="T35" fmla="*/ 0 h 688"/>
                <a:gd name="T36" fmla="*/ 7 w 1089"/>
                <a:gd name="T37" fmla="*/ 0 h 688"/>
                <a:gd name="T38" fmla="*/ 5 w 1089"/>
                <a:gd name="T39" fmla="*/ 0 h 688"/>
                <a:gd name="T40" fmla="*/ 4 w 1089"/>
                <a:gd name="T41" fmla="*/ 0 h 688"/>
                <a:gd name="T42" fmla="*/ 3 w 1089"/>
                <a:gd name="T43" fmla="*/ 1 h 688"/>
                <a:gd name="T44" fmla="*/ 2 w 1089"/>
                <a:gd name="T45" fmla="*/ 1 h 688"/>
                <a:gd name="T46" fmla="*/ 1 w 1089"/>
                <a:gd name="T47" fmla="*/ 2 h 688"/>
                <a:gd name="T48" fmla="*/ 0 w 1089"/>
                <a:gd name="T49" fmla="*/ 3 h 688"/>
                <a:gd name="T50" fmla="*/ 0 w 1089"/>
                <a:gd name="T51" fmla="*/ 3 h 688"/>
                <a:gd name="T52" fmla="*/ 0 w 1089"/>
                <a:gd name="T53" fmla="*/ 36 h 688"/>
                <a:gd name="T54" fmla="*/ 0 w 1089"/>
                <a:gd name="T55" fmla="*/ 37 h 688"/>
                <a:gd name="T56" fmla="*/ 1 w 1089"/>
                <a:gd name="T57" fmla="*/ 38 h 688"/>
                <a:gd name="T58" fmla="*/ 1 w 1089"/>
                <a:gd name="T59" fmla="*/ 38 h 688"/>
                <a:gd name="T60" fmla="*/ 2 w 1089"/>
                <a:gd name="T61" fmla="*/ 39 h 688"/>
                <a:gd name="T62" fmla="*/ 3 w 1089"/>
                <a:gd name="T63" fmla="*/ 39 h 688"/>
                <a:gd name="T64" fmla="*/ 5 w 1089"/>
                <a:gd name="T65" fmla="*/ 40 h 688"/>
                <a:gd name="T66" fmla="*/ 6 w 1089"/>
                <a:gd name="T67" fmla="*/ 40 h 688"/>
                <a:gd name="T68" fmla="*/ 8 w 1089"/>
                <a:gd name="T69" fmla="*/ 40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8"/>
                <a:gd name="T107" fmla="*/ 1089 w 1089"/>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8">
                  <a:moveTo>
                    <a:pt x="68" y="688"/>
                  </a:moveTo>
                  <a:lnTo>
                    <a:pt x="1022" y="688"/>
                  </a:lnTo>
                  <a:lnTo>
                    <a:pt x="1028" y="688"/>
                  </a:lnTo>
                  <a:lnTo>
                    <a:pt x="1035" y="687"/>
                  </a:lnTo>
                  <a:lnTo>
                    <a:pt x="1041" y="685"/>
                  </a:lnTo>
                  <a:lnTo>
                    <a:pt x="1048" y="682"/>
                  </a:lnTo>
                  <a:lnTo>
                    <a:pt x="1053" y="680"/>
                  </a:lnTo>
                  <a:lnTo>
                    <a:pt x="1059" y="677"/>
                  </a:lnTo>
                  <a:lnTo>
                    <a:pt x="1065" y="672"/>
                  </a:lnTo>
                  <a:lnTo>
                    <a:pt x="1069" y="668"/>
                  </a:lnTo>
                  <a:lnTo>
                    <a:pt x="1074" y="663"/>
                  </a:lnTo>
                  <a:lnTo>
                    <a:pt x="1077" y="659"/>
                  </a:lnTo>
                  <a:lnTo>
                    <a:pt x="1080" y="653"/>
                  </a:lnTo>
                  <a:lnTo>
                    <a:pt x="1084" y="646"/>
                  </a:lnTo>
                  <a:lnTo>
                    <a:pt x="1086" y="640"/>
                  </a:lnTo>
                  <a:lnTo>
                    <a:pt x="1087" y="634"/>
                  </a:lnTo>
                  <a:lnTo>
                    <a:pt x="1088" y="627"/>
                  </a:lnTo>
                  <a:lnTo>
                    <a:pt x="1089" y="620"/>
                  </a:lnTo>
                  <a:lnTo>
                    <a:pt x="1089" y="67"/>
                  </a:lnTo>
                  <a:lnTo>
                    <a:pt x="1088" y="60"/>
                  </a:lnTo>
                  <a:lnTo>
                    <a:pt x="1087" y="53"/>
                  </a:lnTo>
                  <a:lnTo>
                    <a:pt x="1086" y="47"/>
                  </a:lnTo>
                  <a:lnTo>
                    <a:pt x="1084" y="40"/>
                  </a:lnTo>
                  <a:lnTo>
                    <a:pt x="1080" y="35"/>
                  </a:lnTo>
                  <a:lnTo>
                    <a:pt x="1077" y="29"/>
                  </a:lnTo>
                  <a:lnTo>
                    <a:pt x="1074" y="23"/>
                  </a:lnTo>
                  <a:lnTo>
                    <a:pt x="1069" y="19"/>
                  </a:lnTo>
                  <a:lnTo>
                    <a:pt x="1065" y="14"/>
                  </a:lnTo>
                  <a:lnTo>
                    <a:pt x="1059" y="11"/>
                  </a:lnTo>
                  <a:lnTo>
                    <a:pt x="1053" y="8"/>
                  </a:lnTo>
                  <a:lnTo>
                    <a:pt x="1048" y="4"/>
                  </a:lnTo>
                  <a:lnTo>
                    <a:pt x="1041" y="2"/>
                  </a:lnTo>
                  <a:lnTo>
                    <a:pt x="1035" y="1"/>
                  </a:lnTo>
                  <a:lnTo>
                    <a:pt x="1028" y="0"/>
                  </a:lnTo>
                  <a:lnTo>
                    <a:pt x="1022" y="0"/>
                  </a:lnTo>
                  <a:lnTo>
                    <a:pt x="68" y="0"/>
                  </a:lnTo>
                  <a:lnTo>
                    <a:pt x="61" y="0"/>
                  </a:lnTo>
                  <a:lnTo>
                    <a:pt x="54" y="1"/>
                  </a:lnTo>
                  <a:lnTo>
                    <a:pt x="47" y="2"/>
                  </a:lnTo>
                  <a:lnTo>
                    <a:pt x="42" y="4"/>
                  </a:lnTo>
                  <a:lnTo>
                    <a:pt x="36" y="8"/>
                  </a:lnTo>
                  <a:lnTo>
                    <a:pt x="30" y="11"/>
                  </a:lnTo>
                  <a:lnTo>
                    <a:pt x="25" y="14"/>
                  </a:lnTo>
                  <a:lnTo>
                    <a:pt x="20" y="19"/>
                  </a:lnTo>
                  <a:lnTo>
                    <a:pt x="16" y="23"/>
                  </a:lnTo>
                  <a:lnTo>
                    <a:pt x="12" y="29"/>
                  </a:lnTo>
                  <a:lnTo>
                    <a:pt x="9" y="35"/>
                  </a:lnTo>
                  <a:lnTo>
                    <a:pt x="6" y="40"/>
                  </a:lnTo>
                  <a:lnTo>
                    <a:pt x="3" y="47"/>
                  </a:lnTo>
                  <a:lnTo>
                    <a:pt x="1" y="53"/>
                  </a:lnTo>
                  <a:lnTo>
                    <a:pt x="1" y="60"/>
                  </a:lnTo>
                  <a:lnTo>
                    <a:pt x="0" y="67"/>
                  </a:lnTo>
                  <a:lnTo>
                    <a:pt x="0" y="620"/>
                  </a:lnTo>
                  <a:lnTo>
                    <a:pt x="1" y="627"/>
                  </a:lnTo>
                  <a:lnTo>
                    <a:pt x="1" y="634"/>
                  </a:lnTo>
                  <a:lnTo>
                    <a:pt x="3" y="640"/>
                  </a:lnTo>
                  <a:lnTo>
                    <a:pt x="6" y="646"/>
                  </a:lnTo>
                  <a:lnTo>
                    <a:pt x="9" y="653"/>
                  </a:lnTo>
                  <a:lnTo>
                    <a:pt x="12" y="659"/>
                  </a:lnTo>
                  <a:lnTo>
                    <a:pt x="16" y="663"/>
                  </a:lnTo>
                  <a:lnTo>
                    <a:pt x="20" y="668"/>
                  </a:lnTo>
                  <a:lnTo>
                    <a:pt x="25" y="672"/>
                  </a:lnTo>
                  <a:lnTo>
                    <a:pt x="30" y="677"/>
                  </a:lnTo>
                  <a:lnTo>
                    <a:pt x="36" y="680"/>
                  </a:lnTo>
                  <a:lnTo>
                    <a:pt x="42" y="682"/>
                  </a:lnTo>
                  <a:lnTo>
                    <a:pt x="47" y="685"/>
                  </a:lnTo>
                  <a:lnTo>
                    <a:pt x="54" y="687"/>
                  </a:lnTo>
                  <a:lnTo>
                    <a:pt x="61" y="688"/>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16" name="Rectangle 672"/>
            <p:cNvSpPr>
              <a:spLocks noChangeArrowheads="1"/>
            </p:cNvSpPr>
            <p:nvPr/>
          </p:nvSpPr>
          <p:spPr bwMode="auto">
            <a:xfrm>
              <a:off x="154" y="2479"/>
              <a:ext cx="26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sset Planning</a:t>
              </a:r>
              <a:endParaRPr lang="en-US" sz="1800" b="0" kern="0" baseline="0">
                <a:solidFill>
                  <a:sysClr val="windowText" lastClr="000000"/>
                </a:solidFill>
                <a:latin typeface="Arial" charset="0"/>
                <a:ea typeface="ＭＳ Ｐゴシック"/>
                <a:cs typeface="ＭＳ Ｐゴシック"/>
              </a:endParaRPr>
            </a:p>
          </p:txBody>
        </p:sp>
        <p:sp>
          <p:nvSpPr>
            <p:cNvPr id="117" name="Freeform 673"/>
            <p:cNvSpPr>
              <a:spLocks/>
            </p:cNvSpPr>
            <p:nvPr/>
          </p:nvSpPr>
          <p:spPr bwMode="auto">
            <a:xfrm>
              <a:off x="506" y="2414"/>
              <a:ext cx="363" cy="166"/>
            </a:xfrm>
            <a:custGeom>
              <a:avLst/>
              <a:gdLst>
                <a:gd name="T0" fmla="*/ 113 w 1088"/>
                <a:gd name="T1" fmla="*/ 40 h 688"/>
                <a:gd name="T2" fmla="*/ 115 w 1088"/>
                <a:gd name="T3" fmla="*/ 40 h 688"/>
                <a:gd name="T4" fmla="*/ 117 w 1088"/>
                <a:gd name="T5" fmla="*/ 40 h 688"/>
                <a:gd name="T6" fmla="*/ 118 w 1088"/>
                <a:gd name="T7" fmla="*/ 39 h 688"/>
                <a:gd name="T8" fmla="*/ 119 w 1088"/>
                <a:gd name="T9" fmla="*/ 39 h 688"/>
                <a:gd name="T10" fmla="*/ 120 w 1088"/>
                <a:gd name="T11" fmla="*/ 38 h 688"/>
                <a:gd name="T12" fmla="*/ 121 w 1088"/>
                <a:gd name="T13" fmla="*/ 38 h 688"/>
                <a:gd name="T14" fmla="*/ 121 w 1088"/>
                <a:gd name="T15" fmla="*/ 37 h 688"/>
                <a:gd name="T16" fmla="*/ 121 w 1088"/>
                <a:gd name="T17" fmla="*/ 36 h 688"/>
                <a:gd name="T18" fmla="*/ 121 w 1088"/>
                <a:gd name="T19" fmla="*/ 4 h 688"/>
                <a:gd name="T20" fmla="*/ 121 w 1088"/>
                <a:gd name="T21" fmla="*/ 3 h 688"/>
                <a:gd name="T22" fmla="*/ 121 w 1088"/>
                <a:gd name="T23" fmla="*/ 2 h 688"/>
                <a:gd name="T24" fmla="*/ 120 w 1088"/>
                <a:gd name="T25" fmla="*/ 2 h 688"/>
                <a:gd name="T26" fmla="*/ 119 w 1088"/>
                <a:gd name="T27" fmla="*/ 1 h 688"/>
                <a:gd name="T28" fmla="*/ 118 w 1088"/>
                <a:gd name="T29" fmla="*/ 1 h 688"/>
                <a:gd name="T30" fmla="*/ 117 w 1088"/>
                <a:gd name="T31" fmla="*/ 0 h 688"/>
                <a:gd name="T32" fmla="*/ 115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3 h 688"/>
                <a:gd name="T52" fmla="*/ 0 w 1088"/>
                <a:gd name="T53" fmla="*/ 36 h 688"/>
                <a:gd name="T54" fmla="*/ 0 w 1088"/>
                <a:gd name="T55" fmla="*/ 37 h 688"/>
                <a:gd name="T56" fmla="*/ 1 w 1088"/>
                <a:gd name="T57" fmla="*/ 38 h 688"/>
                <a:gd name="T58" fmla="*/ 1 w 1088"/>
                <a:gd name="T59" fmla="*/ 38 h 688"/>
                <a:gd name="T60" fmla="*/ 2 w 1088"/>
                <a:gd name="T61" fmla="*/ 39 h 688"/>
                <a:gd name="T62" fmla="*/ 3 w 1088"/>
                <a:gd name="T63" fmla="*/ 39 h 688"/>
                <a:gd name="T64" fmla="*/ 5 w 1088"/>
                <a:gd name="T65" fmla="*/ 40 h 688"/>
                <a:gd name="T66" fmla="*/ 6 w 1088"/>
                <a:gd name="T67" fmla="*/ 40 h 688"/>
                <a:gd name="T68" fmla="*/ 8 w 1088"/>
                <a:gd name="T69" fmla="*/ 40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8" y="688"/>
                  </a:moveTo>
                  <a:lnTo>
                    <a:pt x="1020" y="688"/>
                  </a:lnTo>
                  <a:lnTo>
                    <a:pt x="1027" y="688"/>
                  </a:lnTo>
                  <a:lnTo>
                    <a:pt x="1034" y="687"/>
                  </a:lnTo>
                  <a:lnTo>
                    <a:pt x="1041" y="685"/>
                  </a:lnTo>
                  <a:lnTo>
                    <a:pt x="1048" y="682"/>
                  </a:lnTo>
                  <a:lnTo>
                    <a:pt x="1053" y="680"/>
                  </a:lnTo>
                  <a:lnTo>
                    <a:pt x="1059" y="677"/>
                  </a:lnTo>
                  <a:lnTo>
                    <a:pt x="1063" y="672"/>
                  </a:lnTo>
                  <a:lnTo>
                    <a:pt x="1069" y="668"/>
                  </a:lnTo>
                  <a:lnTo>
                    <a:pt x="1074" y="663"/>
                  </a:lnTo>
                  <a:lnTo>
                    <a:pt x="1077" y="659"/>
                  </a:lnTo>
                  <a:lnTo>
                    <a:pt x="1080" y="653"/>
                  </a:lnTo>
                  <a:lnTo>
                    <a:pt x="1084" y="646"/>
                  </a:lnTo>
                  <a:lnTo>
                    <a:pt x="1086" y="640"/>
                  </a:lnTo>
                  <a:lnTo>
                    <a:pt x="1087" y="634"/>
                  </a:lnTo>
                  <a:lnTo>
                    <a:pt x="1088" y="627"/>
                  </a:lnTo>
                  <a:lnTo>
                    <a:pt x="1088" y="620"/>
                  </a:lnTo>
                  <a:lnTo>
                    <a:pt x="1088" y="67"/>
                  </a:lnTo>
                  <a:lnTo>
                    <a:pt x="1088" y="60"/>
                  </a:lnTo>
                  <a:lnTo>
                    <a:pt x="1087" y="53"/>
                  </a:lnTo>
                  <a:lnTo>
                    <a:pt x="1086" y="47"/>
                  </a:lnTo>
                  <a:lnTo>
                    <a:pt x="1084" y="40"/>
                  </a:lnTo>
                  <a:lnTo>
                    <a:pt x="1080" y="35"/>
                  </a:lnTo>
                  <a:lnTo>
                    <a:pt x="1077" y="29"/>
                  </a:lnTo>
                  <a:lnTo>
                    <a:pt x="1074" y="23"/>
                  </a:lnTo>
                  <a:lnTo>
                    <a:pt x="1069" y="19"/>
                  </a:lnTo>
                  <a:lnTo>
                    <a:pt x="1063" y="14"/>
                  </a:lnTo>
                  <a:lnTo>
                    <a:pt x="1059" y="11"/>
                  </a:lnTo>
                  <a:lnTo>
                    <a:pt x="1053" y="8"/>
                  </a:lnTo>
                  <a:lnTo>
                    <a:pt x="1048" y="4"/>
                  </a:lnTo>
                  <a:lnTo>
                    <a:pt x="1041" y="2"/>
                  </a:lnTo>
                  <a:lnTo>
                    <a:pt x="1034" y="1"/>
                  </a:lnTo>
                  <a:lnTo>
                    <a:pt x="1027" y="0"/>
                  </a:lnTo>
                  <a:lnTo>
                    <a:pt x="1020" y="0"/>
                  </a:lnTo>
                  <a:lnTo>
                    <a:pt x="68" y="0"/>
                  </a:lnTo>
                  <a:lnTo>
                    <a:pt x="61" y="0"/>
                  </a:lnTo>
                  <a:lnTo>
                    <a:pt x="54" y="1"/>
                  </a:lnTo>
                  <a:lnTo>
                    <a:pt x="47" y="2"/>
                  </a:lnTo>
                  <a:lnTo>
                    <a:pt x="42" y="4"/>
                  </a:lnTo>
                  <a:lnTo>
                    <a:pt x="35" y="8"/>
                  </a:lnTo>
                  <a:lnTo>
                    <a:pt x="29" y="11"/>
                  </a:lnTo>
                  <a:lnTo>
                    <a:pt x="25" y="14"/>
                  </a:lnTo>
                  <a:lnTo>
                    <a:pt x="20" y="19"/>
                  </a:lnTo>
                  <a:lnTo>
                    <a:pt x="16" y="23"/>
                  </a:lnTo>
                  <a:lnTo>
                    <a:pt x="11" y="29"/>
                  </a:lnTo>
                  <a:lnTo>
                    <a:pt x="8" y="35"/>
                  </a:lnTo>
                  <a:lnTo>
                    <a:pt x="6" y="40"/>
                  </a:lnTo>
                  <a:lnTo>
                    <a:pt x="3" y="47"/>
                  </a:lnTo>
                  <a:lnTo>
                    <a:pt x="1" y="53"/>
                  </a:lnTo>
                  <a:lnTo>
                    <a:pt x="0" y="60"/>
                  </a:lnTo>
                  <a:lnTo>
                    <a:pt x="0" y="67"/>
                  </a:lnTo>
                  <a:lnTo>
                    <a:pt x="0" y="620"/>
                  </a:lnTo>
                  <a:lnTo>
                    <a:pt x="0" y="627"/>
                  </a:lnTo>
                  <a:lnTo>
                    <a:pt x="1" y="634"/>
                  </a:lnTo>
                  <a:lnTo>
                    <a:pt x="3" y="640"/>
                  </a:lnTo>
                  <a:lnTo>
                    <a:pt x="6" y="646"/>
                  </a:lnTo>
                  <a:lnTo>
                    <a:pt x="8" y="653"/>
                  </a:lnTo>
                  <a:lnTo>
                    <a:pt x="11" y="659"/>
                  </a:lnTo>
                  <a:lnTo>
                    <a:pt x="16" y="663"/>
                  </a:lnTo>
                  <a:lnTo>
                    <a:pt x="20" y="668"/>
                  </a:lnTo>
                  <a:lnTo>
                    <a:pt x="25" y="672"/>
                  </a:lnTo>
                  <a:lnTo>
                    <a:pt x="29" y="677"/>
                  </a:lnTo>
                  <a:lnTo>
                    <a:pt x="35" y="680"/>
                  </a:lnTo>
                  <a:lnTo>
                    <a:pt x="42" y="682"/>
                  </a:lnTo>
                  <a:lnTo>
                    <a:pt x="47" y="685"/>
                  </a:lnTo>
                  <a:lnTo>
                    <a:pt x="54" y="687"/>
                  </a:lnTo>
                  <a:lnTo>
                    <a:pt x="61" y="688"/>
                  </a:lnTo>
                  <a:lnTo>
                    <a:pt x="68" y="688"/>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18" name="Freeform 674"/>
            <p:cNvSpPr>
              <a:spLocks/>
            </p:cNvSpPr>
            <p:nvPr/>
          </p:nvSpPr>
          <p:spPr bwMode="auto">
            <a:xfrm>
              <a:off x="506" y="2414"/>
              <a:ext cx="363" cy="166"/>
            </a:xfrm>
            <a:custGeom>
              <a:avLst/>
              <a:gdLst>
                <a:gd name="T0" fmla="*/ 113 w 1088"/>
                <a:gd name="T1" fmla="*/ 40 h 688"/>
                <a:gd name="T2" fmla="*/ 115 w 1088"/>
                <a:gd name="T3" fmla="*/ 40 h 688"/>
                <a:gd name="T4" fmla="*/ 117 w 1088"/>
                <a:gd name="T5" fmla="*/ 40 h 688"/>
                <a:gd name="T6" fmla="*/ 118 w 1088"/>
                <a:gd name="T7" fmla="*/ 39 h 688"/>
                <a:gd name="T8" fmla="*/ 119 w 1088"/>
                <a:gd name="T9" fmla="*/ 39 h 688"/>
                <a:gd name="T10" fmla="*/ 120 w 1088"/>
                <a:gd name="T11" fmla="*/ 38 h 688"/>
                <a:gd name="T12" fmla="*/ 121 w 1088"/>
                <a:gd name="T13" fmla="*/ 38 h 688"/>
                <a:gd name="T14" fmla="*/ 121 w 1088"/>
                <a:gd name="T15" fmla="*/ 37 h 688"/>
                <a:gd name="T16" fmla="*/ 121 w 1088"/>
                <a:gd name="T17" fmla="*/ 36 h 688"/>
                <a:gd name="T18" fmla="*/ 121 w 1088"/>
                <a:gd name="T19" fmla="*/ 4 h 688"/>
                <a:gd name="T20" fmla="*/ 121 w 1088"/>
                <a:gd name="T21" fmla="*/ 3 h 688"/>
                <a:gd name="T22" fmla="*/ 121 w 1088"/>
                <a:gd name="T23" fmla="*/ 2 h 688"/>
                <a:gd name="T24" fmla="*/ 120 w 1088"/>
                <a:gd name="T25" fmla="*/ 2 h 688"/>
                <a:gd name="T26" fmla="*/ 119 w 1088"/>
                <a:gd name="T27" fmla="*/ 1 h 688"/>
                <a:gd name="T28" fmla="*/ 118 w 1088"/>
                <a:gd name="T29" fmla="*/ 1 h 688"/>
                <a:gd name="T30" fmla="*/ 117 w 1088"/>
                <a:gd name="T31" fmla="*/ 0 h 688"/>
                <a:gd name="T32" fmla="*/ 115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3 h 688"/>
                <a:gd name="T52" fmla="*/ 0 w 1088"/>
                <a:gd name="T53" fmla="*/ 36 h 688"/>
                <a:gd name="T54" fmla="*/ 0 w 1088"/>
                <a:gd name="T55" fmla="*/ 37 h 688"/>
                <a:gd name="T56" fmla="*/ 1 w 1088"/>
                <a:gd name="T57" fmla="*/ 38 h 688"/>
                <a:gd name="T58" fmla="*/ 1 w 1088"/>
                <a:gd name="T59" fmla="*/ 38 h 688"/>
                <a:gd name="T60" fmla="*/ 2 w 1088"/>
                <a:gd name="T61" fmla="*/ 39 h 688"/>
                <a:gd name="T62" fmla="*/ 3 w 1088"/>
                <a:gd name="T63" fmla="*/ 39 h 688"/>
                <a:gd name="T64" fmla="*/ 5 w 1088"/>
                <a:gd name="T65" fmla="*/ 40 h 688"/>
                <a:gd name="T66" fmla="*/ 6 w 1088"/>
                <a:gd name="T67" fmla="*/ 40 h 688"/>
                <a:gd name="T68" fmla="*/ 8 w 1088"/>
                <a:gd name="T69" fmla="*/ 40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8" y="688"/>
                  </a:moveTo>
                  <a:lnTo>
                    <a:pt x="1020" y="688"/>
                  </a:lnTo>
                  <a:lnTo>
                    <a:pt x="1027" y="688"/>
                  </a:lnTo>
                  <a:lnTo>
                    <a:pt x="1034" y="687"/>
                  </a:lnTo>
                  <a:lnTo>
                    <a:pt x="1041" y="685"/>
                  </a:lnTo>
                  <a:lnTo>
                    <a:pt x="1048" y="682"/>
                  </a:lnTo>
                  <a:lnTo>
                    <a:pt x="1053" y="680"/>
                  </a:lnTo>
                  <a:lnTo>
                    <a:pt x="1059" y="677"/>
                  </a:lnTo>
                  <a:lnTo>
                    <a:pt x="1063" y="672"/>
                  </a:lnTo>
                  <a:lnTo>
                    <a:pt x="1069" y="668"/>
                  </a:lnTo>
                  <a:lnTo>
                    <a:pt x="1074" y="663"/>
                  </a:lnTo>
                  <a:lnTo>
                    <a:pt x="1077" y="659"/>
                  </a:lnTo>
                  <a:lnTo>
                    <a:pt x="1080" y="653"/>
                  </a:lnTo>
                  <a:lnTo>
                    <a:pt x="1084" y="646"/>
                  </a:lnTo>
                  <a:lnTo>
                    <a:pt x="1086" y="640"/>
                  </a:lnTo>
                  <a:lnTo>
                    <a:pt x="1087" y="634"/>
                  </a:lnTo>
                  <a:lnTo>
                    <a:pt x="1088" y="627"/>
                  </a:lnTo>
                  <a:lnTo>
                    <a:pt x="1088" y="620"/>
                  </a:lnTo>
                  <a:lnTo>
                    <a:pt x="1088" y="67"/>
                  </a:lnTo>
                  <a:lnTo>
                    <a:pt x="1088" y="60"/>
                  </a:lnTo>
                  <a:lnTo>
                    <a:pt x="1087" y="53"/>
                  </a:lnTo>
                  <a:lnTo>
                    <a:pt x="1086" y="47"/>
                  </a:lnTo>
                  <a:lnTo>
                    <a:pt x="1084" y="40"/>
                  </a:lnTo>
                  <a:lnTo>
                    <a:pt x="1080" y="35"/>
                  </a:lnTo>
                  <a:lnTo>
                    <a:pt x="1077" y="29"/>
                  </a:lnTo>
                  <a:lnTo>
                    <a:pt x="1074" y="23"/>
                  </a:lnTo>
                  <a:lnTo>
                    <a:pt x="1069" y="19"/>
                  </a:lnTo>
                  <a:lnTo>
                    <a:pt x="1063" y="14"/>
                  </a:lnTo>
                  <a:lnTo>
                    <a:pt x="1059" y="11"/>
                  </a:lnTo>
                  <a:lnTo>
                    <a:pt x="1053" y="8"/>
                  </a:lnTo>
                  <a:lnTo>
                    <a:pt x="1048" y="4"/>
                  </a:lnTo>
                  <a:lnTo>
                    <a:pt x="1041" y="2"/>
                  </a:lnTo>
                  <a:lnTo>
                    <a:pt x="1034" y="1"/>
                  </a:lnTo>
                  <a:lnTo>
                    <a:pt x="1027" y="0"/>
                  </a:lnTo>
                  <a:lnTo>
                    <a:pt x="1020" y="0"/>
                  </a:lnTo>
                  <a:lnTo>
                    <a:pt x="68" y="0"/>
                  </a:lnTo>
                  <a:lnTo>
                    <a:pt x="61" y="0"/>
                  </a:lnTo>
                  <a:lnTo>
                    <a:pt x="54" y="1"/>
                  </a:lnTo>
                  <a:lnTo>
                    <a:pt x="47" y="2"/>
                  </a:lnTo>
                  <a:lnTo>
                    <a:pt x="42" y="4"/>
                  </a:lnTo>
                  <a:lnTo>
                    <a:pt x="35" y="8"/>
                  </a:lnTo>
                  <a:lnTo>
                    <a:pt x="29" y="11"/>
                  </a:lnTo>
                  <a:lnTo>
                    <a:pt x="25" y="14"/>
                  </a:lnTo>
                  <a:lnTo>
                    <a:pt x="20" y="19"/>
                  </a:lnTo>
                  <a:lnTo>
                    <a:pt x="16" y="23"/>
                  </a:lnTo>
                  <a:lnTo>
                    <a:pt x="11" y="29"/>
                  </a:lnTo>
                  <a:lnTo>
                    <a:pt x="8" y="35"/>
                  </a:lnTo>
                  <a:lnTo>
                    <a:pt x="6" y="40"/>
                  </a:lnTo>
                  <a:lnTo>
                    <a:pt x="3" y="47"/>
                  </a:lnTo>
                  <a:lnTo>
                    <a:pt x="1" y="53"/>
                  </a:lnTo>
                  <a:lnTo>
                    <a:pt x="0" y="60"/>
                  </a:lnTo>
                  <a:lnTo>
                    <a:pt x="0" y="67"/>
                  </a:lnTo>
                  <a:lnTo>
                    <a:pt x="0" y="620"/>
                  </a:lnTo>
                  <a:lnTo>
                    <a:pt x="0" y="627"/>
                  </a:lnTo>
                  <a:lnTo>
                    <a:pt x="1" y="634"/>
                  </a:lnTo>
                  <a:lnTo>
                    <a:pt x="3" y="640"/>
                  </a:lnTo>
                  <a:lnTo>
                    <a:pt x="6" y="646"/>
                  </a:lnTo>
                  <a:lnTo>
                    <a:pt x="8" y="653"/>
                  </a:lnTo>
                  <a:lnTo>
                    <a:pt x="11" y="659"/>
                  </a:lnTo>
                  <a:lnTo>
                    <a:pt x="16" y="663"/>
                  </a:lnTo>
                  <a:lnTo>
                    <a:pt x="20" y="668"/>
                  </a:lnTo>
                  <a:lnTo>
                    <a:pt x="25" y="672"/>
                  </a:lnTo>
                  <a:lnTo>
                    <a:pt x="29" y="677"/>
                  </a:lnTo>
                  <a:lnTo>
                    <a:pt x="35" y="680"/>
                  </a:lnTo>
                  <a:lnTo>
                    <a:pt x="42" y="682"/>
                  </a:lnTo>
                  <a:lnTo>
                    <a:pt x="47" y="685"/>
                  </a:lnTo>
                  <a:lnTo>
                    <a:pt x="54" y="687"/>
                  </a:lnTo>
                  <a:lnTo>
                    <a:pt x="61" y="688"/>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19" name="Rectangle 675"/>
            <p:cNvSpPr>
              <a:spLocks noChangeArrowheads="1"/>
            </p:cNvSpPr>
            <p:nvPr/>
          </p:nvSpPr>
          <p:spPr bwMode="auto">
            <a:xfrm>
              <a:off x="555" y="2444"/>
              <a:ext cx="117"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onstr</a:t>
              </a:r>
              <a:endParaRPr lang="en-US" sz="1800" b="0" kern="0" baseline="0">
                <a:solidFill>
                  <a:sysClr val="windowText" lastClr="000000"/>
                </a:solidFill>
                <a:latin typeface="Arial" charset="0"/>
                <a:ea typeface="ＭＳ Ｐゴシック"/>
                <a:cs typeface="ＭＳ Ｐゴシック"/>
              </a:endParaRPr>
            </a:p>
          </p:txBody>
        </p:sp>
        <p:sp>
          <p:nvSpPr>
            <p:cNvPr id="120" name="Rectangle 676"/>
            <p:cNvSpPr>
              <a:spLocks noChangeArrowheads="1"/>
            </p:cNvSpPr>
            <p:nvPr/>
          </p:nvSpPr>
          <p:spPr bwMode="auto">
            <a:xfrm>
              <a:off x="673" y="2444"/>
              <a:ext cx="22"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121" name="Rectangle 677"/>
            <p:cNvSpPr>
              <a:spLocks noChangeArrowheads="1"/>
            </p:cNvSpPr>
            <p:nvPr/>
          </p:nvSpPr>
          <p:spPr bwMode="auto">
            <a:xfrm>
              <a:off x="695" y="2444"/>
              <a:ext cx="135" cy="4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oject </a:t>
              </a:r>
              <a:endParaRPr lang="en-US" sz="1800" b="0" kern="0" baseline="0">
                <a:solidFill>
                  <a:sysClr val="windowText" lastClr="000000"/>
                </a:solidFill>
                <a:latin typeface="Arial" charset="0"/>
                <a:ea typeface="ＭＳ Ｐゴシック"/>
                <a:cs typeface="ＭＳ Ｐゴシック"/>
              </a:endParaRPr>
            </a:p>
          </p:txBody>
        </p:sp>
        <p:sp>
          <p:nvSpPr>
            <p:cNvPr id="122" name="Rectangle 678"/>
            <p:cNvSpPr>
              <a:spLocks noChangeArrowheads="1"/>
            </p:cNvSpPr>
            <p:nvPr/>
          </p:nvSpPr>
          <p:spPr bwMode="auto">
            <a:xfrm>
              <a:off x="606" y="2479"/>
              <a:ext cx="13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esign </a:t>
              </a:r>
              <a:endParaRPr lang="en-US" sz="1800" b="0" kern="0" baseline="0">
                <a:solidFill>
                  <a:sysClr val="windowText" lastClr="000000"/>
                </a:solidFill>
                <a:latin typeface="Arial" charset="0"/>
                <a:ea typeface="ＭＳ Ｐゴシック"/>
                <a:cs typeface="ＭＳ Ｐゴシック"/>
              </a:endParaRPr>
            </a:p>
          </p:txBody>
        </p:sp>
        <p:sp>
          <p:nvSpPr>
            <p:cNvPr id="123" name="Rectangle 679"/>
            <p:cNvSpPr>
              <a:spLocks noChangeArrowheads="1"/>
            </p:cNvSpPr>
            <p:nvPr/>
          </p:nvSpPr>
          <p:spPr bwMode="auto">
            <a:xfrm>
              <a:off x="743" y="2479"/>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124" name="Rectangle 680"/>
            <p:cNvSpPr>
              <a:spLocks noChangeArrowheads="1"/>
            </p:cNvSpPr>
            <p:nvPr/>
          </p:nvSpPr>
          <p:spPr bwMode="auto">
            <a:xfrm>
              <a:off x="594" y="2514"/>
              <a:ext cx="18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Estimation</a:t>
              </a:r>
              <a:endParaRPr lang="en-US" sz="1800" b="0" kern="0" baseline="0">
                <a:solidFill>
                  <a:sysClr val="windowText" lastClr="000000"/>
                </a:solidFill>
                <a:latin typeface="Arial" charset="0"/>
                <a:ea typeface="ＭＳ Ｐゴシック"/>
                <a:cs typeface="ＭＳ Ｐゴシック"/>
              </a:endParaRPr>
            </a:p>
          </p:txBody>
        </p:sp>
        <p:sp>
          <p:nvSpPr>
            <p:cNvPr id="125" name="Freeform 681"/>
            <p:cNvSpPr>
              <a:spLocks/>
            </p:cNvSpPr>
            <p:nvPr/>
          </p:nvSpPr>
          <p:spPr bwMode="auto">
            <a:xfrm>
              <a:off x="110" y="2599"/>
              <a:ext cx="364" cy="168"/>
            </a:xfrm>
            <a:custGeom>
              <a:avLst/>
              <a:gdLst>
                <a:gd name="T0" fmla="*/ 114 w 1090"/>
                <a:gd name="T1" fmla="*/ 41 h 690"/>
                <a:gd name="T2" fmla="*/ 116 w 1090"/>
                <a:gd name="T3" fmla="*/ 41 h 690"/>
                <a:gd name="T4" fmla="*/ 117 w 1090"/>
                <a:gd name="T5" fmla="*/ 41 h 690"/>
                <a:gd name="T6" fmla="*/ 118 w 1090"/>
                <a:gd name="T7" fmla="*/ 40 h 690"/>
                <a:gd name="T8" fmla="*/ 119 w 1090"/>
                <a:gd name="T9" fmla="*/ 40 h 690"/>
                <a:gd name="T10" fmla="*/ 120 w 1090"/>
                <a:gd name="T11" fmla="*/ 39 h 690"/>
                <a:gd name="T12" fmla="*/ 121 w 1090"/>
                <a:gd name="T13" fmla="*/ 38 h 690"/>
                <a:gd name="T14" fmla="*/ 121 w 1090"/>
                <a:gd name="T15" fmla="*/ 38 h 690"/>
                <a:gd name="T16" fmla="*/ 122 w 1090"/>
                <a:gd name="T17" fmla="*/ 37 h 690"/>
                <a:gd name="T18" fmla="*/ 122 w 1090"/>
                <a:gd name="T19" fmla="*/ 4 h 690"/>
                <a:gd name="T20" fmla="*/ 121 w 1090"/>
                <a:gd name="T21" fmla="*/ 3 h 690"/>
                <a:gd name="T22" fmla="*/ 121 w 1090"/>
                <a:gd name="T23" fmla="*/ 2 h 690"/>
                <a:gd name="T24" fmla="*/ 120 w 1090"/>
                <a:gd name="T25" fmla="*/ 2 h 690"/>
                <a:gd name="T26" fmla="*/ 119 w 1090"/>
                <a:gd name="T27" fmla="*/ 1 h 690"/>
                <a:gd name="T28" fmla="*/ 118 w 1090"/>
                <a:gd name="T29" fmla="*/ 1 h 690"/>
                <a:gd name="T30" fmla="*/ 117 w 1090"/>
                <a:gd name="T31" fmla="*/ 0 h 690"/>
                <a:gd name="T32" fmla="*/ 116 w 1090"/>
                <a:gd name="T33" fmla="*/ 0 h 690"/>
                <a:gd name="T34" fmla="*/ 114 w 1090"/>
                <a:gd name="T35" fmla="*/ 0 h 690"/>
                <a:gd name="T36" fmla="*/ 7 w 1090"/>
                <a:gd name="T37" fmla="*/ 0 h 690"/>
                <a:gd name="T38" fmla="*/ 5 w 1090"/>
                <a:gd name="T39" fmla="*/ 0 h 690"/>
                <a:gd name="T40" fmla="*/ 4 w 1090"/>
                <a:gd name="T41" fmla="*/ 0 h 690"/>
                <a:gd name="T42" fmla="*/ 3 w 1090"/>
                <a:gd name="T43" fmla="*/ 1 h 690"/>
                <a:gd name="T44" fmla="*/ 2 w 1090"/>
                <a:gd name="T45" fmla="*/ 1 h 690"/>
                <a:gd name="T46" fmla="*/ 1 w 1090"/>
                <a:gd name="T47" fmla="*/ 2 h 690"/>
                <a:gd name="T48" fmla="*/ 0 w 1090"/>
                <a:gd name="T49" fmla="*/ 3 h 690"/>
                <a:gd name="T50" fmla="*/ 0 w 1090"/>
                <a:gd name="T51" fmla="*/ 4 h 690"/>
                <a:gd name="T52" fmla="*/ 0 w 1090"/>
                <a:gd name="T53" fmla="*/ 37 h 690"/>
                <a:gd name="T54" fmla="*/ 0 w 1090"/>
                <a:gd name="T55" fmla="*/ 38 h 690"/>
                <a:gd name="T56" fmla="*/ 1 w 1090"/>
                <a:gd name="T57" fmla="*/ 38 h 690"/>
                <a:gd name="T58" fmla="*/ 1 w 1090"/>
                <a:gd name="T59" fmla="*/ 39 h 690"/>
                <a:gd name="T60" fmla="*/ 2 w 1090"/>
                <a:gd name="T61" fmla="*/ 40 h 690"/>
                <a:gd name="T62" fmla="*/ 3 w 1090"/>
                <a:gd name="T63" fmla="*/ 40 h 690"/>
                <a:gd name="T64" fmla="*/ 5 w 1090"/>
                <a:gd name="T65" fmla="*/ 41 h 690"/>
                <a:gd name="T66" fmla="*/ 6 w 1090"/>
                <a:gd name="T67" fmla="*/ 41 h 690"/>
                <a:gd name="T68" fmla="*/ 8 w 1090"/>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90"/>
                <a:gd name="T106" fmla="*/ 0 h 690"/>
                <a:gd name="T107" fmla="*/ 1090 w 1090"/>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90" h="690">
                  <a:moveTo>
                    <a:pt x="68" y="690"/>
                  </a:moveTo>
                  <a:lnTo>
                    <a:pt x="1022" y="690"/>
                  </a:lnTo>
                  <a:lnTo>
                    <a:pt x="1029" y="688"/>
                  </a:lnTo>
                  <a:lnTo>
                    <a:pt x="1035" y="687"/>
                  </a:lnTo>
                  <a:lnTo>
                    <a:pt x="1041" y="686"/>
                  </a:lnTo>
                  <a:lnTo>
                    <a:pt x="1048" y="684"/>
                  </a:lnTo>
                  <a:lnTo>
                    <a:pt x="1053" y="681"/>
                  </a:lnTo>
                  <a:lnTo>
                    <a:pt x="1059" y="677"/>
                  </a:lnTo>
                  <a:lnTo>
                    <a:pt x="1065" y="674"/>
                  </a:lnTo>
                  <a:lnTo>
                    <a:pt x="1069" y="669"/>
                  </a:lnTo>
                  <a:lnTo>
                    <a:pt x="1074" y="665"/>
                  </a:lnTo>
                  <a:lnTo>
                    <a:pt x="1077" y="659"/>
                  </a:lnTo>
                  <a:lnTo>
                    <a:pt x="1081" y="653"/>
                  </a:lnTo>
                  <a:lnTo>
                    <a:pt x="1084" y="648"/>
                  </a:lnTo>
                  <a:lnTo>
                    <a:pt x="1086" y="641"/>
                  </a:lnTo>
                  <a:lnTo>
                    <a:pt x="1087" y="635"/>
                  </a:lnTo>
                  <a:lnTo>
                    <a:pt x="1088" y="629"/>
                  </a:lnTo>
                  <a:lnTo>
                    <a:pt x="1090" y="622"/>
                  </a:lnTo>
                  <a:lnTo>
                    <a:pt x="1090" y="68"/>
                  </a:lnTo>
                  <a:lnTo>
                    <a:pt x="1088" y="61"/>
                  </a:lnTo>
                  <a:lnTo>
                    <a:pt x="1087" y="54"/>
                  </a:lnTo>
                  <a:lnTo>
                    <a:pt x="1086" y="48"/>
                  </a:lnTo>
                  <a:lnTo>
                    <a:pt x="1084" y="42"/>
                  </a:lnTo>
                  <a:lnTo>
                    <a:pt x="1081" y="35"/>
                  </a:lnTo>
                  <a:lnTo>
                    <a:pt x="1077" y="31"/>
                  </a:lnTo>
                  <a:lnTo>
                    <a:pt x="1074" y="25"/>
                  </a:lnTo>
                  <a:lnTo>
                    <a:pt x="1069" y="20"/>
                  </a:lnTo>
                  <a:lnTo>
                    <a:pt x="1065" y="16"/>
                  </a:lnTo>
                  <a:lnTo>
                    <a:pt x="1059" y="11"/>
                  </a:lnTo>
                  <a:lnTo>
                    <a:pt x="1053" y="8"/>
                  </a:lnTo>
                  <a:lnTo>
                    <a:pt x="1048" y="6"/>
                  </a:lnTo>
                  <a:lnTo>
                    <a:pt x="1041" y="3"/>
                  </a:lnTo>
                  <a:lnTo>
                    <a:pt x="1035" y="1"/>
                  </a:lnTo>
                  <a:lnTo>
                    <a:pt x="1029" y="0"/>
                  </a:lnTo>
                  <a:lnTo>
                    <a:pt x="1022" y="0"/>
                  </a:lnTo>
                  <a:lnTo>
                    <a:pt x="68" y="0"/>
                  </a:lnTo>
                  <a:lnTo>
                    <a:pt x="61" y="0"/>
                  </a:lnTo>
                  <a:lnTo>
                    <a:pt x="54" y="1"/>
                  </a:lnTo>
                  <a:lnTo>
                    <a:pt x="48" y="3"/>
                  </a:lnTo>
                  <a:lnTo>
                    <a:pt x="42" y="6"/>
                  </a:lnTo>
                  <a:lnTo>
                    <a:pt x="36" y="8"/>
                  </a:lnTo>
                  <a:lnTo>
                    <a:pt x="31" y="11"/>
                  </a:lnTo>
                  <a:lnTo>
                    <a:pt x="25" y="16"/>
                  </a:lnTo>
                  <a:lnTo>
                    <a:pt x="20" y="20"/>
                  </a:lnTo>
                  <a:lnTo>
                    <a:pt x="16" y="25"/>
                  </a:lnTo>
                  <a:lnTo>
                    <a:pt x="11" y="31"/>
                  </a:lnTo>
                  <a:lnTo>
                    <a:pt x="8" y="35"/>
                  </a:lnTo>
                  <a:lnTo>
                    <a:pt x="6" y="42"/>
                  </a:lnTo>
                  <a:lnTo>
                    <a:pt x="4" y="48"/>
                  </a:lnTo>
                  <a:lnTo>
                    <a:pt x="1" y="54"/>
                  </a:lnTo>
                  <a:lnTo>
                    <a:pt x="1" y="61"/>
                  </a:lnTo>
                  <a:lnTo>
                    <a:pt x="0" y="68"/>
                  </a:lnTo>
                  <a:lnTo>
                    <a:pt x="0" y="622"/>
                  </a:lnTo>
                  <a:lnTo>
                    <a:pt x="1" y="629"/>
                  </a:lnTo>
                  <a:lnTo>
                    <a:pt x="1" y="635"/>
                  </a:lnTo>
                  <a:lnTo>
                    <a:pt x="4" y="641"/>
                  </a:lnTo>
                  <a:lnTo>
                    <a:pt x="6" y="648"/>
                  </a:lnTo>
                  <a:lnTo>
                    <a:pt x="8" y="653"/>
                  </a:lnTo>
                  <a:lnTo>
                    <a:pt x="11" y="659"/>
                  </a:lnTo>
                  <a:lnTo>
                    <a:pt x="16" y="665"/>
                  </a:lnTo>
                  <a:lnTo>
                    <a:pt x="20" y="669"/>
                  </a:lnTo>
                  <a:lnTo>
                    <a:pt x="25" y="674"/>
                  </a:lnTo>
                  <a:lnTo>
                    <a:pt x="31" y="677"/>
                  </a:lnTo>
                  <a:lnTo>
                    <a:pt x="36" y="681"/>
                  </a:lnTo>
                  <a:lnTo>
                    <a:pt x="42" y="684"/>
                  </a:lnTo>
                  <a:lnTo>
                    <a:pt x="48" y="686"/>
                  </a:lnTo>
                  <a:lnTo>
                    <a:pt x="54" y="687"/>
                  </a:lnTo>
                  <a:lnTo>
                    <a:pt x="61" y="688"/>
                  </a:lnTo>
                  <a:lnTo>
                    <a:pt x="68" y="690"/>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26" name="Freeform 682"/>
            <p:cNvSpPr>
              <a:spLocks/>
            </p:cNvSpPr>
            <p:nvPr/>
          </p:nvSpPr>
          <p:spPr bwMode="auto">
            <a:xfrm>
              <a:off x="110" y="2599"/>
              <a:ext cx="364" cy="168"/>
            </a:xfrm>
            <a:custGeom>
              <a:avLst/>
              <a:gdLst>
                <a:gd name="T0" fmla="*/ 114 w 1090"/>
                <a:gd name="T1" fmla="*/ 41 h 690"/>
                <a:gd name="T2" fmla="*/ 116 w 1090"/>
                <a:gd name="T3" fmla="*/ 41 h 690"/>
                <a:gd name="T4" fmla="*/ 117 w 1090"/>
                <a:gd name="T5" fmla="*/ 41 h 690"/>
                <a:gd name="T6" fmla="*/ 118 w 1090"/>
                <a:gd name="T7" fmla="*/ 40 h 690"/>
                <a:gd name="T8" fmla="*/ 119 w 1090"/>
                <a:gd name="T9" fmla="*/ 40 h 690"/>
                <a:gd name="T10" fmla="*/ 120 w 1090"/>
                <a:gd name="T11" fmla="*/ 39 h 690"/>
                <a:gd name="T12" fmla="*/ 121 w 1090"/>
                <a:gd name="T13" fmla="*/ 38 h 690"/>
                <a:gd name="T14" fmla="*/ 121 w 1090"/>
                <a:gd name="T15" fmla="*/ 38 h 690"/>
                <a:gd name="T16" fmla="*/ 122 w 1090"/>
                <a:gd name="T17" fmla="*/ 37 h 690"/>
                <a:gd name="T18" fmla="*/ 122 w 1090"/>
                <a:gd name="T19" fmla="*/ 4 h 690"/>
                <a:gd name="T20" fmla="*/ 121 w 1090"/>
                <a:gd name="T21" fmla="*/ 3 h 690"/>
                <a:gd name="T22" fmla="*/ 121 w 1090"/>
                <a:gd name="T23" fmla="*/ 2 h 690"/>
                <a:gd name="T24" fmla="*/ 120 w 1090"/>
                <a:gd name="T25" fmla="*/ 2 h 690"/>
                <a:gd name="T26" fmla="*/ 119 w 1090"/>
                <a:gd name="T27" fmla="*/ 1 h 690"/>
                <a:gd name="T28" fmla="*/ 118 w 1090"/>
                <a:gd name="T29" fmla="*/ 1 h 690"/>
                <a:gd name="T30" fmla="*/ 117 w 1090"/>
                <a:gd name="T31" fmla="*/ 0 h 690"/>
                <a:gd name="T32" fmla="*/ 116 w 1090"/>
                <a:gd name="T33" fmla="*/ 0 h 690"/>
                <a:gd name="T34" fmla="*/ 114 w 1090"/>
                <a:gd name="T35" fmla="*/ 0 h 690"/>
                <a:gd name="T36" fmla="*/ 7 w 1090"/>
                <a:gd name="T37" fmla="*/ 0 h 690"/>
                <a:gd name="T38" fmla="*/ 5 w 1090"/>
                <a:gd name="T39" fmla="*/ 0 h 690"/>
                <a:gd name="T40" fmla="*/ 4 w 1090"/>
                <a:gd name="T41" fmla="*/ 0 h 690"/>
                <a:gd name="T42" fmla="*/ 3 w 1090"/>
                <a:gd name="T43" fmla="*/ 1 h 690"/>
                <a:gd name="T44" fmla="*/ 2 w 1090"/>
                <a:gd name="T45" fmla="*/ 1 h 690"/>
                <a:gd name="T46" fmla="*/ 1 w 1090"/>
                <a:gd name="T47" fmla="*/ 2 h 690"/>
                <a:gd name="T48" fmla="*/ 0 w 1090"/>
                <a:gd name="T49" fmla="*/ 3 h 690"/>
                <a:gd name="T50" fmla="*/ 0 w 1090"/>
                <a:gd name="T51" fmla="*/ 4 h 690"/>
                <a:gd name="T52" fmla="*/ 0 w 1090"/>
                <a:gd name="T53" fmla="*/ 37 h 690"/>
                <a:gd name="T54" fmla="*/ 0 w 1090"/>
                <a:gd name="T55" fmla="*/ 38 h 690"/>
                <a:gd name="T56" fmla="*/ 1 w 1090"/>
                <a:gd name="T57" fmla="*/ 38 h 690"/>
                <a:gd name="T58" fmla="*/ 1 w 1090"/>
                <a:gd name="T59" fmla="*/ 39 h 690"/>
                <a:gd name="T60" fmla="*/ 2 w 1090"/>
                <a:gd name="T61" fmla="*/ 40 h 690"/>
                <a:gd name="T62" fmla="*/ 3 w 1090"/>
                <a:gd name="T63" fmla="*/ 40 h 690"/>
                <a:gd name="T64" fmla="*/ 5 w 1090"/>
                <a:gd name="T65" fmla="*/ 41 h 690"/>
                <a:gd name="T66" fmla="*/ 6 w 1090"/>
                <a:gd name="T67" fmla="*/ 41 h 690"/>
                <a:gd name="T68" fmla="*/ 8 w 1090"/>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90"/>
                <a:gd name="T106" fmla="*/ 0 h 690"/>
                <a:gd name="T107" fmla="*/ 1090 w 1090"/>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90" h="690">
                  <a:moveTo>
                    <a:pt x="68" y="690"/>
                  </a:moveTo>
                  <a:lnTo>
                    <a:pt x="1022" y="690"/>
                  </a:lnTo>
                  <a:lnTo>
                    <a:pt x="1029" y="688"/>
                  </a:lnTo>
                  <a:lnTo>
                    <a:pt x="1035" y="687"/>
                  </a:lnTo>
                  <a:lnTo>
                    <a:pt x="1041" y="686"/>
                  </a:lnTo>
                  <a:lnTo>
                    <a:pt x="1048" y="684"/>
                  </a:lnTo>
                  <a:lnTo>
                    <a:pt x="1053" y="681"/>
                  </a:lnTo>
                  <a:lnTo>
                    <a:pt x="1059" y="677"/>
                  </a:lnTo>
                  <a:lnTo>
                    <a:pt x="1065" y="674"/>
                  </a:lnTo>
                  <a:lnTo>
                    <a:pt x="1069" y="669"/>
                  </a:lnTo>
                  <a:lnTo>
                    <a:pt x="1074" y="665"/>
                  </a:lnTo>
                  <a:lnTo>
                    <a:pt x="1077" y="659"/>
                  </a:lnTo>
                  <a:lnTo>
                    <a:pt x="1081" y="653"/>
                  </a:lnTo>
                  <a:lnTo>
                    <a:pt x="1084" y="648"/>
                  </a:lnTo>
                  <a:lnTo>
                    <a:pt x="1086" y="641"/>
                  </a:lnTo>
                  <a:lnTo>
                    <a:pt x="1087" y="635"/>
                  </a:lnTo>
                  <a:lnTo>
                    <a:pt x="1088" y="629"/>
                  </a:lnTo>
                  <a:lnTo>
                    <a:pt x="1090" y="622"/>
                  </a:lnTo>
                  <a:lnTo>
                    <a:pt x="1090" y="68"/>
                  </a:lnTo>
                  <a:lnTo>
                    <a:pt x="1088" y="61"/>
                  </a:lnTo>
                  <a:lnTo>
                    <a:pt x="1087" y="54"/>
                  </a:lnTo>
                  <a:lnTo>
                    <a:pt x="1086" y="48"/>
                  </a:lnTo>
                  <a:lnTo>
                    <a:pt x="1084" y="42"/>
                  </a:lnTo>
                  <a:lnTo>
                    <a:pt x="1081" y="35"/>
                  </a:lnTo>
                  <a:lnTo>
                    <a:pt x="1077" y="31"/>
                  </a:lnTo>
                  <a:lnTo>
                    <a:pt x="1074" y="25"/>
                  </a:lnTo>
                  <a:lnTo>
                    <a:pt x="1069" y="20"/>
                  </a:lnTo>
                  <a:lnTo>
                    <a:pt x="1065" y="16"/>
                  </a:lnTo>
                  <a:lnTo>
                    <a:pt x="1059" y="11"/>
                  </a:lnTo>
                  <a:lnTo>
                    <a:pt x="1053" y="8"/>
                  </a:lnTo>
                  <a:lnTo>
                    <a:pt x="1048" y="6"/>
                  </a:lnTo>
                  <a:lnTo>
                    <a:pt x="1041" y="3"/>
                  </a:lnTo>
                  <a:lnTo>
                    <a:pt x="1035" y="1"/>
                  </a:lnTo>
                  <a:lnTo>
                    <a:pt x="1029" y="0"/>
                  </a:lnTo>
                  <a:lnTo>
                    <a:pt x="1022" y="0"/>
                  </a:lnTo>
                  <a:lnTo>
                    <a:pt x="68" y="0"/>
                  </a:lnTo>
                  <a:lnTo>
                    <a:pt x="61" y="0"/>
                  </a:lnTo>
                  <a:lnTo>
                    <a:pt x="54" y="1"/>
                  </a:lnTo>
                  <a:lnTo>
                    <a:pt x="48" y="3"/>
                  </a:lnTo>
                  <a:lnTo>
                    <a:pt x="42" y="6"/>
                  </a:lnTo>
                  <a:lnTo>
                    <a:pt x="36" y="8"/>
                  </a:lnTo>
                  <a:lnTo>
                    <a:pt x="31" y="11"/>
                  </a:lnTo>
                  <a:lnTo>
                    <a:pt x="25" y="16"/>
                  </a:lnTo>
                  <a:lnTo>
                    <a:pt x="20" y="20"/>
                  </a:lnTo>
                  <a:lnTo>
                    <a:pt x="16" y="25"/>
                  </a:lnTo>
                  <a:lnTo>
                    <a:pt x="11" y="31"/>
                  </a:lnTo>
                  <a:lnTo>
                    <a:pt x="8" y="35"/>
                  </a:lnTo>
                  <a:lnTo>
                    <a:pt x="6" y="42"/>
                  </a:lnTo>
                  <a:lnTo>
                    <a:pt x="4" y="48"/>
                  </a:lnTo>
                  <a:lnTo>
                    <a:pt x="1" y="54"/>
                  </a:lnTo>
                  <a:lnTo>
                    <a:pt x="1" y="61"/>
                  </a:lnTo>
                  <a:lnTo>
                    <a:pt x="0" y="68"/>
                  </a:lnTo>
                  <a:lnTo>
                    <a:pt x="0" y="622"/>
                  </a:lnTo>
                  <a:lnTo>
                    <a:pt x="1" y="629"/>
                  </a:lnTo>
                  <a:lnTo>
                    <a:pt x="1" y="635"/>
                  </a:lnTo>
                  <a:lnTo>
                    <a:pt x="4" y="641"/>
                  </a:lnTo>
                  <a:lnTo>
                    <a:pt x="6" y="648"/>
                  </a:lnTo>
                  <a:lnTo>
                    <a:pt x="8" y="653"/>
                  </a:lnTo>
                  <a:lnTo>
                    <a:pt x="11" y="659"/>
                  </a:lnTo>
                  <a:lnTo>
                    <a:pt x="16" y="665"/>
                  </a:lnTo>
                  <a:lnTo>
                    <a:pt x="20" y="669"/>
                  </a:lnTo>
                  <a:lnTo>
                    <a:pt x="25" y="674"/>
                  </a:lnTo>
                  <a:lnTo>
                    <a:pt x="31" y="677"/>
                  </a:lnTo>
                  <a:lnTo>
                    <a:pt x="36" y="681"/>
                  </a:lnTo>
                  <a:lnTo>
                    <a:pt x="42" y="684"/>
                  </a:lnTo>
                  <a:lnTo>
                    <a:pt x="48" y="686"/>
                  </a:lnTo>
                  <a:lnTo>
                    <a:pt x="54" y="687"/>
                  </a:lnTo>
                  <a:lnTo>
                    <a:pt x="61" y="688"/>
                  </a:lnTo>
                  <a:lnTo>
                    <a:pt x="68" y="69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27" name="Rectangle 683"/>
            <p:cNvSpPr>
              <a:spLocks noChangeArrowheads="1"/>
            </p:cNvSpPr>
            <p:nvPr/>
          </p:nvSpPr>
          <p:spPr bwMode="auto">
            <a:xfrm>
              <a:off x="177" y="2648"/>
              <a:ext cx="2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intenance </a:t>
              </a:r>
              <a:endParaRPr lang="en-US" sz="1800" b="0" kern="0" baseline="0">
                <a:solidFill>
                  <a:sysClr val="windowText" lastClr="000000"/>
                </a:solidFill>
                <a:latin typeface="Arial" charset="0"/>
                <a:ea typeface="ＭＳ Ｐゴシック"/>
                <a:cs typeface="ＭＳ Ｐゴシック"/>
              </a:endParaRPr>
            </a:p>
          </p:txBody>
        </p:sp>
        <p:sp>
          <p:nvSpPr>
            <p:cNvPr id="128" name="Rectangle 684"/>
            <p:cNvSpPr>
              <a:spLocks noChangeArrowheads="1"/>
            </p:cNvSpPr>
            <p:nvPr/>
          </p:nvSpPr>
          <p:spPr bwMode="auto">
            <a:xfrm>
              <a:off x="187" y="2683"/>
              <a:ext cx="207"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Forecasting</a:t>
              </a:r>
              <a:endParaRPr lang="en-US" sz="1800" b="0" kern="0" baseline="0">
                <a:solidFill>
                  <a:sysClr val="windowText" lastClr="000000"/>
                </a:solidFill>
                <a:latin typeface="Arial" charset="0"/>
                <a:ea typeface="ＭＳ Ｐゴシック"/>
                <a:cs typeface="ＭＳ Ｐゴシック"/>
              </a:endParaRPr>
            </a:p>
          </p:txBody>
        </p:sp>
        <p:sp>
          <p:nvSpPr>
            <p:cNvPr id="129" name="Freeform 685"/>
            <p:cNvSpPr>
              <a:spLocks/>
            </p:cNvSpPr>
            <p:nvPr/>
          </p:nvSpPr>
          <p:spPr bwMode="auto">
            <a:xfrm>
              <a:off x="510" y="2599"/>
              <a:ext cx="362" cy="168"/>
            </a:xfrm>
            <a:custGeom>
              <a:avLst/>
              <a:gdLst>
                <a:gd name="T0" fmla="*/ 113 w 1088"/>
                <a:gd name="T1" fmla="*/ 41 h 690"/>
                <a:gd name="T2" fmla="*/ 114 w 1088"/>
                <a:gd name="T3" fmla="*/ 41 h 690"/>
                <a:gd name="T4" fmla="*/ 116 w 1088"/>
                <a:gd name="T5" fmla="*/ 41 h 690"/>
                <a:gd name="T6" fmla="*/ 117 w 1088"/>
                <a:gd name="T7" fmla="*/ 40 h 690"/>
                <a:gd name="T8" fmla="*/ 118 w 1088"/>
                <a:gd name="T9" fmla="*/ 40 h 690"/>
                <a:gd name="T10" fmla="*/ 119 w 1088"/>
                <a:gd name="T11" fmla="*/ 39 h 690"/>
                <a:gd name="T12" fmla="*/ 120 w 1088"/>
                <a:gd name="T13" fmla="*/ 38 h 690"/>
                <a:gd name="T14" fmla="*/ 120 w 1088"/>
                <a:gd name="T15" fmla="*/ 38 h 690"/>
                <a:gd name="T16" fmla="*/ 120 w 1088"/>
                <a:gd name="T17" fmla="*/ 37 h 690"/>
                <a:gd name="T18" fmla="*/ 120 w 1088"/>
                <a:gd name="T19" fmla="*/ 4 h 690"/>
                <a:gd name="T20" fmla="*/ 120 w 1088"/>
                <a:gd name="T21" fmla="*/ 3 h 690"/>
                <a:gd name="T22" fmla="*/ 120 w 1088"/>
                <a:gd name="T23" fmla="*/ 2 h 690"/>
                <a:gd name="T24" fmla="*/ 119 w 1088"/>
                <a:gd name="T25" fmla="*/ 2 h 690"/>
                <a:gd name="T26" fmla="*/ 118 w 1088"/>
                <a:gd name="T27" fmla="*/ 1 h 690"/>
                <a:gd name="T28" fmla="*/ 117 w 1088"/>
                <a:gd name="T29" fmla="*/ 1 h 690"/>
                <a:gd name="T30" fmla="*/ 116 w 1088"/>
                <a:gd name="T31" fmla="*/ 0 h 690"/>
                <a:gd name="T32" fmla="*/ 114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8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8" y="690"/>
                  </a:moveTo>
                  <a:lnTo>
                    <a:pt x="1021" y="690"/>
                  </a:lnTo>
                  <a:lnTo>
                    <a:pt x="1027" y="688"/>
                  </a:lnTo>
                  <a:lnTo>
                    <a:pt x="1034" y="687"/>
                  </a:lnTo>
                  <a:lnTo>
                    <a:pt x="1041" y="686"/>
                  </a:lnTo>
                  <a:lnTo>
                    <a:pt x="1047" y="684"/>
                  </a:lnTo>
                  <a:lnTo>
                    <a:pt x="1053" y="681"/>
                  </a:lnTo>
                  <a:lnTo>
                    <a:pt x="1059" y="677"/>
                  </a:lnTo>
                  <a:lnTo>
                    <a:pt x="1064" y="674"/>
                  </a:lnTo>
                  <a:lnTo>
                    <a:pt x="1068" y="669"/>
                  </a:lnTo>
                  <a:lnTo>
                    <a:pt x="1073" y="665"/>
                  </a:lnTo>
                  <a:lnTo>
                    <a:pt x="1077" y="659"/>
                  </a:lnTo>
                  <a:lnTo>
                    <a:pt x="1081" y="653"/>
                  </a:lnTo>
                  <a:lnTo>
                    <a:pt x="1083" y="648"/>
                  </a:lnTo>
                  <a:lnTo>
                    <a:pt x="1085" y="641"/>
                  </a:lnTo>
                  <a:lnTo>
                    <a:pt x="1087" y="635"/>
                  </a:lnTo>
                  <a:lnTo>
                    <a:pt x="1088" y="629"/>
                  </a:lnTo>
                  <a:lnTo>
                    <a:pt x="1088" y="622"/>
                  </a:lnTo>
                  <a:lnTo>
                    <a:pt x="1088" y="68"/>
                  </a:lnTo>
                  <a:lnTo>
                    <a:pt x="1088" y="61"/>
                  </a:lnTo>
                  <a:lnTo>
                    <a:pt x="1087" y="54"/>
                  </a:lnTo>
                  <a:lnTo>
                    <a:pt x="1085" y="48"/>
                  </a:lnTo>
                  <a:lnTo>
                    <a:pt x="1083" y="42"/>
                  </a:lnTo>
                  <a:lnTo>
                    <a:pt x="1081" y="35"/>
                  </a:lnTo>
                  <a:lnTo>
                    <a:pt x="1077" y="31"/>
                  </a:lnTo>
                  <a:lnTo>
                    <a:pt x="1073" y="25"/>
                  </a:lnTo>
                  <a:lnTo>
                    <a:pt x="1068" y="20"/>
                  </a:lnTo>
                  <a:lnTo>
                    <a:pt x="1064" y="16"/>
                  </a:lnTo>
                  <a:lnTo>
                    <a:pt x="1059" y="11"/>
                  </a:lnTo>
                  <a:lnTo>
                    <a:pt x="1053" y="8"/>
                  </a:lnTo>
                  <a:lnTo>
                    <a:pt x="1047" y="6"/>
                  </a:lnTo>
                  <a:lnTo>
                    <a:pt x="1041" y="3"/>
                  </a:lnTo>
                  <a:lnTo>
                    <a:pt x="1034" y="1"/>
                  </a:lnTo>
                  <a:lnTo>
                    <a:pt x="1027" y="0"/>
                  </a:lnTo>
                  <a:lnTo>
                    <a:pt x="1021" y="0"/>
                  </a:lnTo>
                  <a:lnTo>
                    <a:pt x="68" y="0"/>
                  </a:lnTo>
                  <a:lnTo>
                    <a:pt x="61" y="0"/>
                  </a:lnTo>
                  <a:lnTo>
                    <a:pt x="54" y="1"/>
                  </a:lnTo>
                  <a:lnTo>
                    <a:pt x="48" y="3"/>
                  </a:lnTo>
                  <a:lnTo>
                    <a:pt x="41" y="6"/>
                  </a:lnTo>
                  <a:lnTo>
                    <a:pt x="35" y="8"/>
                  </a:lnTo>
                  <a:lnTo>
                    <a:pt x="29" y="11"/>
                  </a:lnTo>
                  <a:lnTo>
                    <a:pt x="25" y="16"/>
                  </a:lnTo>
                  <a:lnTo>
                    <a:pt x="19" y="20"/>
                  </a:lnTo>
                  <a:lnTo>
                    <a:pt x="15" y="25"/>
                  </a:lnTo>
                  <a:lnTo>
                    <a:pt x="11" y="31"/>
                  </a:lnTo>
                  <a:lnTo>
                    <a:pt x="8" y="35"/>
                  </a:lnTo>
                  <a:lnTo>
                    <a:pt x="5" y="42"/>
                  </a:lnTo>
                  <a:lnTo>
                    <a:pt x="2" y="48"/>
                  </a:lnTo>
                  <a:lnTo>
                    <a:pt x="1" y="54"/>
                  </a:lnTo>
                  <a:lnTo>
                    <a:pt x="0" y="61"/>
                  </a:lnTo>
                  <a:lnTo>
                    <a:pt x="0" y="68"/>
                  </a:lnTo>
                  <a:lnTo>
                    <a:pt x="0" y="622"/>
                  </a:lnTo>
                  <a:lnTo>
                    <a:pt x="0" y="629"/>
                  </a:lnTo>
                  <a:lnTo>
                    <a:pt x="1" y="635"/>
                  </a:lnTo>
                  <a:lnTo>
                    <a:pt x="2" y="641"/>
                  </a:lnTo>
                  <a:lnTo>
                    <a:pt x="5" y="648"/>
                  </a:lnTo>
                  <a:lnTo>
                    <a:pt x="8" y="653"/>
                  </a:lnTo>
                  <a:lnTo>
                    <a:pt x="11" y="659"/>
                  </a:lnTo>
                  <a:lnTo>
                    <a:pt x="15" y="665"/>
                  </a:lnTo>
                  <a:lnTo>
                    <a:pt x="19" y="669"/>
                  </a:lnTo>
                  <a:lnTo>
                    <a:pt x="25" y="674"/>
                  </a:lnTo>
                  <a:lnTo>
                    <a:pt x="29" y="677"/>
                  </a:lnTo>
                  <a:lnTo>
                    <a:pt x="35" y="681"/>
                  </a:lnTo>
                  <a:lnTo>
                    <a:pt x="41" y="684"/>
                  </a:lnTo>
                  <a:lnTo>
                    <a:pt x="48" y="686"/>
                  </a:lnTo>
                  <a:lnTo>
                    <a:pt x="54" y="687"/>
                  </a:lnTo>
                  <a:lnTo>
                    <a:pt x="61" y="688"/>
                  </a:lnTo>
                  <a:lnTo>
                    <a:pt x="68" y="69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30" name="Freeform 686"/>
            <p:cNvSpPr>
              <a:spLocks/>
            </p:cNvSpPr>
            <p:nvPr/>
          </p:nvSpPr>
          <p:spPr bwMode="auto">
            <a:xfrm>
              <a:off x="510" y="2599"/>
              <a:ext cx="362" cy="168"/>
            </a:xfrm>
            <a:custGeom>
              <a:avLst/>
              <a:gdLst>
                <a:gd name="T0" fmla="*/ 113 w 1088"/>
                <a:gd name="T1" fmla="*/ 41 h 690"/>
                <a:gd name="T2" fmla="*/ 114 w 1088"/>
                <a:gd name="T3" fmla="*/ 41 h 690"/>
                <a:gd name="T4" fmla="*/ 116 w 1088"/>
                <a:gd name="T5" fmla="*/ 41 h 690"/>
                <a:gd name="T6" fmla="*/ 117 w 1088"/>
                <a:gd name="T7" fmla="*/ 40 h 690"/>
                <a:gd name="T8" fmla="*/ 118 w 1088"/>
                <a:gd name="T9" fmla="*/ 40 h 690"/>
                <a:gd name="T10" fmla="*/ 119 w 1088"/>
                <a:gd name="T11" fmla="*/ 39 h 690"/>
                <a:gd name="T12" fmla="*/ 120 w 1088"/>
                <a:gd name="T13" fmla="*/ 38 h 690"/>
                <a:gd name="T14" fmla="*/ 120 w 1088"/>
                <a:gd name="T15" fmla="*/ 38 h 690"/>
                <a:gd name="T16" fmla="*/ 120 w 1088"/>
                <a:gd name="T17" fmla="*/ 37 h 690"/>
                <a:gd name="T18" fmla="*/ 120 w 1088"/>
                <a:gd name="T19" fmla="*/ 4 h 690"/>
                <a:gd name="T20" fmla="*/ 120 w 1088"/>
                <a:gd name="T21" fmla="*/ 3 h 690"/>
                <a:gd name="T22" fmla="*/ 120 w 1088"/>
                <a:gd name="T23" fmla="*/ 2 h 690"/>
                <a:gd name="T24" fmla="*/ 119 w 1088"/>
                <a:gd name="T25" fmla="*/ 2 h 690"/>
                <a:gd name="T26" fmla="*/ 118 w 1088"/>
                <a:gd name="T27" fmla="*/ 1 h 690"/>
                <a:gd name="T28" fmla="*/ 117 w 1088"/>
                <a:gd name="T29" fmla="*/ 1 h 690"/>
                <a:gd name="T30" fmla="*/ 116 w 1088"/>
                <a:gd name="T31" fmla="*/ 0 h 690"/>
                <a:gd name="T32" fmla="*/ 114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8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8" y="690"/>
                  </a:moveTo>
                  <a:lnTo>
                    <a:pt x="1021" y="690"/>
                  </a:lnTo>
                  <a:lnTo>
                    <a:pt x="1027" y="688"/>
                  </a:lnTo>
                  <a:lnTo>
                    <a:pt x="1034" y="687"/>
                  </a:lnTo>
                  <a:lnTo>
                    <a:pt x="1041" y="686"/>
                  </a:lnTo>
                  <a:lnTo>
                    <a:pt x="1047" y="684"/>
                  </a:lnTo>
                  <a:lnTo>
                    <a:pt x="1053" y="681"/>
                  </a:lnTo>
                  <a:lnTo>
                    <a:pt x="1059" y="677"/>
                  </a:lnTo>
                  <a:lnTo>
                    <a:pt x="1064" y="674"/>
                  </a:lnTo>
                  <a:lnTo>
                    <a:pt x="1068" y="669"/>
                  </a:lnTo>
                  <a:lnTo>
                    <a:pt x="1073" y="665"/>
                  </a:lnTo>
                  <a:lnTo>
                    <a:pt x="1077" y="659"/>
                  </a:lnTo>
                  <a:lnTo>
                    <a:pt x="1081" y="653"/>
                  </a:lnTo>
                  <a:lnTo>
                    <a:pt x="1083" y="648"/>
                  </a:lnTo>
                  <a:lnTo>
                    <a:pt x="1085" y="641"/>
                  </a:lnTo>
                  <a:lnTo>
                    <a:pt x="1087" y="635"/>
                  </a:lnTo>
                  <a:lnTo>
                    <a:pt x="1088" y="629"/>
                  </a:lnTo>
                  <a:lnTo>
                    <a:pt x="1088" y="622"/>
                  </a:lnTo>
                  <a:lnTo>
                    <a:pt x="1088" y="68"/>
                  </a:lnTo>
                  <a:lnTo>
                    <a:pt x="1088" y="61"/>
                  </a:lnTo>
                  <a:lnTo>
                    <a:pt x="1087" y="54"/>
                  </a:lnTo>
                  <a:lnTo>
                    <a:pt x="1085" y="48"/>
                  </a:lnTo>
                  <a:lnTo>
                    <a:pt x="1083" y="42"/>
                  </a:lnTo>
                  <a:lnTo>
                    <a:pt x="1081" y="35"/>
                  </a:lnTo>
                  <a:lnTo>
                    <a:pt x="1077" y="31"/>
                  </a:lnTo>
                  <a:lnTo>
                    <a:pt x="1073" y="25"/>
                  </a:lnTo>
                  <a:lnTo>
                    <a:pt x="1068" y="20"/>
                  </a:lnTo>
                  <a:lnTo>
                    <a:pt x="1064" y="16"/>
                  </a:lnTo>
                  <a:lnTo>
                    <a:pt x="1059" y="11"/>
                  </a:lnTo>
                  <a:lnTo>
                    <a:pt x="1053" y="8"/>
                  </a:lnTo>
                  <a:lnTo>
                    <a:pt x="1047" y="6"/>
                  </a:lnTo>
                  <a:lnTo>
                    <a:pt x="1041" y="3"/>
                  </a:lnTo>
                  <a:lnTo>
                    <a:pt x="1034" y="1"/>
                  </a:lnTo>
                  <a:lnTo>
                    <a:pt x="1027" y="0"/>
                  </a:lnTo>
                  <a:lnTo>
                    <a:pt x="1021" y="0"/>
                  </a:lnTo>
                  <a:lnTo>
                    <a:pt x="68" y="0"/>
                  </a:lnTo>
                  <a:lnTo>
                    <a:pt x="61" y="0"/>
                  </a:lnTo>
                  <a:lnTo>
                    <a:pt x="54" y="1"/>
                  </a:lnTo>
                  <a:lnTo>
                    <a:pt x="48" y="3"/>
                  </a:lnTo>
                  <a:lnTo>
                    <a:pt x="41" y="6"/>
                  </a:lnTo>
                  <a:lnTo>
                    <a:pt x="35" y="8"/>
                  </a:lnTo>
                  <a:lnTo>
                    <a:pt x="29" y="11"/>
                  </a:lnTo>
                  <a:lnTo>
                    <a:pt x="25" y="16"/>
                  </a:lnTo>
                  <a:lnTo>
                    <a:pt x="19" y="20"/>
                  </a:lnTo>
                  <a:lnTo>
                    <a:pt x="15" y="25"/>
                  </a:lnTo>
                  <a:lnTo>
                    <a:pt x="11" y="31"/>
                  </a:lnTo>
                  <a:lnTo>
                    <a:pt x="8" y="35"/>
                  </a:lnTo>
                  <a:lnTo>
                    <a:pt x="5" y="42"/>
                  </a:lnTo>
                  <a:lnTo>
                    <a:pt x="2" y="48"/>
                  </a:lnTo>
                  <a:lnTo>
                    <a:pt x="1" y="54"/>
                  </a:lnTo>
                  <a:lnTo>
                    <a:pt x="0" y="61"/>
                  </a:lnTo>
                  <a:lnTo>
                    <a:pt x="0" y="68"/>
                  </a:lnTo>
                  <a:lnTo>
                    <a:pt x="0" y="622"/>
                  </a:lnTo>
                  <a:lnTo>
                    <a:pt x="0" y="629"/>
                  </a:lnTo>
                  <a:lnTo>
                    <a:pt x="1" y="635"/>
                  </a:lnTo>
                  <a:lnTo>
                    <a:pt x="2" y="641"/>
                  </a:lnTo>
                  <a:lnTo>
                    <a:pt x="5" y="648"/>
                  </a:lnTo>
                  <a:lnTo>
                    <a:pt x="8" y="653"/>
                  </a:lnTo>
                  <a:lnTo>
                    <a:pt x="11" y="659"/>
                  </a:lnTo>
                  <a:lnTo>
                    <a:pt x="15" y="665"/>
                  </a:lnTo>
                  <a:lnTo>
                    <a:pt x="19" y="669"/>
                  </a:lnTo>
                  <a:lnTo>
                    <a:pt x="25" y="674"/>
                  </a:lnTo>
                  <a:lnTo>
                    <a:pt x="29" y="677"/>
                  </a:lnTo>
                  <a:lnTo>
                    <a:pt x="35" y="681"/>
                  </a:lnTo>
                  <a:lnTo>
                    <a:pt x="41" y="684"/>
                  </a:lnTo>
                  <a:lnTo>
                    <a:pt x="48" y="686"/>
                  </a:lnTo>
                  <a:lnTo>
                    <a:pt x="54" y="687"/>
                  </a:lnTo>
                  <a:lnTo>
                    <a:pt x="61" y="688"/>
                  </a:lnTo>
                  <a:lnTo>
                    <a:pt x="68" y="690"/>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31" name="Rectangle 687"/>
            <p:cNvSpPr>
              <a:spLocks noChangeArrowheads="1"/>
            </p:cNvSpPr>
            <p:nvPr/>
          </p:nvSpPr>
          <p:spPr bwMode="auto">
            <a:xfrm>
              <a:off x="544" y="2666"/>
              <a:ext cx="29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oject Sourcing</a:t>
              </a:r>
              <a:endParaRPr lang="en-US" sz="1800" b="0" kern="0" baseline="0">
                <a:solidFill>
                  <a:sysClr val="windowText" lastClr="000000"/>
                </a:solidFill>
                <a:latin typeface="Arial" charset="0"/>
                <a:ea typeface="ＭＳ Ｐゴシック"/>
                <a:cs typeface="ＭＳ Ｐゴシック"/>
              </a:endParaRPr>
            </a:p>
          </p:txBody>
        </p:sp>
        <p:sp>
          <p:nvSpPr>
            <p:cNvPr id="132" name="Freeform 688"/>
            <p:cNvSpPr>
              <a:spLocks/>
            </p:cNvSpPr>
            <p:nvPr/>
          </p:nvSpPr>
          <p:spPr bwMode="auto">
            <a:xfrm>
              <a:off x="94" y="1776"/>
              <a:ext cx="371" cy="167"/>
            </a:xfrm>
            <a:custGeom>
              <a:avLst/>
              <a:gdLst>
                <a:gd name="T0" fmla="*/ 116 w 1115"/>
                <a:gd name="T1" fmla="*/ 41 h 688"/>
                <a:gd name="T2" fmla="*/ 117 w 1115"/>
                <a:gd name="T3" fmla="*/ 41 h 688"/>
                <a:gd name="T4" fmla="*/ 119 w 1115"/>
                <a:gd name="T5" fmla="*/ 40 h 688"/>
                <a:gd name="T6" fmla="*/ 120 w 1115"/>
                <a:gd name="T7" fmla="*/ 40 h 688"/>
                <a:gd name="T8" fmla="*/ 121 w 1115"/>
                <a:gd name="T9" fmla="*/ 39 h 688"/>
                <a:gd name="T10" fmla="*/ 122 w 1115"/>
                <a:gd name="T11" fmla="*/ 39 h 688"/>
                <a:gd name="T12" fmla="*/ 123 w 1115"/>
                <a:gd name="T13" fmla="*/ 38 h 688"/>
                <a:gd name="T14" fmla="*/ 123 w 1115"/>
                <a:gd name="T15" fmla="*/ 37 h 688"/>
                <a:gd name="T16" fmla="*/ 123 w 1115"/>
                <a:gd name="T17" fmla="*/ 36 h 688"/>
                <a:gd name="T18" fmla="*/ 123 w 1115"/>
                <a:gd name="T19" fmla="*/ 4 h 688"/>
                <a:gd name="T20" fmla="*/ 123 w 1115"/>
                <a:gd name="T21" fmla="*/ 3 h 688"/>
                <a:gd name="T22" fmla="*/ 123 w 1115"/>
                <a:gd name="T23" fmla="*/ 2 h 688"/>
                <a:gd name="T24" fmla="*/ 122 w 1115"/>
                <a:gd name="T25" fmla="*/ 2 h 688"/>
                <a:gd name="T26" fmla="*/ 121 w 1115"/>
                <a:gd name="T27" fmla="*/ 1 h 688"/>
                <a:gd name="T28" fmla="*/ 120 w 1115"/>
                <a:gd name="T29" fmla="*/ 1 h 688"/>
                <a:gd name="T30" fmla="*/ 119 w 1115"/>
                <a:gd name="T31" fmla="*/ 0 h 688"/>
                <a:gd name="T32" fmla="*/ 117 w 1115"/>
                <a:gd name="T33" fmla="*/ 0 h 688"/>
                <a:gd name="T34" fmla="*/ 116 w 1115"/>
                <a:gd name="T35" fmla="*/ 0 h 688"/>
                <a:gd name="T36" fmla="*/ 7 w 1115"/>
                <a:gd name="T37" fmla="*/ 0 h 688"/>
                <a:gd name="T38" fmla="*/ 5 w 1115"/>
                <a:gd name="T39" fmla="*/ 0 h 688"/>
                <a:gd name="T40" fmla="*/ 4 w 1115"/>
                <a:gd name="T41" fmla="*/ 0 h 688"/>
                <a:gd name="T42" fmla="*/ 3 w 1115"/>
                <a:gd name="T43" fmla="*/ 1 h 688"/>
                <a:gd name="T44" fmla="*/ 2 w 1115"/>
                <a:gd name="T45" fmla="*/ 1 h 688"/>
                <a:gd name="T46" fmla="*/ 1 w 1115"/>
                <a:gd name="T47" fmla="*/ 2 h 688"/>
                <a:gd name="T48" fmla="*/ 0 w 1115"/>
                <a:gd name="T49" fmla="*/ 3 h 688"/>
                <a:gd name="T50" fmla="*/ 0 w 1115"/>
                <a:gd name="T51" fmla="*/ 4 h 688"/>
                <a:gd name="T52" fmla="*/ 0 w 1115"/>
                <a:gd name="T53" fmla="*/ 36 h 688"/>
                <a:gd name="T54" fmla="*/ 0 w 1115"/>
                <a:gd name="T55" fmla="*/ 37 h 688"/>
                <a:gd name="T56" fmla="*/ 1 w 1115"/>
                <a:gd name="T57" fmla="*/ 38 h 688"/>
                <a:gd name="T58" fmla="*/ 1 w 1115"/>
                <a:gd name="T59" fmla="*/ 39 h 688"/>
                <a:gd name="T60" fmla="*/ 2 w 1115"/>
                <a:gd name="T61" fmla="*/ 39 h 688"/>
                <a:gd name="T62" fmla="*/ 3 w 1115"/>
                <a:gd name="T63" fmla="*/ 40 h 688"/>
                <a:gd name="T64" fmla="*/ 5 w 1115"/>
                <a:gd name="T65" fmla="*/ 40 h 688"/>
                <a:gd name="T66" fmla="*/ 6 w 1115"/>
                <a:gd name="T67" fmla="*/ 41 h 688"/>
                <a:gd name="T68" fmla="*/ 8 w 1115"/>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5"/>
                <a:gd name="T106" fmla="*/ 0 h 688"/>
                <a:gd name="T107" fmla="*/ 1115 w 1115"/>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5" h="688">
                  <a:moveTo>
                    <a:pt x="68" y="688"/>
                  </a:moveTo>
                  <a:lnTo>
                    <a:pt x="1047" y="688"/>
                  </a:lnTo>
                  <a:lnTo>
                    <a:pt x="1054" y="688"/>
                  </a:lnTo>
                  <a:lnTo>
                    <a:pt x="1060" y="687"/>
                  </a:lnTo>
                  <a:lnTo>
                    <a:pt x="1067" y="685"/>
                  </a:lnTo>
                  <a:lnTo>
                    <a:pt x="1073" y="683"/>
                  </a:lnTo>
                  <a:lnTo>
                    <a:pt x="1080" y="680"/>
                  </a:lnTo>
                  <a:lnTo>
                    <a:pt x="1085" y="677"/>
                  </a:lnTo>
                  <a:lnTo>
                    <a:pt x="1090" y="672"/>
                  </a:lnTo>
                  <a:lnTo>
                    <a:pt x="1094" y="669"/>
                  </a:lnTo>
                  <a:lnTo>
                    <a:pt x="1099" y="663"/>
                  </a:lnTo>
                  <a:lnTo>
                    <a:pt x="1103" y="659"/>
                  </a:lnTo>
                  <a:lnTo>
                    <a:pt x="1107" y="653"/>
                  </a:lnTo>
                  <a:lnTo>
                    <a:pt x="1109" y="646"/>
                  </a:lnTo>
                  <a:lnTo>
                    <a:pt x="1111" y="641"/>
                  </a:lnTo>
                  <a:lnTo>
                    <a:pt x="1114" y="634"/>
                  </a:lnTo>
                  <a:lnTo>
                    <a:pt x="1115" y="627"/>
                  </a:lnTo>
                  <a:lnTo>
                    <a:pt x="1115" y="620"/>
                  </a:lnTo>
                  <a:lnTo>
                    <a:pt x="1115" y="68"/>
                  </a:lnTo>
                  <a:lnTo>
                    <a:pt x="1115" y="61"/>
                  </a:lnTo>
                  <a:lnTo>
                    <a:pt x="1114" y="54"/>
                  </a:lnTo>
                  <a:lnTo>
                    <a:pt x="1111" y="47"/>
                  </a:lnTo>
                  <a:lnTo>
                    <a:pt x="1109" y="41"/>
                  </a:lnTo>
                  <a:lnTo>
                    <a:pt x="1107" y="35"/>
                  </a:lnTo>
                  <a:lnTo>
                    <a:pt x="1103" y="29"/>
                  </a:lnTo>
                  <a:lnTo>
                    <a:pt x="1099" y="24"/>
                  </a:lnTo>
                  <a:lnTo>
                    <a:pt x="1094" y="19"/>
                  </a:lnTo>
                  <a:lnTo>
                    <a:pt x="1090" y="15"/>
                  </a:lnTo>
                  <a:lnTo>
                    <a:pt x="1085" y="11"/>
                  </a:lnTo>
                  <a:lnTo>
                    <a:pt x="1080" y="8"/>
                  </a:lnTo>
                  <a:lnTo>
                    <a:pt x="1073" y="4"/>
                  </a:lnTo>
                  <a:lnTo>
                    <a:pt x="1067" y="2"/>
                  </a:lnTo>
                  <a:lnTo>
                    <a:pt x="1060" y="1"/>
                  </a:lnTo>
                  <a:lnTo>
                    <a:pt x="1054" y="0"/>
                  </a:lnTo>
                  <a:lnTo>
                    <a:pt x="1047" y="0"/>
                  </a:lnTo>
                  <a:lnTo>
                    <a:pt x="68" y="0"/>
                  </a:lnTo>
                  <a:lnTo>
                    <a:pt x="61" y="0"/>
                  </a:lnTo>
                  <a:lnTo>
                    <a:pt x="55" y="1"/>
                  </a:lnTo>
                  <a:lnTo>
                    <a:pt x="49" y="2"/>
                  </a:lnTo>
                  <a:lnTo>
                    <a:pt x="42" y="4"/>
                  </a:lnTo>
                  <a:lnTo>
                    <a:pt x="37" y="8"/>
                  </a:lnTo>
                  <a:lnTo>
                    <a:pt x="31" y="11"/>
                  </a:lnTo>
                  <a:lnTo>
                    <a:pt x="25" y="15"/>
                  </a:lnTo>
                  <a:lnTo>
                    <a:pt x="21" y="19"/>
                  </a:lnTo>
                  <a:lnTo>
                    <a:pt x="16" y="24"/>
                  </a:lnTo>
                  <a:lnTo>
                    <a:pt x="13" y="29"/>
                  </a:lnTo>
                  <a:lnTo>
                    <a:pt x="9" y="35"/>
                  </a:lnTo>
                  <a:lnTo>
                    <a:pt x="6" y="41"/>
                  </a:lnTo>
                  <a:lnTo>
                    <a:pt x="4" y="47"/>
                  </a:lnTo>
                  <a:lnTo>
                    <a:pt x="3" y="54"/>
                  </a:lnTo>
                  <a:lnTo>
                    <a:pt x="2" y="61"/>
                  </a:lnTo>
                  <a:lnTo>
                    <a:pt x="0" y="68"/>
                  </a:lnTo>
                  <a:lnTo>
                    <a:pt x="0" y="620"/>
                  </a:lnTo>
                  <a:lnTo>
                    <a:pt x="2" y="627"/>
                  </a:lnTo>
                  <a:lnTo>
                    <a:pt x="3" y="634"/>
                  </a:lnTo>
                  <a:lnTo>
                    <a:pt x="4" y="641"/>
                  </a:lnTo>
                  <a:lnTo>
                    <a:pt x="6" y="646"/>
                  </a:lnTo>
                  <a:lnTo>
                    <a:pt x="9" y="653"/>
                  </a:lnTo>
                  <a:lnTo>
                    <a:pt x="13" y="659"/>
                  </a:lnTo>
                  <a:lnTo>
                    <a:pt x="16" y="663"/>
                  </a:lnTo>
                  <a:lnTo>
                    <a:pt x="21" y="669"/>
                  </a:lnTo>
                  <a:lnTo>
                    <a:pt x="25" y="672"/>
                  </a:lnTo>
                  <a:lnTo>
                    <a:pt x="31" y="677"/>
                  </a:lnTo>
                  <a:lnTo>
                    <a:pt x="37" y="680"/>
                  </a:lnTo>
                  <a:lnTo>
                    <a:pt x="42" y="683"/>
                  </a:lnTo>
                  <a:lnTo>
                    <a:pt x="49" y="685"/>
                  </a:lnTo>
                  <a:lnTo>
                    <a:pt x="55" y="687"/>
                  </a:lnTo>
                  <a:lnTo>
                    <a:pt x="61" y="688"/>
                  </a:lnTo>
                  <a:lnTo>
                    <a:pt x="68" y="688"/>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33" name="Freeform 689"/>
            <p:cNvSpPr>
              <a:spLocks/>
            </p:cNvSpPr>
            <p:nvPr/>
          </p:nvSpPr>
          <p:spPr bwMode="auto">
            <a:xfrm>
              <a:off x="94" y="1776"/>
              <a:ext cx="371" cy="167"/>
            </a:xfrm>
            <a:custGeom>
              <a:avLst/>
              <a:gdLst>
                <a:gd name="T0" fmla="*/ 116 w 1115"/>
                <a:gd name="T1" fmla="*/ 41 h 688"/>
                <a:gd name="T2" fmla="*/ 117 w 1115"/>
                <a:gd name="T3" fmla="*/ 41 h 688"/>
                <a:gd name="T4" fmla="*/ 119 w 1115"/>
                <a:gd name="T5" fmla="*/ 40 h 688"/>
                <a:gd name="T6" fmla="*/ 120 w 1115"/>
                <a:gd name="T7" fmla="*/ 40 h 688"/>
                <a:gd name="T8" fmla="*/ 121 w 1115"/>
                <a:gd name="T9" fmla="*/ 39 h 688"/>
                <a:gd name="T10" fmla="*/ 122 w 1115"/>
                <a:gd name="T11" fmla="*/ 39 h 688"/>
                <a:gd name="T12" fmla="*/ 123 w 1115"/>
                <a:gd name="T13" fmla="*/ 38 h 688"/>
                <a:gd name="T14" fmla="*/ 123 w 1115"/>
                <a:gd name="T15" fmla="*/ 37 h 688"/>
                <a:gd name="T16" fmla="*/ 123 w 1115"/>
                <a:gd name="T17" fmla="*/ 36 h 688"/>
                <a:gd name="T18" fmla="*/ 123 w 1115"/>
                <a:gd name="T19" fmla="*/ 4 h 688"/>
                <a:gd name="T20" fmla="*/ 123 w 1115"/>
                <a:gd name="T21" fmla="*/ 3 h 688"/>
                <a:gd name="T22" fmla="*/ 123 w 1115"/>
                <a:gd name="T23" fmla="*/ 2 h 688"/>
                <a:gd name="T24" fmla="*/ 122 w 1115"/>
                <a:gd name="T25" fmla="*/ 2 h 688"/>
                <a:gd name="T26" fmla="*/ 121 w 1115"/>
                <a:gd name="T27" fmla="*/ 1 h 688"/>
                <a:gd name="T28" fmla="*/ 120 w 1115"/>
                <a:gd name="T29" fmla="*/ 1 h 688"/>
                <a:gd name="T30" fmla="*/ 119 w 1115"/>
                <a:gd name="T31" fmla="*/ 0 h 688"/>
                <a:gd name="T32" fmla="*/ 117 w 1115"/>
                <a:gd name="T33" fmla="*/ 0 h 688"/>
                <a:gd name="T34" fmla="*/ 116 w 1115"/>
                <a:gd name="T35" fmla="*/ 0 h 688"/>
                <a:gd name="T36" fmla="*/ 7 w 1115"/>
                <a:gd name="T37" fmla="*/ 0 h 688"/>
                <a:gd name="T38" fmla="*/ 5 w 1115"/>
                <a:gd name="T39" fmla="*/ 0 h 688"/>
                <a:gd name="T40" fmla="*/ 4 w 1115"/>
                <a:gd name="T41" fmla="*/ 0 h 688"/>
                <a:gd name="T42" fmla="*/ 3 w 1115"/>
                <a:gd name="T43" fmla="*/ 1 h 688"/>
                <a:gd name="T44" fmla="*/ 2 w 1115"/>
                <a:gd name="T45" fmla="*/ 1 h 688"/>
                <a:gd name="T46" fmla="*/ 1 w 1115"/>
                <a:gd name="T47" fmla="*/ 2 h 688"/>
                <a:gd name="T48" fmla="*/ 0 w 1115"/>
                <a:gd name="T49" fmla="*/ 3 h 688"/>
                <a:gd name="T50" fmla="*/ 0 w 1115"/>
                <a:gd name="T51" fmla="*/ 4 h 688"/>
                <a:gd name="T52" fmla="*/ 0 w 1115"/>
                <a:gd name="T53" fmla="*/ 36 h 688"/>
                <a:gd name="T54" fmla="*/ 0 w 1115"/>
                <a:gd name="T55" fmla="*/ 37 h 688"/>
                <a:gd name="T56" fmla="*/ 1 w 1115"/>
                <a:gd name="T57" fmla="*/ 38 h 688"/>
                <a:gd name="T58" fmla="*/ 1 w 1115"/>
                <a:gd name="T59" fmla="*/ 39 h 688"/>
                <a:gd name="T60" fmla="*/ 2 w 1115"/>
                <a:gd name="T61" fmla="*/ 39 h 688"/>
                <a:gd name="T62" fmla="*/ 3 w 1115"/>
                <a:gd name="T63" fmla="*/ 40 h 688"/>
                <a:gd name="T64" fmla="*/ 5 w 1115"/>
                <a:gd name="T65" fmla="*/ 40 h 688"/>
                <a:gd name="T66" fmla="*/ 6 w 1115"/>
                <a:gd name="T67" fmla="*/ 41 h 688"/>
                <a:gd name="T68" fmla="*/ 8 w 1115"/>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5"/>
                <a:gd name="T106" fmla="*/ 0 h 688"/>
                <a:gd name="T107" fmla="*/ 1115 w 1115"/>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5" h="688">
                  <a:moveTo>
                    <a:pt x="68" y="688"/>
                  </a:moveTo>
                  <a:lnTo>
                    <a:pt x="1047" y="688"/>
                  </a:lnTo>
                  <a:lnTo>
                    <a:pt x="1054" y="688"/>
                  </a:lnTo>
                  <a:lnTo>
                    <a:pt x="1060" y="687"/>
                  </a:lnTo>
                  <a:lnTo>
                    <a:pt x="1067" y="685"/>
                  </a:lnTo>
                  <a:lnTo>
                    <a:pt x="1073" y="683"/>
                  </a:lnTo>
                  <a:lnTo>
                    <a:pt x="1080" y="680"/>
                  </a:lnTo>
                  <a:lnTo>
                    <a:pt x="1085" y="677"/>
                  </a:lnTo>
                  <a:lnTo>
                    <a:pt x="1090" y="672"/>
                  </a:lnTo>
                  <a:lnTo>
                    <a:pt x="1094" y="669"/>
                  </a:lnTo>
                  <a:lnTo>
                    <a:pt x="1099" y="663"/>
                  </a:lnTo>
                  <a:lnTo>
                    <a:pt x="1103" y="659"/>
                  </a:lnTo>
                  <a:lnTo>
                    <a:pt x="1107" y="653"/>
                  </a:lnTo>
                  <a:lnTo>
                    <a:pt x="1109" y="646"/>
                  </a:lnTo>
                  <a:lnTo>
                    <a:pt x="1111" y="641"/>
                  </a:lnTo>
                  <a:lnTo>
                    <a:pt x="1114" y="634"/>
                  </a:lnTo>
                  <a:lnTo>
                    <a:pt x="1115" y="627"/>
                  </a:lnTo>
                  <a:lnTo>
                    <a:pt x="1115" y="620"/>
                  </a:lnTo>
                  <a:lnTo>
                    <a:pt x="1115" y="68"/>
                  </a:lnTo>
                  <a:lnTo>
                    <a:pt x="1115" y="61"/>
                  </a:lnTo>
                  <a:lnTo>
                    <a:pt x="1114" y="54"/>
                  </a:lnTo>
                  <a:lnTo>
                    <a:pt x="1111" y="47"/>
                  </a:lnTo>
                  <a:lnTo>
                    <a:pt x="1109" y="41"/>
                  </a:lnTo>
                  <a:lnTo>
                    <a:pt x="1107" y="35"/>
                  </a:lnTo>
                  <a:lnTo>
                    <a:pt x="1103" y="29"/>
                  </a:lnTo>
                  <a:lnTo>
                    <a:pt x="1099" y="24"/>
                  </a:lnTo>
                  <a:lnTo>
                    <a:pt x="1094" y="19"/>
                  </a:lnTo>
                  <a:lnTo>
                    <a:pt x="1090" y="15"/>
                  </a:lnTo>
                  <a:lnTo>
                    <a:pt x="1085" y="11"/>
                  </a:lnTo>
                  <a:lnTo>
                    <a:pt x="1080" y="8"/>
                  </a:lnTo>
                  <a:lnTo>
                    <a:pt x="1073" y="4"/>
                  </a:lnTo>
                  <a:lnTo>
                    <a:pt x="1067" y="2"/>
                  </a:lnTo>
                  <a:lnTo>
                    <a:pt x="1060" y="1"/>
                  </a:lnTo>
                  <a:lnTo>
                    <a:pt x="1054" y="0"/>
                  </a:lnTo>
                  <a:lnTo>
                    <a:pt x="1047" y="0"/>
                  </a:lnTo>
                  <a:lnTo>
                    <a:pt x="68" y="0"/>
                  </a:lnTo>
                  <a:lnTo>
                    <a:pt x="61" y="0"/>
                  </a:lnTo>
                  <a:lnTo>
                    <a:pt x="55" y="1"/>
                  </a:lnTo>
                  <a:lnTo>
                    <a:pt x="49" y="2"/>
                  </a:lnTo>
                  <a:lnTo>
                    <a:pt x="42" y="4"/>
                  </a:lnTo>
                  <a:lnTo>
                    <a:pt x="37" y="8"/>
                  </a:lnTo>
                  <a:lnTo>
                    <a:pt x="31" y="11"/>
                  </a:lnTo>
                  <a:lnTo>
                    <a:pt x="25" y="15"/>
                  </a:lnTo>
                  <a:lnTo>
                    <a:pt x="21" y="19"/>
                  </a:lnTo>
                  <a:lnTo>
                    <a:pt x="16" y="24"/>
                  </a:lnTo>
                  <a:lnTo>
                    <a:pt x="13" y="29"/>
                  </a:lnTo>
                  <a:lnTo>
                    <a:pt x="9" y="35"/>
                  </a:lnTo>
                  <a:lnTo>
                    <a:pt x="6" y="41"/>
                  </a:lnTo>
                  <a:lnTo>
                    <a:pt x="4" y="47"/>
                  </a:lnTo>
                  <a:lnTo>
                    <a:pt x="3" y="54"/>
                  </a:lnTo>
                  <a:lnTo>
                    <a:pt x="2" y="61"/>
                  </a:lnTo>
                  <a:lnTo>
                    <a:pt x="0" y="68"/>
                  </a:lnTo>
                  <a:lnTo>
                    <a:pt x="0" y="620"/>
                  </a:lnTo>
                  <a:lnTo>
                    <a:pt x="2" y="627"/>
                  </a:lnTo>
                  <a:lnTo>
                    <a:pt x="3" y="634"/>
                  </a:lnTo>
                  <a:lnTo>
                    <a:pt x="4" y="641"/>
                  </a:lnTo>
                  <a:lnTo>
                    <a:pt x="6" y="646"/>
                  </a:lnTo>
                  <a:lnTo>
                    <a:pt x="9" y="653"/>
                  </a:lnTo>
                  <a:lnTo>
                    <a:pt x="13" y="659"/>
                  </a:lnTo>
                  <a:lnTo>
                    <a:pt x="16" y="663"/>
                  </a:lnTo>
                  <a:lnTo>
                    <a:pt x="21" y="669"/>
                  </a:lnTo>
                  <a:lnTo>
                    <a:pt x="25" y="672"/>
                  </a:lnTo>
                  <a:lnTo>
                    <a:pt x="31" y="677"/>
                  </a:lnTo>
                  <a:lnTo>
                    <a:pt x="37" y="680"/>
                  </a:lnTo>
                  <a:lnTo>
                    <a:pt x="42" y="683"/>
                  </a:lnTo>
                  <a:lnTo>
                    <a:pt x="49" y="685"/>
                  </a:lnTo>
                  <a:lnTo>
                    <a:pt x="55" y="687"/>
                  </a:lnTo>
                  <a:lnTo>
                    <a:pt x="61" y="688"/>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34" name="Rectangle 690"/>
            <p:cNvSpPr>
              <a:spLocks noChangeArrowheads="1"/>
            </p:cNvSpPr>
            <p:nvPr/>
          </p:nvSpPr>
          <p:spPr bwMode="auto">
            <a:xfrm>
              <a:off x="125" y="1825"/>
              <a:ext cx="31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sset Investment </a:t>
              </a:r>
              <a:endParaRPr lang="en-US" sz="1800" b="0" kern="0" baseline="0">
                <a:solidFill>
                  <a:sysClr val="windowText" lastClr="000000"/>
                </a:solidFill>
                <a:latin typeface="Arial" charset="0"/>
                <a:ea typeface="ＭＳ Ｐゴシック"/>
                <a:cs typeface="ＭＳ Ｐゴシック"/>
              </a:endParaRPr>
            </a:p>
          </p:txBody>
        </p:sp>
        <p:sp>
          <p:nvSpPr>
            <p:cNvPr id="135" name="Rectangle 691"/>
            <p:cNvSpPr>
              <a:spLocks noChangeArrowheads="1"/>
            </p:cNvSpPr>
            <p:nvPr/>
          </p:nvSpPr>
          <p:spPr bwMode="auto">
            <a:xfrm>
              <a:off x="214" y="1859"/>
              <a:ext cx="13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view</a:t>
              </a:r>
              <a:endParaRPr lang="en-US" sz="1800" b="0" kern="0" baseline="0">
                <a:solidFill>
                  <a:sysClr val="windowText" lastClr="000000"/>
                </a:solidFill>
                <a:latin typeface="Arial" charset="0"/>
                <a:ea typeface="ＭＳ Ｐゴシック"/>
                <a:cs typeface="ＭＳ Ｐゴシック"/>
              </a:endParaRPr>
            </a:p>
          </p:txBody>
        </p:sp>
        <p:sp>
          <p:nvSpPr>
            <p:cNvPr id="136" name="Freeform 692"/>
            <p:cNvSpPr>
              <a:spLocks/>
            </p:cNvSpPr>
            <p:nvPr/>
          </p:nvSpPr>
          <p:spPr bwMode="auto">
            <a:xfrm>
              <a:off x="285" y="1540"/>
              <a:ext cx="371" cy="167"/>
            </a:xfrm>
            <a:custGeom>
              <a:avLst/>
              <a:gdLst>
                <a:gd name="T0" fmla="*/ 116 w 1115"/>
                <a:gd name="T1" fmla="*/ 40 h 689"/>
                <a:gd name="T2" fmla="*/ 117 w 1115"/>
                <a:gd name="T3" fmla="*/ 40 h 689"/>
                <a:gd name="T4" fmla="*/ 119 w 1115"/>
                <a:gd name="T5" fmla="*/ 40 h 689"/>
                <a:gd name="T6" fmla="*/ 120 w 1115"/>
                <a:gd name="T7" fmla="*/ 40 h 689"/>
                <a:gd name="T8" fmla="*/ 121 w 1115"/>
                <a:gd name="T9" fmla="*/ 39 h 689"/>
                <a:gd name="T10" fmla="*/ 122 w 1115"/>
                <a:gd name="T11" fmla="*/ 39 h 689"/>
                <a:gd name="T12" fmla="*/ 123 w 1115"/>
                <a:gd name="T13" fmla="*/ 38 h 689"/>
                <a:gd name="T14" fmla="*/ 123 w 1115"/>
                <a:gd name="T15" fmla="*/ 37 h 689"/>
                <a:gd name="T16" fmla="*/ 123 w 1115"/>
                <a:gd name="T17" fmla="*/ 37 h 689"/>
                <a:gd name="T18" fmla="*/ 123 w 1115"/>
                <a:gd name="T19" fmla="*/ 4 h 689"/>
                <a:gd name="T20" fmla="*/ 123 w 1115"/>
                <a:gd name="T21" fmla="*/ 3 h 689"/>
                <a:gd name="T22" fmla="*/ 123 w 1115"/>
                <a:gd name="T23" fmla="*/ 2 h 689"/>
                <a:gd name="T24" fmla="*/ 122 w 1115"/>
                <a:gd name="T25" fmla="*/ 2 h 689"/>
                <a:gd name="T26" fmla="*/ 121 w 1115"/>
                <a:gd name="T27" fmla="*/ 1 h 689"/>
                <a:gd name="T28" fmla="*/ 120 w 1115"/>
                <a:gd name="T29" fmla="*/ 1 h 689"/>
                <a:gd name="T30" fmla="*/ 119 w 1115"/>
                <a:gd name="T31" fmla="*/ 0 h 689"/>
                <a:gd name="T32" fmla="*/ 117 w 1115"/>
                <a:gd name="T33" fmla="*/ 0 h 689"/>
                <a:gd name="T34" fmla="*/ 116 w 1115"/>
                <a:gd name="T35" fmla="*/ 0 h 689"/>
                <a:gd name="T36" fmla="*/ 7 w 1115"/>
                <a:gd name="T37" fmla="*/ 0 h 689"/>
                <a:gd name="T38" fmla="*/ 5 w 1115"/>
                <a:gd name="T39" fmla="*/ 0 h 689"/>
                <a:gd name="T40" fmla="*/ 4 w 1115"/>
                <a:gd name="T41" fmla="*/ 0 h 689"/>
                <a:gd name="T42" fmla="*/ 3 w 1115"/>
                <a:gd name="T43" fmla="*/ 1 h 689"/>
                <a:gd name="T44" fmla="*/ 2 w 1115"/>
                <a:gd name="T45" fmla="*/ 1 h 689"/>
                <a:gd name="T46" fmla="*/ 1 w 1115"/>
                <a:gd name="T47" fmla="*/ 2 h 689"/>
                <a:gd name="T48" fmla="*/ 0 w 1115"/>
                <a:gd name="T49" fmla="*/ 3 h 689"/>
                <a:gd name="T50" fmla="*/ 0 w 1115"/>
                <a:gd name="T51" fmla="*/ 4 h 689"/>
                <a:gd name="T52" fmla="*/ 0 w 1115"/>
                <a:gd name="T53" fmla="*/ 37 h 689"/>
                <a:gd name="T54" fmla="*/ 0 w 1115"/>
                <a:gd name="T55" fmla="*/ 37 h 689"/>
                <a:gd name="T56" fmla="*/ 1 w 1115"/>
                <a:gd name="T57" fmla="*/ 38 h 689"/>
                <a:gd name="T58" fmla="*/ 1 w 1115"/>
                <a:gd name="T59" fmla="*/ 39 h 689"/>
                <a:gd name="T60" fmla="*/ 2 w 1115"/>
                <a:gd name="T61" fmla="*/ 39 h 689"/>
                <a:gd name="T62" fmla="*/ 3 w 1115"/>
                <a:gd name="T63" fmla="*/ 40 h 689"/>
                <a:gd name="T64" fmla="*/ 5 w 1115"/>
                <a:gd name="T65" fmla="*/ 40 h 689"/>
                <a:gd name="T66" fmla="*/ 6 w 1115"/>
                <a:gd name="T67" fmla="*/ 40 h 689"/>
                <a:gd name="T68" fmla="*/ 8 w 1115"/>
                <a:gd name="T69" fmla="*/ 40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5"/>
                <a:gd name="T106" fmla="*/ 0 h 689"/>
                <a:gd name="T107" fmla="*/ 1115 w 1115"/>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5" h="689">
                  <a:moveTo>
                    <a:pt x="68" y="689"/>
                  </a:moveTo>
                  <a:lnTo>
                    <a:pt x="1047" y="689"/>
                  </a:lnTo>
                  <a:lnTo>
                    <a:pt x="1054" y="689"/>
                  </a:lnTo>
                  <a:lnTo>
                    <a:pt x="1060" y="688"/>
                  </a:lnTo>
                  <a:lnTo>
                    <a:pt x="1067" y="686"/>
                  </a:lnTo>
                  <a:lnTo>
                    <a:pt x="1073" y="683"/>
                  </a:lnTo>
                  <a:lnTo>
                    <a:pt x="1080" y="681"/>
                  </a:lnTo>
                  <a:lnTo>
                    <a:pt x="1085" y="678"/>
                  </a:lnTo>
                  <a:lnTo>
                    <a:pt x="1090" y="673"/>
                  </a:lnTo>
                  <a:lnTo>
                    <a:pt x="1096" y="669"/>
                  </a:lnTo>
                  <a:lnTo>
                    <a:pt x="1099" y="664"/>
                  </a:lnTo>
                  <a:lnTo>
                    <a:pt x="1103" y="659"/>
                  </a:lnTo>
                  <a:lnTo>
                    <a:pt x="1107" y="653"/>
                  </a:lnTo>
                  <a:lnTo>
                    <a:pt x="1109" y="647"/>
                  </a:lnTo>
                  <a:lnTo>
                    <a:pt x="1111" y="642"/>
                  </a:lnTo>
                  <a:lnTo>
                    <a:pt x="1114" y="635"/>
                  </a:lnTo>
                  <a:lnTo>
                    <a:pt x="1115" y="628"/>
                  </a:lnTo>
                  <a:lnTo>
                    <a:pt x="1115" y="621"/>
                  </a:lnTo>
                  <a:lnTo>
                    <a:pt x="1115" y="67"/>
                  </a:lnTo>
                  <a:lnTo>
                    <a:pt x="1115" y="61"/>
                  </a:lnTo>
                  <a:lnTo>
                    <a:pt x="1114" y="54"/>
                  </a:lnTo>
                  <a:lnTo>
                    <a:pt x="1111" y="48"/>
                  </a:lnTo>
                  <a:lnTo>
                    <a:pt x="1109" y="41"/>
                  </a:lnTo>
                  <a:lnTo>
                    <a:pt x="1107" y="36"/>
                  </a:lnTo>
                  <a:lnTo>
                    <a:pt x="1103" y="30"/>
                  </a:lnTo>
                  <a:lnTo>
                    <a:pt x="1099" y="24"/>
                  </a:lnTo>
                  <a:lnTo>
                    <a:pt x="1096" y="20"/>
                  </a:lnTo>
                  <a:lnTo>
                    <a:pt x="1090" y="15"/>
                  </a:lnTo>
                  <a:lnTo>
                    <a:pt x="1085" y="12"/>
                  </a:lnTo>
                  <a:lnTo>
                    <a:pt x="1080" y="9"/>
                  </a:lnTo>
                  <a:lnTo>
                    <a:pt x="1073" y="5"/>
                  </a:lnTo>
                  <a:lnTo>
                    <a:pt x="1067" y="3"/>
                  </a:lnTo>
                  <a:lnTo>
                    <a:pt x="1060" y="2"/>
                  </a:lnTo>
                  <a:lnTo>
                    <a:pt x="1054" y="1"/>
                  </a:lnTo>
                  <a:lnTo>
                    <a:pt x="1047" y="0"/>
                  </a:lnTo>
                  <a:lnTo>
                    <a:pt x="68" y="0"/>
                  </a:lnTo>
                  <a:lnTo>
                    <a:pt x="61" y="1"/>
                  </a:lnTo>
                  <a:lnTo>
                    <a:pt x="55" y="2"/>
                  </a:lnTo>
                  <a:lnTo>
                    <a:pt x="49" y="3"/>
                  </a:lnTo>
                  <a:lnTo>
                    <a:pt x="42" y="5"/>
                  </a:lnTo>
                  <a:lnTo>
                    <a:pt x="37" y="9"/>
                  </a:lnTo>
                  <a:lnTo>
                    <a:pt x="31" y="12"/>
                  </a:lnTo>
                  <a:lnTo>
                    <a:pt x="25" y="15"/>
                  </a:lnTo>
                  <a:lnTo>
                    <a:pt x="21" y="20"/>
                  </a:lnTo>
                  <a:lnTo>
                    <a:pt x="16" y="24"/>
                  </a:lnTo>
                  <a:lnTo>
                    <a:pt x="13" y="30"/>
                  </a:lnTo>
                  <a:lnTo>
                    <a:pt x="9" y="36"/>
                  </a:lnTo>
                  <a:lnTo>
                    <a:pt x="6" y="41"/>
                  </a:lnTo>
                  <a:lnTo>
                    <a:pt x="4" y="48"/>
                  </a:lnTo>
                  <a:lnTo>
                    <a:pt x="3" y="54"/>
                  </a:lnTo>
                  <a:lnTo>
                    <a:pt x="2" y="61"/>
                  </a:lnTo>
                  <a:lnTo>
                    <a:pt x="0" y="67"/>
                  </a:lnTo>
                  <a:lnTo>
                    <a:pt x="0" y="621"/>
                  </a:lnTo>
                  <a:lnTo>
                    <a:pt x="2" y="628"/>
                  </a:lnTo>
                  <a:lnTo>
                    <a:pt x="3" y="635"/>
                  </a:lnTo>
                  <a:lnTo>
                    <a:pt x="4" y="642"/>
                  </a:lnTo>
                  <a:lnTo>
                    <a:pt x="6" y="647"/>
                  </a:lnTo>
                  <a:lnTo>
                    <a:pt x="9" y="653"/>
                  </a:lnTo>
                  <a:lnTo>
                    <a:pt x="13" y="659"/>
                  </a:lnTo>
                  <a:lnTo>
                    <a:pt x="16" y="664"/>
                  </a:lnTo>
                  <a:lnTo>
                    <a:pt x="21" y="669"/>
                  </a:lnTo>
                  <a:lnTo>
                    <a:pt x="25" y="673"/>
                  </a:lnTo>
                  <a:lnTo>
                    <a:pt x="31" y="678"/>
                  </a:lnTo>
                  <a:lnTo>
                    <a:pt x="37" y="681"/>
                  </a:lnTo>
                  <a:lnTo>
                    <a:pt x="42" y="683"/>
                  </a:lnTo>
                  <a:lnTo>
                    <a:pt x="49" y="686"/>
                  </a:lnTo>
                  <a:lnTo>
                    <a:pt x="55" y="688"/>
                  </a:lnTo>
                  <a:lnTo>
                    <a:pt x="61" y="689"/>
                  </a:lnTo>
                  <a:lnTo>
                    <a:pt x="68" y="689"/>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37" name="Freeform 693"/>
            <p:cNvSpPr>
              <a:spLocks/>
            </p:cNvSpPr>
            <p:nvPr/>
          </p:nvSpPr>
          <p:spPr bwMode="auto">
            <a:xfrm>
              <a:off x="285" y="1540"/>
              <a:ext cx="371" cy="167"/>
            </a:xfrm>
            <a:custGeom>
              <a:avLst/>
              <a:gdLst>
                <a:gd name="T0" fmla="*/ 116 w 1115"/>
                <a:gd name="T1" fmla="*/ 40 h 689"/>
                <a:gd name="T2" fmla="*/ 117 w 1115"/>
                <a:gd name="T3" fmla="*/ 40 h 689"/>
                <a:gd name="T4" fmla="*/ 119 w 1115"/>
                <a:gd name="T5" fmla="*/ 40 h 689"/>
                <a:gd name="T6" fmla="*/ 120 w 1115"/>
                <a:gd name="T7" fmla="*/ 40 h 689"/>
                <a:gd name="T8" fmla="*/ 121 w 1115"/>
                <a:gd name="T9" fmla="*/ 39 h 689"/>
                <a:gd name="T10" fmla="*/ 122 w 1115"/>
                <a:gd name="T11" fmla="*/ 39 h 689"/>
                <a:gd name="T12" fmla="*/ 123 w 1115"/>
                <a:gd name="T13" fmla="*/ 38 h 689"/>
                <a:gd name="T14" fmla="*/ 123 w 1115"/>
                <a:gd name="T15" fmla="*/ 37 h 689"/>
                <a:gd name="T16" fmla="*/ 123 w 1115"/>
                <a:gd name="T17" fmla="*/ 37 h 689"/>
                <a:gd name="T18" fmla="*/ 123 w 1115"/>
                <a:gd name="T19" fmla="*/ 4 h 689"/>
                <a:gd name="T20" fmla="*/ 123 w 1115"/>
                <a:gd name="T21" fmla="*/ 3 h 689"/>
                <a:gd name="T22" fmla="*/ 123 w 1115"/>
                <a:gd name="T23" fmla="*/ 2 h 689"/>
                <a:gd name="T24" fmla="*/ 122 w 1115"/>
                <a:gd name="T25" fmla="*/ 2 h 689"/>
                <a:gd name="T26" fmla="*/ 121 w 1115"/>
                <a:gd name="T27" fmla="*/ 1 h 689"/>
                <a:gd name="T28" fmla="*/ 120 w 1115"/>
                <a:gd name="T29" fmla="*/ 1 h 689"/>
                <a:gd name="T30" fmla="*/ 119 w 1115"/>
                <a:gd name="T31" fmla="*/ 0 h 689"/>
                <a:gd name="T32" fmla="*/ 117 w 1115"/>
                <a:gd name="T33" fmla="*/ 0 h 689"/>
                <a:gd name="T34" fmla="*/ 116 w 1115"/>
                <a:gd name="T35" fmla="*/ 0 h 689"/>
                <a:gd name="T36" fmla="*/ 7 w 1115"/>
                <a:gd name="T37" fmla="*/ 0 h 689"/>
                <a:gd name="T38" fmla="*/ 5 w 1115"/>
                <a:gd name="T39" fmla="*/ 0 h 689"/>
                <a:gd name="T40" fmla="*/ 4 w 1115"/>
                <a:gd name="T41" fmla="*/ 0 h 689"/>
                <a:gd name="T42" fmla="*/ 3 w 1115"/>
                <a:gd name="T43" fmla="*/ 1 h 689"/>
                <a:gd name="T44" fmla="*/ 2 w 1115"/>
                <a:gd name="T45" fmla="*/ 1 h 689"/>
                <a:gd name="T46" fmla="*/ 1 w 1115"/>
                <a:gd name="T47" fmla="*/ 2 h 689"/>
                <a:gd name="T48" fmla="*/ 0 w 1115"/>
                <a:gd name="T49" fmla="*/ 3 h 689"/>
                <a:gd name="T50" fmla="*/ 0 w 1115"/>
                <a:gd name="T51" fmla="*/ 4 h 689"/>
                <a:gd name="T52" fmla="*/ 0 w 1115"/>
                <a:gd name="T53" fmla="*/ 37 h 689"/>
                <a:gd name="T54" fmla="*/ 0 w 1115"/>
                <a:gd name="T55" fmla="*/ 37 h 689"/>
                <a:gd name="T56" fmla="*/ 1 w 1115"/>
                <a:gd name="T57" fmla="*/ 38 h 689"/>
                <a:gd name="T58" fmla="*/ 1 w 1115"/>
                <a:gd name="T59" fmla="*/ 39 h 689"/>
                <a:gd name="T60" fmla="*/ 2 w 1115"/>
                <a:gd name="T61" fmla="*/ 39 h 689"/>
                <a:gd name="T62" fmla="*/ 3 w 1115"/>
                <a:gd name="T63" fmla="*/ 40 h 689"/>
                <a:gd name="T64" fmla="*/ 5 w 1115"/>
                <a:gd name="T65" fmla="*/ 40 h 689"/>
                <a:gd name="T66" fmla="*/ 6 w 1115"/>
                <a:gd name="T67" fmla="*/ 40 h 689"/>
                <a:gd name="T68" fmla="*/ 8 w 1115"/>
                <a:gd name="T69" fmla="*/ 40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5"/>
                <a:gd name="T106" fmla="*/ 0 h 689"/>
                <a:gd name="T107" fmla="*/ 1115 w 1115"/>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5" h="689">
                  <a:moveTo>
                    <a:pt x="68" y="689"/>
                  </a:moveTo>
                  <a:lnTo>
                    <a:pt x="1047" y="689"/>
                  </a:lnTo>
                  <a:lnTo>
                    <a:pt x="1054" y="689"/>
                  </a:lnTo>
                  <a:lnTo>
                    <a:pt x="1060" y="688"/>
                  </a:lnTo>
                  <a:lnTo>
                    <a:pt x="1067" y="686"/>
                  </a:lnTo>
                  <a:lnTo>
                    <a:pt x="1073" y="683"/>
                  </a:lnTo>
                  <a:lnTo>
                    <a:pt x="1080" y="681"/>
                  </a:lnTo>
                  <a:lnTo>
                    <a:pt x="1085" y="678"/>
                  </a:lnTo>
                  <a:lnTo>
                    <a:pt x="1090" y="673"/>
                  </a:lnTo>
                  <a:lnTo>
                    <a:pt x="1096" y="669"/>
                  </a:lnTo>
                  <a:lnTo>
                    <a:pt x="1099" y="664"/>
                  </a:lnTo>
                  <a:lnTo>
                    <a:pt x="1103" y="659"/>
                  </a:lnTo>
                  <a:lnTo>
                    <a:pt x="1107" y="653"/>
                  </a:lnTo>
                  <a:lnTo>
                    <a:pt x="1109" y="647"/>
                  </a:lnTo>
                  <a:lnTo>
                    <a:pt x="1111" y="642"/>
                  </a:lnTo>
                  <a:lnTo>
                    <a:pt x="1114" y="635"/>
                  </a:lnTo>
                  <a:lnTo>
                    <a:pt x="1115" y="628"/>
                  </a:lnTo>
                  <a:lnTo>
                    <a:pt x="1115" y="621"/>
                  </a:lnTo>
                  <a:lnTo>
                    <a:pt x="1115" y="67"/>
                  </a:lnTo>
                  <a:lnTo>
                    <a:pt x="1115" y="61"/>
                  </a:lnTo>
                  <a:lnTo>
                    <a:pt x="1114" y="54"/>
                  </a:lnTo>
                  <a:lnTo>
                    <a:pt x="1111" y="48"/>
                  </a:lnTo>
                  <a:lnTo>
                    <a:pt x="1109" y="41"/>
                  </a:lnTo>
                  <a:lnTo>
                    <a:pt x="1107" y="36"/>
                  </a:lnTo>
                  <a:lnTo>
                    <a:pt x="1103" y="30"/>
                  </a:lnTo>
                  <a:lnTo>
                    <a:pt x="1099" y="24"/>
                  </a:lnTo>
                  <a:lnTo>
                    <a:pt x="1096" y="20"/>
                  </a:lnTo>
                  <a:lnTo>
                    <a:pt x="1090" y="15"/>
                  </a:lnTo>
                  <a:lnTo>
                    <a:pt x="1085" y="12"/>
                  </a:lnTo>
                  <a:lnTo>
                    <a:pt x="1080" y="9"/>
                  </a:lnTo>
                  <a:lnTo>
                    <a:pt x="1073" y="5"/>
                  </a:lnTo>
                  <a:lnTo>
                    <a:pt x="1067" y="3"/>
                  </a:lnTo>
                  <a:lnTo>
                    <a:pt x="1060" y="2"/>
                  </a:lnTo>
                  <a:lnTo>
                    <a:pt x="1054" y="1"/>
                  </a:lnTo>
                  <a:lnTo>
                    <a:pt x="1047" y="0"/>
                  </a:lnTo>
                  <a:lnTo>
                    <a:pt x="68" y="0"/>
                  </a:lnTo>
                  <a:lnTo>
                    <a:pt x="61" y="1"/>
                  </a:lnTo>
                  <a:lnTo>
                    <a:pt x="55" y="2"/>
                  </a:lnTo>
                  <a:lnTo>
                    <a:pt x="49" y="3"/>
                  </a:lnTo>
                  <a:lnTo>
                    <a:pt x="42" y="5"/>
                  </a:lnTo>
                  <a:lnTo>
                    <a:pt x="37" y="9"/>
                  </a:lnTo>
                  <a:lnTo>
                    <a:pt x="31" y="12"/>
                  </a:lnTo>
                  <a:lnTo>
                    <a:pt x="25" y="15"/>
                  </a:lnTo>
                  <a:lnTo>
                    <a:pt x="21" y="20"/>
                  </a:lnTo>
                  <a:lnTo>
                    <a:pt x="16" y="24"/>
                  </a:lnTo>
                  <a:lnTo>
                    <a:pt x="13" y="30"/>
                  </a:lnTo>
                  <a:lnTo>
                    <a:pt x="9" y="36"/>
                  </a:lnTo>
                  <a:lnTo>
                    <a:pt x="6" y="41"/>
                  </a:lnTo>
                  <a:lnTo>
                    <a:pt x="4" y="48"/>
                  </a:lnTo>
                  <a:lnTo>
                    <a:pt x="3" y="54"/>
                  </a:lnTo>
                  <a:lnTo>
                    <a:pt x="2" y="61"/>
                  </a:lnTo>
                  <a:lnTo>
                    <a:pt x="0" y="67"/>
                  </a:lnTo>
                  <a:lnTo>
                    <a:pt x="0" y="621"/>
                  </a:lnTo>
                  <a:lnTo>
                    <a:pt x="2" y="628"/>
                  </a:lnTo>
                  <a:lnTo>
                    <a:pt x="3" y="635"/>
                  </a:lnTo>
                  <a:lnTo>
                    <a:pt x="4" y="642"/>
                  </a:lnTo>
                  <a:lnTo>
                    <a:pt x="6" y="647"/>
                  </a:lnTo>
                  <a:lnTo>
                    <a:pt x="9" y="653"/>
                  </a:lnTo>
                  <a:lnTo>
                    <a:pt x="13" y="659"/>
                  </a:lnTo>
                  <a:lnTo>
                    <a:pt x="16" y="664"/>
                  </a:lnTo>
                  <a:lnTo>
                    <a:pt x="21" y="669"/>
                  </a:lnTo>
                  <a:lnTo>
                    <a:pt x="25" y="673"/>
                  </a:lnTo>
                  <a:lnTo>
                    <a:pt x="31" y="678"/>
                  </a:lnTo>
                  <a:lnTo>
                    <a:pt x="37" y="681"/>
                  </a:lnTo>
                  <a:lnTo>
                    <a:pt x="42" y="683"/>
                  </a:lnTo>
                  <a:lnTo>
                    <a:pt x="49" y="686"/>
                  </a:lnTo>
                  <a:lnTo>
                    <a:pt x="55" y="688"/>
                  </a:lnTo>
                  <a:lnTo>
                    <a:pt x="61" y="689"/>
                  </a:lnTo>
                  <a:lnTo>
                    <a:pt x="68" y="689"/>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38" name="Rectangle 694"/>
            <p:cNvSpPr>
              <a:spLocks noChangeArrowheads="1"/>
            </p:cNvSpPr>
            <p:nvPr/>
          </p:nvSpPr>
          <p:spPr bwMode="auto">
            <a:xfrm>
              <a:off x="330" y="1589"/>
              <a:ext cx="9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Long </a:t>
              </a:r>
              <a:endParaRPr lang="en-US" sz="1800" b="0" kern="0" baseline="0">
                <a:solidFill>
                  <a:sysClr val="windowText" lastClr="000000"/>
                </a:solidFill>
                <a:latin typeface="Arial" charset="0"/>
                <a:ea typeface="ＭＳ Ｐゴシック"/>
                <a:cs typeface="ＭＳ Ｐゴシック"/>
              </a:endParaRPr>
            </a:p>
          </p:txBody>
        </p:sp>
        <p:sp>
          <p:nvSpPr>
            <p:cNvPr id="139" name="Rectangle 695"/>
            <p:cNvSpPr>
              <a:spLocks noChangeArrowheads="1"/>
            </p:cNvSpPr>
            <p:nvPr/>
          </p:nvSpPr>
          <p:spPr bwMode="auto">
            <a:xfrm>
              <a:off x="430" y="1589"/>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140" name="Rectangle 696"/>
            <p:cNvSpPr>
              <a:spLocks noChangeArrowheads="1"/>
            </p:cNvSpPr>
            <p:nvPr/>
          </p:nvSpPr>
          <p:spPr bwMode="auto">
            <a:xfrm>
              <a:off x="468" y="1589"/>
              <a:ext cx="15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edium </a:t>
              </a:r>
              <a:endParaRPr lang="en-US" sz="1800" b="0" kern="0" baseline="0">
                <a:solidFill>
                  <a:sysClr val="windowText" lastClr="000000"/>
                </a:solidFill>
                <a:latin typeface="Arial" charset="0"/>
                <a:ea typeface="ＭＳ Ｐゴシック"/>
                <a:cs typeface="ＭＳ Ｐゴシック"/>
              </a:endParaRPr>
            </a:p>
          </p:txBody>
        </p:sp>
        <p:sp>
          <p:nvSpPr>
            <p:cNvPr id="141" name="Rectangle 697"/>
            <p:cNvSpPr>
              <a:spLocks noChangeArrowheads="1"/>
            </p:cNvSpPr>
            <p:nvPr/>
          </p:nvSpPr>
          <p:spPr bwMode="auto">
            <a:xfrm>
              <a:off x="340" y="1623"/>
              <a:ext cx="25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Term Planning</a:t>
              </a:r>
              <a:endParaRPr lang="en-US" sz="1800" b="0" kern="0" baseline="0">
                <a:solidFill>
                  <a:sysClr val="windowText" lastClr="000000"/>
                </a:solidFill>
                <a:latin typeface="Arial" charset="0"/>
                <a:ea typeface="ＭＳ Ｐゴシック"/>
                <a:cs typeface="ＭＳ Ｐゴシック"/>
              </a:endParaRPr>
            </a:p>
          </p:txBody>
        </p:sp>
        <p:sp>
          <p:nvSpPr>
            <p:cNvPr id="142" name="Freeform 698"/>
            <p:cNvSpPr>
              <a:spLocks/>
            </p:cNvSpPr>
            <p:nvPr/>
          </p:nvSpPr>
          <p:spPr bwMode="auto">
            <a:xfrm>
              <a:off x="306" y="2008"/>
              <a:ext cx="371" cy="167"/>
            </a:xfrm>
            <a:custGeom>
              <a:avLst/>
              <a:gdLst>
                <a:gd name="T0" fmla="*/ 116 w 1114"/>
                <a:gd name="T1" fmla="*/ 41 h 688"/>
                <a:gd name="T2" fmla="*/ 118 w 1114"/>
                <a:gd name="T3" fmla="*/ 41 h 688"/>
                <a:gd name="T4" fmla="*/ 119 w 1114"/>
                <a:gd name="T5" fmla="*/ 40 h 688"/>
                <a:gd name="T6" fmla="*/ 120 w 1114"/>
                <a:gd name="T7" fmla="*/ 40 h 688"/>
                <a:gd name="T8" fmla="*/ 121 w 1114"/>
                <a:gd name="T9" fmla="*/ 39 h 688"/>
                <a:gd name="T10" fmla="*/ 122 w 1114"/>
                <a:gd name="T11" fmla="*/ 39 h 688"/>
                <a:gd name="T12" fmla="*/ 123 w 1114"/>
                <a:gd name="T13" fmla="*/ 38 h 688"/>
                <a:gd name="T14" fmla="*/ 124 w 1114"/>
                <a:gd name="T15" fmla="*/ 37 h 688"/>
                <a:gd name="T16" fmla="*/ 124 w 1114"/>
                <a:gd name="T17" fmla="*/ 37 h 688"/>
                <a:gd name="T18" fmla="*/ 124 w 1114"/>
                <a:gd name="T19" fmla="*/ 4 h 688"/>
                <a:gd name="T20" fmla="*/ 124 w 1114"/>
                <a:gd name="T21" fmla="*/ 3 h 688"/>
                <a:gd name="T22" fmla="*/ 123 w 1114"/>
                <a:gd name="T23" fmla="*/ 2 h 688"/>
                <a:gd name="T24" fmla="*/ 122 w 1114"/>
                <a:gd name="T25" fmla="*/ 2 h 688"/>
                <a:gd name="T26" fmla="*/ 121 w 1114"/>
                <a:gd name="T27" fmla="*/ 1 h 688"/>
                <a:gd name="T28" fmla="*/ 120 w 1114"/>
                <a:gd name="T29" fmla="*/ 1 h 688"/>
                <a:gd name="T30" fmla="*/ 119 w 1114"/>
                <a:gd name="T31" fmla="*/ 0 h 688"/>
                <a:gd name="T32" fmla="*/ 118 w 1114"/>
                <a:gd name="T33" fmla="*/ 0 h 688"/>
                <a:gd name="T34" fmla="*/ 116 w 1114"/>
                <a:gd name="T35" fmla="*/ 0 h 688"/>
                <a:gd name="T36" fmla="*/ 7 w 1114"/>
                <a:gd name="T37" fmla="*/ 0 h 688"/>
                <a:gd name="T38" fmla="*/ 5 w 1114"/>
                <a:gd name="T39" fmla="*/ 0 h 688"/>
                <a:gd name="T40" fmla="*/ 4 w 1114"/>
                <a:gd name="T41" fmla="*/ 0 h 688"/>
                <a:gd name="T42" fmla="*/ 3 w 1114"/>
                <a:gd name="T43" fmla="*/ 1 h 688"/>
                <a:gd name="T44" fmla="*/ 2 w 1114"/>
                <a:gd name="T45" fmla="*/ 1 h 688"/>
                <a:gd name="T46" fmla="*/ 1 w 1114"/>
                <a:gd name="T47" fmla="*/ 2 h 688"/>
                <a:gd name="T48" fmla="*/ 0 w 1114"/>
                <a:gd name="T49" fmla="*/ 3 h 688"/>
                <a:gd name="T50" fmla="*/ 0 w 1114"/>
                <a:gd name="T51" fmla="*/ 4 h 688"/>
                <a:gd name="T52" fmla="*/ 0 w 1114"/>
                <a:gd name="T53" fmla="*/ 37 h 688"/>
                <a:gd name="T54" fmla="*/ 0 w 1114"/>
                <a:gd name="T55" fmla="*/ 37 h 688"/>
                <a:gd name="T56" fmla="*/ 1 w 1114"/>
                <a:gd name="T57" fmla="*/ 38 h 688"/>
                <a:gd name="T58" fmla="*/ 1 w 1114"/>
                <a:gd name="T59" fmla="*/ 39 h 688"/>
                <a:gd name="T60" fmla="*/ 2 w 1114"/>
                <a:gd name="T61" fmla="*/ 39 h 688"/>
                <a:gd name="T62" fmla="*/ 3 w 1114"/>
                <a:gd name="T63" fmla="*/ 40 h 688"/>
                <a:gd name="T64" fmla="*/ 5 w 1114"/>
                <a:gd name="T65" fmla="*/ 40 h 688"/>
                <a:gd name="T66" fmla="*/ 6 w 1114"/>
                <a:gd name="T67" fmla="*/ 41 h 688"/>
                <a:gd name="T68" fmla="*/ 7 w 1114"/>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4"/>
                <a:gd name="T106" fmla="*/ 0 h 688"/>
                <a:gd name="T107" fmla="*/ 1114 w 1114"/>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4" h="688">
                  <a:moveTo>
                    <a:pt x="67" y="688"/>
                  </a:moveTo>
                  <a:lnTo>
                    <a:pt x="1046" y="688"/>
                  </a:lnTo>
                  <a:lnTo>
                    <a:pt x="1053" y="688"/>
                  </a:lnTo>
                  <a:lnTo>
                    <a:pt x="1060" y="687"/>
                  </a:lnTo>
                  <a:lnTo>
                    <a:pt x="1066" y="686"/>
                  </a:lnTo>
                  <a:lnTo>
                    <a:pt x="1072" y="684"/>
                  </a:lnTo>
                  <a:lnTo>
                    <a:pt x="1078" y="681"/>
                  </a:lnTo>
                  <a:lnTo>
                    <a:pt x="1083" y="677"/>
                  </a:lnTo>
                  <a:lnTo>
                    <a:pt x="1089" y="674"/>
                  </a:lnTo>
                  <a:lnTo>
                    <a:pt x="1094" y="669"/>
                  </a:lnTo>
                  <a:lnTo>
                    <a:pt x="1098" y="664"/>
                  </a:lnTo>
                  <a:lnTo>
                    <a:pt x="1103" y="659"/>
                  </a:lnTo>
                  <a:lnTo>
                    <a:pt x="1106" y="653"/>
                  </a:lnTo>
                  <a:lnTo>
                    <a:pt x="1108" y="648"/>
                  </a:lnTo>
                  <a:lnTo>
                    <a:pt x="1110" y="641"/>
                  </a:lnTo>
                  <a:lnTo>
                    <a:pt x="1113" y="634"/>
                  </a:lnTo>
                  <a:lnTo>
                    <a:pt x="1114" y="627"/>
                  </a:lnTo>
                  <a:lnTo>
                    <a:pt x="1114" y="621"/>
                  </a:lnTo>
                  <a:lnTo>
                    <a:pt x="1114" y="68"/>
                  </a:lnTo>
                  <a:lnTo>
                    <a:pt x="1114" y="61"/>
                  </a:lnTo>
                  <a:lnTo>
                    <a:pt x="1113" y="54"/>
                  </a:lnTo>
                  <a:lnTo>
                    <a:pt x="1110" y="48"/>
                  </a:lnTo>
                  <a:lnTo>
                    <a:pt x="1108" y="42"/>
                  </a:lnTo>
                  <a:lnTo>
                    <a:pt x="1106" y="35"/>
                  </a:lnTo>
                  <a:lnTo>
                    <a:pt x="1103" y="29"/>
                  </a:lnTo>
                  <a:lnTo>
                    <a:pt x="1098" y="25"/>
                  </a:lnTo>
                  <a:lnTo>
                    <a:pt x="1094" y="19"/>
                  </a:lnTo>
                  <a:lnTo>
                    <a:pt x="1089" y="16"/>
                  </a:lnTo>
                  <a:lnTo>
                    <a:pt x="1083" y="11"/>
                  </a:lnTo>
                  <a:lnTo>
                    <a:pt x="1078" y="8"/>
                  </a:lnTo>
                  <a:lnTo>
                    <a:pt x="1072" y="6"/>
                  </a:lnTo>
                  <a:lnTo>
                    <a:pt x="1066" y="3"/>
                  </a:lnTo>
                  <a:lnTo>
                    <a:pt x="1060" y="1"/>
                  </a:lnTo>
                  <a:lnTo>
                    <a:pt x="1053" y="0"/>
                  </a:lnTo>
                  <a:lnTo>
                    <a:pt x="1046" y="0"/>
                  </a:lnTo>
                  <a:lnTo>
                    <a:pt x="67" y="0"/>
                  </a:lnTo>
                  <a:lnTo>
                    <a:pt x="61" y="0"/>
                  </a:lnTo>
                  <a:lnTo>
                    <a:pt x="54" y="1"/>
                  </a:lnTo>
                  <a:lnTo>
                    <a:pt x="47" y="3"/>
                  </a:lnTo>
                  <a:lnTo>
                    <a:pt x="41" y="6"/>
                  </a:lnTo>
                  <a:lnTo>
                    <a:pt x="36" y="8"/>
                  </a:lnTo>
                  <a:lnTo>
                    <a:pt x="30" y="11"/>
                  </a:lnTo>
                  <a:lnTo>
                    <a:pt x="24" y="16"/>
                  </a:lnTo>
                  <a:lnTo>
                    <a:pt x="20" y="19"/>
                  </a:lnTo>
                  <a:lnTo>
                    <a:pt x="15" y="25"/>
                  </a:lnTo>
                  <a:lnTo>
                    <a:pt x="11" y="29"/>
                  </a:lnTo>
                  <a:lnTo>
                    <a:pt x="7" y="35"/>
                  </a:lnTo>
                  <a:lnTo>
                    <a:pt x="5" y="42"/>
                  </a:lnTo>
                  <a:lnTo>
                    <a:pt x="3" y="48"/>
                  </a:lnTo>
                  <a:lnTo>
                    <a:pt x="1" y="54"/>
                  </a:lnTo>
                  <a:lnTo>
                    <a:pt x="0" y="61"/>
                  </a:lnTo>
                  <a:lnTo>
                    <a:pt x="0" y="68"/>
                  </a:lnTo>
                  <a:lnTo>
                    <a:pt x="0" y="621"/>
                  </a:lnTo>
                  <a:lnTo>
                    <a:pt x="0" y="627"/>
                  </a:lnTo>
                  <a:lnTo>
                    <a:pt x="1" y="634"/>
                  </a:lnTo>
                  <a:lnTo>
                    <a:pt x="3" y="641"/>
                  </a:lnTo>
                  <a:lnTo>
                    <a:pt x="5" y="648"/>
                  </a:lnTo>
                  <a:lnTo>
                    <a:pt x="7" y="653"/>
                  </a:lnTo>
                  <a:lnTo>
                    <a:pt x="11" y="659"/>
                  </a:lnTo>
                  <a:lnTo>
                    <a:pt x="15" y="664"/>
                  </a:lnTo>
                  <a:lnTo>
                    <a:pt x="20" y="669"/>
                  </a:lnTo>
                  <a:lnTo>
                    <a:pt x="24" y="674"/>
                  </a:lnTo>
                  <a:lnTo>
                    <a:pt x="30" y="677"/>
                  </a:lnTo>
                  <a:lnTo>
                    <a:pt x="36" y="681"/>
                  </a:lnTo>
                  <a:lnTo>
                    <a:pt x="41" y="684"/>
                  </a:lnTo>
                  <a:lnTo>
                    <a:pt x="47" y="686"/>
                  </a:lnTo>
                  <a:lnTo>
                    <a:pt x="54" y="687"/>
                  </a:lnTo>
                  <a:lnTo>
                    <a:pt x="61" y="688"/>
                  </a:lnTo>
                  <a:lnTo>
                    <a:pt x="67" y="688"/>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43" name="Freeform 699"/>
            <p:cNvSpPr>
              <a:spLocks/>
            </p:cNvSpPr>
            <p:nvPr/>
          </p:nvSpPr>
          <p:spPr bwMode="auto">
            <a:xfrm>
              <a:off x="306" y="2008"/>
              <a:ext cx="371" cy="167"/>
            </a:xfrm>
            <a:custGeom>
              <a:avLst/>
              <a:gdLst>
                <a:gd name="T0" fmla="*/ 116 w 1114"/>
                <a:gd name="T1" fmla="*/ 41 h 688"/>
                <a:gd name="T2" fmla="*/ 118 w 1114"/>
                <a:gd name="T3" fmla="*/ 41 h 688"/>
                <a:gd name="T4" fmla="*/ 119 w 1114"/>
                <a:gd name="T5" fmla="*/ 40 h 688"/>
                <a:gd name="T6" fmla="*/ 120 w 1114"/>
                <a:gd name="T7" fmla="*/ 40 h 688"/>
                <a:gd name="T8" fmla="*/ 121 w 1114"/>
                <a:gd name="T9" fmla="*/ 39 h 688"/>
                <a:gd name="T10" fmla="*/ 122 w 1114"/>
                <a:gd name="T11" fmla="*/ 39 h 688"/>
                <a:gd name="T12" fmla="*/ 123 w 1114"/>
                <a:gd name="T13" fmla="*/ 38 h 688"/>
                <a:gd name="T14" fmla="*/ 124 w 1114"/>
                <a:gd name="T15" fmla="*/ 37 h 688"/>
                <a:gd name="T16" fmla="*/ 124 w 1114"/>
                <a:gd name="T17" fmla="*/ 37 h 688"/>
                <a:gd name="T18" fmla="*/ 124 w 1114"/>
                <a:gd name="T19" fmla="*/ 4 h 688"/>
                <a:gd name="T20" fmla="*/ 124 w 1114"/>
                <a:gd name="T21" fmla="*/ 3 h 688"/>
                <a:gd name="T22" fmla="*/ 123 w 1114"/>
                <a:gd name="T23" fmla="*/ 2 h 688"/>
                <a:gd name="T24" fmla="*/ 122 w 1114"/>
                <a:gd name="T25" fmla="*/ 2 h 688"/>
                <a:gd name="T26" fmla="*/ 121 w 1114"/>
                <a:gd name="T27" fmla="*/ 1 h 688"/>
                <a:gd name="T28" fmla="*/ 120 w 1114"/>
                <a:gd name="T29" fmla="*/ 1 h 688"/>
                <a:gd name="T30" fmla="*/ 119 w 1114"/>
                <a:gd name="T31" fmla="*/ 0 h 688"/>
                <a:gd name="T32" fmla="*/ 118 w 1114"/>
                <a:gd name="T33" fmla="*/ 0 h 688"/>
                <a:gd name="T34" fmla="*/ 116 w 1114"/>
                <a:gd name="T35" fmla="*/ 0 h 688"/>
                <a:gd name="T36" fmla="*/ 7 w 1114"/>
                <a:gd name="T37" fmla="*/ 0 h 688"/>
                <a:gd name="T38" fmla="*/ 5 w 1114"/>
                <a:gd name="T39" fmla="*/ 0 h 688"/>
                <a:gd name="T40" fmla="*/ 4 w 1114"/>
                <a:gd name="T41" fmla="*/ 0 h 688"/>
                <a:gd name="T42" fmla="*/ 3 w 1114"/>
                <a:gd name="T43" fmla="*/ 1 h 688"/>
                <a:gd name="T44" fmla="*/ 2 w 1114"/>
                <a:gd name="T45" fmla="*/ 1 h 688"/>
                <a:gd name="T46" fmla="*/ 1 w 1114"/>
                <a:gd name="T47" fmla="*/ 2 h 688"/>
                <a:gd name="T48" fmla="*/ 0 w 1114"/>
                <a:gd name="T49" fmla="*/ 3 h 688"/>
                <a:gd name="T50" fmla="*/ 0 w 1114"/>
                <a:gd name="T51" fmla="*/ 4 h 688"/>
                <a:gd name="T52" fmla="*/ 0 w 1114"/>
                <a:gd name="T53" fmla="*/ 37 h 688"/>
                <a:gd name="T54" fmla="*/ 0 w 1114"/>
                <a:gd name="T55" fmla="*/ 37 h 688"/>
                <a:gd name="T56" fmla="*/ 1 w 1114"/>
                <a:gd name="T57" fmla="*/ 38 h 688"/>
                <a:gd name="T58" fmla="*/ 1 w 1114"/>
                <a:gd name="T59" fmla="*/ 39 h 688"/>
                <a:gd name="T60" fmla="*/ 2 w 1114"/>
                <a:gd name="T61" fmla="*/ 39 h 688"/>
                <a:gd name="T62" fmla="*/ 3 w 1114"/>
                <a:gd name="T63" fmla="*/ 40 h 688"/>
                <a:gd name="T64" fmla="*/ 5 w 1114"/>
                <a:gd name="T65" fmla="*/ 40 h 688"/>
                <a:gd name="T66" fmla="*/ 6 w 1114"/>
                <a:gd name="T67" fmla="*/ 41 h 688"/>
                <a:gd name="T68" fmla="*/ 7 w 1114"/>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4"/>
                <a:gd name="T106" fmla="*/ 0 h 688"/>
                <a:gd name="T107" fmla="*/ 1114 w 1114"/>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4" h="688">
                  <a:moveTo>
                    <a:pt x="67" y="688"/>
                  </a:moveTo>
                  <a:lnTo>
                    <a:pt x="1046" y="688"/>
                  </a:lnTo>
                  <a:lnTo>
                    <a:pt x="1053" y="688"/>
                  </a:lnTo>
                  <a:lnTo>
                    <a:pt x="1060" y="687"/>
                  </a:lnTo>
                  <a:lnTo>
                    <a:pt x="1066" y="686"/>
                  </a:lnTo>
                  <a:lnTo>
                    <a:pt x="1072" y="684"/>
                  </a:lnTo>
                  <a:lnTo>
                    <a:pt x="1078" y="681"/>
                  </a:lnTo>
                  <a:lnTo>
                    <a:pt x="1083" y="677"/>
                  </a:lnTo>
                  <a:lnTo>
                    <a:pt x="1089" y="674"/>
                  </a:lnTo>
                  <a:lnTo>
                    <a:pt x="1094" y="669"/>
                  </a:lnTo>
                  <a:lnTo>
                    <a:pt x="1098" y="664"/>
                  </a:lnTo>
                  <a:lnTo>
                    <a:pt x="1103" y="659"/>
                  </a:lnTo>
                  <a:lnTo>
                    <a:pt x="1106" y="653"/>
                  </a:lnTo>
                  <a:lnTo>
                    <a:pt x="1108" y="648"/>
                  </a:lnTo>
                  <a:lnTo>
                    <a:pt x="1110" y="641"/>
                  </a:lnTo>
                  <a:lnTo>
                    <a:pt x="1113" y="634"/>
                  </a:lnTo>
                  <a:lnTo>
                    <a:pt x="1114" y="627"/>
                  </a:lnTo>
                  <a:lnTo>
                    <a:pt x="1114" y="621"/>
                  </a:lnTo>
                  <a:lnTo>
                    <a:pt x="1114" y="68"/>
                  </a:lnTo>
                  <a:lnTo>
                    <a:pt x="1114" y="61"/>
                  </a:lnTo>
                  <a:lnTo>
                    <a:pt x="1113" y="54"/>
                  </a:lnTo>
                  <a:lnTo>
                    <a:pt x="1110" y="48"/>
                  </a:lnTo>
                  <a:lnTo>
                    <a:pt x="1108" y="42"/>
                  </a:lnTo>
                  <a:lnTo>
                    <a:pt x="1106" y="35"/>
                  </a:lnTo>
                  <a:lnTo>
                    <a:pt x="1103" y="29"/>
                  </a:lnTo>
                  <a:lnTo>
                    <a:pt x="1098" y="25"/>
                  </a:lnTo>
                  <a:lnTo>
                    <a:pt x="1094" y="19"/>
                  </a:lnTo>
                  <a:lnTo>
                    <a:pt x="1089" y="16"/>
                  </a:lnTo>
                  <a:lnTo>
                    <a:pt x="1083" y="11"/>
                  </a:lnTo>
                  <a:lnTo>
                    <a:pt x="1078" y="8"/>
                  </a:lnTo>
                  <a:lnTo>
                    <a:pt x="1072" y="6"/>
                  </a:lnTo>
                  <a:lnTo>
                    <a:pt x="1066" y="3"/>
                  </a:lnTo>
                  <a:lnTo>
                    <a:pt x="1060" y="1"/>
                  </a:lnTo>
                  <a:lnTo>
                    <a:pt x="1053" y="0"/>
                  </a:lnTo>
                  <a:lnTo>
                    <a:pt x="1046" y="0"/>
                  </a:lnTo>
                  <a:lnTo>
                    <a:pt x="67" y="0"/>
                  </a:lnTo>
                  <a:lnTo>
                    <a:pt x="61" y="0"/>
                  </a:lnTo>
                  <a:lnTo>
                    <a:pt x="54" y="1"/>
                  </a:lnTo>
                  <a:lnTo>
                    <a:pt x="47" y="3"/>
                  </a:lnTo>
                  <a:lnTo>
                    <a:pt x="41" y="6"/>
                  </a:lnTo>
                  <a:lnTo>
                    <a:pt x="36" y="8"/>
                  </a:lnTo>
                  <a:lnTo>
                    <a:pt x="30" y="11"/>
                  </a:lnTo>
                  <a:lnTo>
                    <a:pt x="24" y="16"/>
                  </a:lnTo>
                  <a:lnTo>
                    <a:pt x="20" y="19"/>
                  </a:lnTo>
                  <a:lnTo>
                    <a:pt x="15" y="25"/>
                  </a:lnTo>
                  <a:lnTo>
                    <a:pt x="11" y="29"/>
                  </a:lnTo>
                  <a:lnTo>
                    <a:pt x="7" y="35"/>
                  </a:lnTo>
                  <a:lnTo>
                    <a:pt x="5" y="42"/>
                  </a:lnTo>
                  <a:lnTo>
                    <a:pt x="3" y="48"/>
                  </a:lnTo>
                  <a:lnTo>
                    <a:pt x="1" y="54"/>
                  </a:lnTo>
                  <a:lnTo>
                    <a:pt x="0" y="61"/>
                  </a:lnTo>
                  <a:lnTo>
                    <a:pt x="0" y="68"/>
                  </a:lnTo>
                  <a:lnTo>
                    <a:pt x="0" y="621"/>
                  </a:lnTo>
                  <a:lnTo>
                    <a:pt x="0" y="627"/>
                  </a:lnTo>
                  <a:lnTo>
                    <a:pt x="1" y="634"/>
                  </a:lnTo>
                  <a:lnTo>
                    <a:pt x="3" y="641"/>
                  </a:lnTo>
                  <a:lnTo>
                    <a:pt x="5" y="648"/>
                  </a:lnTo>
                  <a:lnTo>
                    <a:pt x="7" y="653"/>
                  </a:lnTo>
                  <a:lnTo>
                    <a:pt x="11" y="659"/>
                  </a:lnTo>
                  <a:lnTo>
                    <a:pt x="15" y="664"/>
                  </a:lnTo>
                  <a:lnTo>
                    <a:pt x="20" y="669"/>
                  </a:lnTo>
                  <a:lnTo>
                    <a:pt x="24" y="674"/>
                  </a:lnTo>
                  <a:lnTo>
                    <a:pt x="30" y="677"/>
                  </a:lnTo>
                  <a:lnTo>
                    <a:pt x="36" y="681"/>
                  </a:lnTo>
                  <a:lnTo>
                    <a:pt x="41" y="684"/>
                  </a:lnTo>
                  <a:lnTo>
                    <a:pt x="47" y="686"/>
                  </a:lnTo>
                  <a:lnTo>
                    <a:pt x="54" y="687"/>
                  </a:lnTo>
                  <a:lnTo>
                    <a:pt x="61" y="688"/>
                  </a:lnTo>
                  <a:lnTo>
                    <a:pt x="67"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44" name="Rectangle 700"/>
            <p:cNvSpPr>
              <a:spLocks noChangeArrowheads="1"/>
            </p:cNvSpPr>
            <p:nvPr/>
          </p:nvSpPr>
          <p:spPr bwMode="auto">
            <a:xfrm>
              <a:off x="372" y="2057"/>
              <a:ext cx="13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apital </a:t>
              </a:r>
              <a:endParaRPr lang="en-US" sz="1800" b="0" kern="0" baseline="0">
                <a:solidFill>
                  <a:sysClr val="windowText" lastClr="000000"/>
                </a:solidFill>
                <a:latin typeface="Arial" charset="0"/>
                <a:ea typeface="ＭＳ Ｐゴシック"/>
                <a:cs typeface="ＭＳ Ｐゴシック"/>
              </a:endParaRPr>
            </a:p>
          </p:txBody>
        </p:sp>
        <p:sp>
          <p:nvSpPr>
            <p:cNvPr id="145" name="Rectangle 701"/>
            <p:cNvSpPr>
              <a:spLocks noChangeArrowheads="1"/>
            </p:cNvSpPr>
            <p:nvPr/>
          </p:nvSpPr>
          <p:spPr bwMode="auto">
            <a:xfrm>
              <a:off x="508" y="2057"/>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146" name="Rectangle 702"/>
            <p:cNvSpPr>
              <a:spLocks noChangeArrowheads="1"/>
            </p:cNvSpPr>
            <p:nvPr/>
          </p:nvSpPr>
          <p:spPr bwMode="auto">
            <a:xfrm>
              <a:off x="546" y="2057"/>
              <a:ext cx="7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OM </a:t>
              </a:r>
              <a:endParaRPr lang="en-US" sz="1800" b="0" kern="0" baseline="0">
                <a:solidFill>
                  <a:sysClr val="windowText" lastClr="000000"/>
                </a:solidFill>
                <a:latin typeface="Arial" charset="0"/>
                <a:ea typeface="ＭＳ Ｐゴシック"/>
                <a:cs typeface="ＭＳ Ｐゴシック"/>
              </a:endParaRPr>
            </a:p>
          </p:txBody>
        </p:sp>
        <p:sp>
          <p:nvSpPr>
            <p:cNvPr id="147" name="Rectangle 703"/>
            <p:cNvSpPr>
              <a:spLocks noChangeArrowheads="1"/>
            </p:cNvSpPr>
            <p:nvPr/>
          </p:nvSpPr>
          <p:spPr bwMode="auto">
            <a:xfrm>
              <a:off x="401" y="2092"/>
              <a:ext cx="17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Budgeting</a:t>
              </a:r>
              <a:endParaRPr lang="en-US" sz="1800" b="0" kern="0" baseline="0">
                <a:solidFill>
                  <a:sysClr val="windowText" lastClr="000000"/>
                </a:solidFill>
                <a:latin typeface="Arial" charset="0"/>
                <a:ea typeface="ＭＳ Ｐゴシック"/>
                <a:cs typeface="ＭＳ Ｐゴシック"/>
              </a:endParaRPr>
            </a:p>
          </p:txBody>
        </p:sp>
        <p:sp>
          <p:nvSpPr>
            <p:cNvPr id="148" name="Freeform 704"/>
            <p:cNvSpPr>
              <a:spLocks/>
            </p:cNvSpPr>
            <p:nvPr/>
          </p:nvSpPr>
          <p:spPr bwMode="auto">
            <a:xfrm>
              <a:off x="509" y="1776"/>
              <a:ext cx="371" cy="167"/>
            </a:xfrm>
            <a:custGeom>
              <a:avLst/>
              <a:gdLst>
                <a:gd name="T0" fmla="*/ 116 w 1114"/>
                <a:gd name="T1" fmla="*/ 41 h 688"/>
                <a:gd name="T2" fmla="*/ 118 w 1114"/>
                <a:gd name="T3" fmla="*/ 41 h 688"/>
                <a:gd name="T4" fmla="*/ 119 w 1114"/>
                <a:gd name="T5" fmla="*/ 40 h 688"/>
                <a:gd name="T6" fmla="*/ 120 w 1114"/>
                <a:gd name="T7" fmla="*/ 40 h 688"/>
                <a:gd name="T8" fmla="*/ 121 w 1114"/>
                <a:gd name="T9" fmla="*/ 39 h 688"/>
                <a:gd name="T10" fmla="*/ 122 w 1114"/>
                <a:gd name="T11" fmla="*/ 39 h 688"/>
                <a:gd name="T12" fmla="*/ 123 w 1114"/>
                <a:gd name="T13" fmla="*/ 38 h 688"/>
                <a:gd name="T14" fmla="*/ 124 w 1114"/>
                <a:gd name="T15" fmla="*/ 37 h 688"/>
                <a:gd name="T16" fmla="*/ 124 w 1114"/>
                <a:gd name="T17" fmla="*/ 36 h 688"/>
                <a:gd name="T18" fmla="*/ 124 w 1114"/>
                <a:gd name="T19" fmla="*/ 4 h 688"/>
                <a:gd name="T20" fmla="*/ 124 w 1114"/>
                <a:gd name="T21" fmla="*/ 3 h 688"/>
                <a:gd name="T22" fmla="*/ 123 w 1114"/>
                <a:gd name="T23" fmla="*/ 2 h 688"/>
                <a:gd name="T24" fmla="*/ 122 w 1114"/>
                <a:gd name="T25" fmla="*/ 2 h 688"/>
                <a:gd name="T26" fmla="*/ 121 w 1114"/>
                <a:gd name="T27" fmla="*/ 1 h 688"/>
                <a:gd name="T28" fmla="*/ 120 w 1114"/>
                <a:gd name="T29" fmla="*/ 1 h 688"/>
                <a:gd name="T30" fmla="*/ 119 w 1114"/>
                <a:gd name="T31" fmla="*/ 0 h 688"/>
                <a:gd name="T32" fmla="*/ 118 w 1114"/>
                <a:gd name="T33" fmla="*/ 0 h 688"/>
                <a:gd name="T34" fmla="*/ 116 w 1114"/>
                <a:gd name="T35" fmla="*/ 0 h 688"/>
                <a:gd name="T36" fmla="*/ 7 w 1114"/>
                <a:gd name="T37" fmla="*/ 0 h 688"/>
                <a:gd name="T38" fmla="*/ 5 w 1114"/>
                <a:gd name="T39" fmla="*/ 0 h 688"/>
                <a:gd name="T40" fmla="*/ 4 w 1114"/>
                <a:gd name="T41" fmla="*/ 0 h 688"/>
                <a:gd name="T42" fmla="*/ 3 w 1114"/>
                <a:gd name="T43" fmla="*/ 1 h 688"/>
                <a:gd name="T44" fmla="*/ 2 w 1114"/>
                <a:gd name="T45" fmla="*/ 1 h 688"/>
                <a:gd name="T46" fmla="*/ 1 w 1114"/>
                <a:gd name="T47" fmla="*/ 2 h 688"/>
                <a:gd name="T48" fmla="*/ 0 w 1114"/>
                <a:gd name="T49" fmla="*/ 3 h 688"/>
                <a:gd name="T50" fmla="*/ 0 w 1114"/>
                <a:gd name="T51" fmla="*/ 4 h 688"/>
                <a:gd name="T52" fmla="*/ 0 w 1114"/>
                <a:gd name="T53" fmla="*/ 36 h 688"/>
                <a:gd name="T54" fmla="*/ 0 w 1114"/>
                <a:gd name="T55" fmla="*/ 37 h 688"/>
                <a:gd name="T56" fmla="*/ 1 w 1114"/>
                <a:gd name="T57" fmla="*/ 38 h 688"/>
                <a:gd name="T58" fmla="*/ 1 w 1114"/>
                <a:gd name="T59" fmla="*/ 39 h 688"/>
                <a:gd name="T60" fmla="*/ 2 w 1114"/>
                <a:gd name="T61" fmla="*/ 39 h 688"/>
                <a:gd name="T62" fmla="*/ 3 w 1114"/>
                <a:gd name="T63" fmla="*/ 40 h 688"/>
                <a:gd name="T64" fmla="*/ 5 w 1114"/>
                <a:gd name="T65" fmla="*/ 40 h 688"/>
                <a:gd name="T66" fmla="*/ 6 w 1114"/>
                <a:gd name="T67" fmla="*/ 41 h 688"/>
                <a:gd name="T68" fmla="*/ 8 w 1114"/>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4"/>
                <a:gd name="T106" fmla="*/ 0 h 688"/>
                <a:gd name="T107" fmla="*/ 1114 w 1114"/>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4" h="688">
                  <a:moveTo>
                    <a:pt x="68" y="688"/>
                  </a:moveTo>
                  <a:lnTo>
                    <a:pt x="1046" y="688"/>
                  </a:lnTo>
                  <a:lnTo>
                    <a:pt x="1053" y="688"/>
                  </a:lnTo>
                  <a:lnTo>
                    <a:pt x="1060" y="687"/>
                  </a:lnTo>
                  <a:lnTo>
                    <a:pt x="1067" y="685"/>
                  </a:lnTo>
                  <a:lnTo>
                    <a:pt x="1072" y="683"/>
                  </a:lnTo>
                  <a:lnTo>
                    <a:pt x="1078" y="680"/>
                  </a:lnTo>
                  <a:lnTo>
                    <a:pt x="1084" y="677"/>
                  </a:lnTo>
                  <a:lnTo>
                    <a:pt x="1089" y="672"/>
                  </a:lnTo>
                  <a:lnTo>
                    <a:pt x="1094" y="669"/>
                  </a:lnTo>
                  <a:lnTo>
                    <a:pt x="1098" y="663"/>
                  </a:lnTo>
                  <a:lnTo>
                    <a:pt x="1103" y="659"/>
                  </a:lnTo>
                  <a:lnTo>
                    <a:pt x="1106" y="653"/>
                  </a:lnTo>
                  <a:lnTo>
                    <a:pt x="1108" y="646"/>
                  </a:lnTo>
                  <a:lnTo>
                    <a:pt x="1111" y="641"/>
                  </a:lnTo>
                  <a:lnTo>
                    <a:pt x="1113" y="634"/>
                  </a:lnTo>
                  <a:lnTo>
                    <a:pt x="1113" y="627"/>
                  </a:lnTo>
                  <a:lnTo>
                    <a:pt x="1114" y="620"/>
                  </a:lnTo>
                  <a:lnTo>
                    <a:pt x="1114" y="68"/>
                  </a:lnTo>
                  <a:lnTo>
                    <a:pt x="1113" y="61"/>
                  </a:lnTo>
                  <a:lnTo>
                    <a:pt x="1113" y="54"/>
                  </a:lnTo>
                  <a:lnTo>
                    <a:pt x="1111" y="47"/>
                  </a:lnTo>
                  <a:lnTo>
                    <a:pt x="1108" y="41"/>
                  </a:lnTo>
                  <a:lnTo>
                    <a:pt x="1106" y="35"/>
                  </a:lnTo>
                  <a:lnTo>
                    <a:pt x="1103" y="29"/>
                  </a:lnTo>
                  <a:lnTo>
                    <a:pt x="1098" y="24"/>
                  </a:lnTo>
                  <a:lnTo>
                    <a:pt x="1094" y="19"/>
                  </a:lnTo>
                  <a:lnTo>
                    <a:pt x="1089" y="15"/>
                  </a:lnTo>
                  <a:lnTo>
                    <a:pt x="1084" y="11"/>
                  </a:lnTo>
                  <a:lnTo>
                    <a:pt x="1078" y="8"/>
                  </a:lnTo>
                  <a:lnTo>
                    <a:pt x="1072" y="4"/>
                  </a:lnTo>
                  <a:lnTo>
                    <a:pt x="1067" y="2"/>
                  </a:lnTo>
                  <a:lnTo>
                    <a:pt x="1060" y="1"/>
                  </a:lnTo>
                  <a:lnTo>
                    <a:pt x="1053" y="0"/>
                  </a:lnTo>
                  <a:lnTo>
                    <a:pt x="1046" y="0"/>
                  </a:lnTo>
                  <a:lnTo>
                    <a:pt x="68" y="0"/>
                  </a:lnTo>
                  <a:lnTo>
                    <a:pt x="61" y="0"/>
                  </a:lnTo>
                  <a:lnTo>
                    <a:pt x="54" y="1"/>
                  </a:lnTo>
                  <a:lnTo>
                    <a:pt x="47" y="2"/>
                  </a:lnTo>
                  <a:lnTo>
                    <a:pt x="42" y="4"/>
                  </a:lnTo>
                  <a:lnTo>
                    <a:pt x="35" y="8"/>
                  </a:lnTo>
                  <a:lnTo>
                    <a:pt x="29" y="11"/>
                  </a:lnTo>
                  <a:lnTo>
                    <a:pt x="25" y="15"/>
                  </a:lnTo>
                  <a:lnTo>
                    <a:pt x="20" y="19"/>
                  </a:lnTo>
                  <a:lnTo>
                    <a:pt x="16" y="24"/>
                  </a:lnTo>
                  <a:lnTo>
                    <a:pt x="11" y="29"/>
                  </a:lnTo>
                  <a:lnTo>
                    <a:pt x="8" y="35"/>
                  </a:lnTo>
                  <a:lnTo>
                    <a:pt x="5" y="41"/>
                  </a:lnTo>
                  <a:lnTo>
                    <a:pt x="3" y="47"/>
                  </a:lnTo>
                  <a:lnTo>
                    <a:pt x="1" y="54"/>
                  </a:lnTo>
                  <a:lnTo>
                    <a:pt x="0" y="61"/>
                  </a:lnTo>
                  <a:lnTo>
                    <a:pt x="0" y="68"/>
                  </a:lnTo>
                  <a:lnTo>
                    <a:pt x="0" y="620"/>
                  </a:lnTo>
                  <a:lnTo>
                    <a:pt x="0" y="627"/>
                  </a:lnTo>
                  <a:lnTo>
                    <a:pt x="1" y="634"/>
                  </a:lnTo>
                  <a:lnTo>
                    <a:pt x="3" y="641"/>
                  </a:lnTo>
                  <a:lnTo>
                    <a:pt x="5" y="646"/>
                  </a:lnTo>
                  <a:lnTo>
                    <a:pt x="8" y="653"/>
                  </a:lnTo>
                  <a:lnTo>
                    <a:pt x="11" y="659"/>
                  </a:lnTo>
                  <a:lnTo>
                    <a:pt x="16" y="663"/>
                  </a:lnTo>
                  <a:lnTo>
                    <a:pt x="20" y="669"/>
                  </a:lnTo>
                  <a:lnTo>
                    <a:pt x="25" y="672"/>
                  </a:lnTo>
                  <a:lnTo>
                    <a:pt x="29" y="677"/>
                  </a:lnTo>
                  <a:lnTo>
                    <a:pt x="35" y="680"/>
                  </a:lnTo>
                  <a:lnTo>
                    <a:pt x="42" y="683"/>
                  </a:lnTo>
                  <a:lnTo>
                    <a:pt x="47" y="685"/>
                  </a:lnTo>
                  <a:lnTo>
                    <a:pt x="54" y="687"/>
                  </a:lnTo>
                  <a:lnTo>
                    <a:pt x="61" y="688"/>
                  </a:lnTo>
                  <a:lnTo>
                    <a:pt x="68" y="688"/>
                  </a:lnTo>
                  <a:close/>
                </a:path>
              </a:pathLst>
            </a:custGeom>
            <a:solidFill>
              <a:srgbClr val="00CC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49" name="Freeform 705"/>
            <p:cNvSpPr>
              <a:spLocks/>
            </p:cNvSpPr>
            <p:nvPr/>
          </p:nvSpPr>
          <p:spPr bwMode="auto">
            <a:xfrm>
              <a:off x="509" y="1776"/>
              <a:ext cx="371" cy="167"/>
            </a:xfrm>
            <a:custGeom>
              <a:avLst/>
              <a:gdLst>
                <a:gd name="T0" fmla="*/ 116 w 1114"/>
                <a:gd name="T1" fmla="*/ 41 h 688"/>
                <a:gd name="T2" fmla="*/ 118 w 1114"/>
                <a:gd name="T3" fmla="*/ 41 h 688"/>
                <a:gd name="T4" fmla="*/ 119 w 1114"/>
                <a:gd name="T5" fmla="*/ 40 h 688"/>
                <a:gd name="T6" fmla="*/ 120 w 1114"/>
                <a:gd name="T7" fmla="*/ 40 h 688"/>
                <a:gd name="T8" fmla="*/ 121 w 1114"/>
                <a:gd name="T9" fmla="*/ 39 h 688"/>
                <a:gd name="T10" fmla="*/ 122 w 1114"/>
                <a:gd name="T11" fmla="*/ 39 h 688"/>
                <a:gd name="T12" fmla="*/ 123 w 1114"/>
                <a:gd name="T13" fmla="*/ 38 h 688"/>
                <a:gd name="T14" fmla="*/ 124 w 1114"/>
                <a:gd name="T15" fmla="*/ 37 h 688"/>
                <a:gd name="T16" fmla="*/ 124 w 1114"/>
                <a:gd name="T17" fmla="*/ 36 h 688"/>
                <a:gd name="T18" fmla="*/ 124 w 1114"/>
                <a:gd name="T19" fmla="*/ 4 h 688"/>
                <a:gd name="T20" fmla="*/ 124 w 1114"/>
                <a:gd name="T21" fmla="*/ 3 h 688"/>
                <a:gd name="T22" fmla="*/ 123 w 1114"/>
                <a:gd name="T23" fmla="*/ 2 h 688"/>
                <a:gd name="T24" fmla="*/ 122 w 1114"/>
                <a:gd name="T25" fmla="*/ 2 h 688"/>
                <a:gd name="T26" fmla="*/ 121 w 1114"/>
                <a:gd name="T27" fmla="*/ 1 h 688"/>
                <a:gd name="T28" fmla="*/ 120 w 1114"/>
                <a:gd name="T29" fmla="*/ 1 h 688"/>
                <a:gd name="T30" fmla="*/ 119 w 1114"/>
                <a:gd name="T31" fmla="*/ 0 h 688"/>
                <a:gd name="T32" fmla="*/ 118 w 1114"/>
                <a:gd name="T33" fmla="*/ 0 h 688"/>
                <a:gd name="T34" fmla="*/ 116 w 1114"/>
                <a:gd name="T35" fmla="*/ 0 h 688"/>
                <a:gd name="T36" fmla="*/ 7 w 1114"/>
                <a:gd name="T37" fmla="*/ 0 h 688"/>
                <a:gd name="T38" fmla="*/ 5 w 1114"/>
                <a:gd name="T39" fmla="*/ 0 h 688"/>
                <a:gd name="T40" fmla="*/ 4 w 1114"/>
                <a:gd name="T41" fmla="*/ 0 h 688"/>
                <a:gd name="T42" fmla="*/ 3 w 1114"/>
                <a:gd name="T43" fmla="*/ 1 h 688"/>
                <a:gd name="T44" fmla="*/ 2 w 1114"/>
                <a:gd name="T45" fmla="*/ 1 h 688"/>
                <a:gd name="T46" fmla="*/ 1 w 1114"/>
                <a:gd name="T47" fmla="*/ 2 h 688"/>
                <a:gd name="T48" fmla="*/ 0 w 1114"/>
                <a:gd name="T49" fmla="*/ 3 h 688"/>
                <a:gd name="T50" fmla="*/ 0 w 1114"/>
                <a:gd name="T51" fmla="*/ 4 h 688"/>
                <a:gd name="T52" fmla="*/ 0 w 1114"/>
                <a:gd name="T53" fmla="*/ 36 h 688"/>
                <a:gd name="T54" fmla="*/ 0 w 1114"/>
                <a:gd name="T55" fmla="*/ 37 h 688"/>
                <a:gd name="T56" fmla="*/ 1 w 1114"/>
                <a:gd name="T57" fmla="*/ 38 h 688"/>
                <a:gd name="T58" fmla="*/ 1 w 1114"/>
                <a:gd name="T59" fmla="*/ 39 h 688"/>
                <a:gd name="T60" fmla="*/ 2 w 1114"/>
                <a:gd name="T61" fmla="*/ 39 h 688"/>
                <a:gd name="T62" fmla="*/ 3 w 1114"/>
                <a:gd name="T63" fmla="*/ 40 h 688"/>
                <a:gd name="T64" fmla="*/ 5 w 1114"/>
                <a:gd name="T65" fmla="*/ 40 h 688"/>
                <a:gd name="T66" fmla="*/ 6 w 1114"/>
                <a:gd name="T67" fmla="*/ 41 h 688"/>
                <a:gd name="T68" fmla="*/ 8 w 1114"/>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4"/>
                <a:gd name="T106" fmla="*/ 0 h 688"/>
                <a:gd name="T107" fmla="*/ 1114 w 1114"/>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4" h="688">
                  <a:moveTo>
                    <a:pt x="68" y="688"/>
                  </a:moveTo>
                  <a:lnTo>
                    <a:pt x="1046" y="688"/>
                  </a:lnTo>
                  <a:lnTo>
                    <a:pt x="1053" y="688"/>
                  </a:lnTo>
                  <a:lnTo>
                    <a:pt x="1060" y="687"/>
                  </a:lnTo>
                  <a:lnTo>
                    <a:pt x="1067" y="685"/>
                  </a:lnTo>
                  <a:lnTo>
                    <a:pt x="1072" y="683"/>
                  </a:lnTo>
                  <a:lnTo>
                    <a:pt x="1078" y="680"/>
                  </a:lnTo>
                  <a:lnTo>
                    <a:pt x="1084" y="677"/>
                  </a:lnTo>
                  <a:lnTo>
                    <a:pt x="1089" y="672"/>
                  </a:lnTo>
                  <a:lnTo>
                    <a:pt x="1094" y="669"/>
                  </a:lnTo>
                  <a:lnTo>
                    <a:pt x="1098" y="663"/>
                  </a:lnTo>
                  <a:lnTo>
                    <a:pt x="1103" y="659"/>
                  </a:lnTo>
                  <a:lnTo>
                    <a:pt x="1106" y="653"/>
                  </a:lnTo>
                  <a:lnTo>
                    <a:pt x="1108" y="646"/>
                  </a:lnTo>
                  <a:lnTo>
                    <a:pt x="1111" y="641"/>
                  </a:lnTo>
                  <a:lnTo>
                    <a:pt x="1113" y="634"/>
                  </a:lnTo>
                  <a:lnTo>
                    <a:pt x="1113" y="627"/>
                  </a:lnTo>
                  <a:lnTo>
                    <a:pt x="1114" y="620"/>
                  </a:lnTo>
                  <a:lnTo>
                    <a:pt x="1114" y="68"/>
                  </a:lnTo>
                  <a:lnTo>
                    <a:pt x="1113" y="61"/>
                  </a:lnTo>
                  <a:lnTo>
                    <a:pt x="1113" y="54"/>
                  </a:lnTo>
                  <a:lnTo>
                    <a:pt x="1111" y="47"/>
                  </a:lnTo>
                  <a:lnTo>
                    <a:pt x="1108" y="41"/>
                  </a:lnTo>
                  <a:lnTo>
                    <a:pt x="1106" y="35"/>
                  </a:lnTo>
                  <a:lnTo>
                    <a:pt x="1103" y="29"/>
                  </a:lnTo>
                  <a:lnTo>
                    <a:pt x="1098" y="24"/>
                  </a:lnTo>
                  <a:lnTo>
                    <a:pt x="1094" y="19"/>
                  </a:lnTo>
                  <a:lnTo>
                    <a:pt x="1089" y="15"/>
                  </a:lnTo>
                  <a:lnTo>
                    <a:pt x="1084" y="11"/>
                  </a:lnTo>
                  <a:lnTo>
                    <a:pt x="1078" y="8"/>
                  </a:lnTo>
                  <a:lnTo>
                    <a:pt x="1072" y="4"/>
                  </a:lnTo>
                  <a:lnTo>
                    <a:pt x="1067" y="2"/>
                  </a:lnTo>
                  <a:lnTo>
                    <a:pt x="1060" y="1"/>
                  </a:lnTo>
                  <a:lnTo>
                    <a:pt x="1053" y="0"/>
                  </a:lnTo>
                  <a:lnTo>
                    <a:pt x="1046" y="0"/>
                  </a:lnTo>
                  <a:lnTo>
                    <a:pt x="68" y="0"/>
                  </a:lnTo>
                  <a:lnTo>
                    <a:pt x="61" y="0"/>
                  </a:lnTo>
                  <a:lnTo>
                    <a:pt x="54" y="1"/>
                  </a:lnTo>
                  <a:lnTo>
                    <a:pt x="47" y="2"/>
                  </a:lnTo>
                  <a:lnTo>
                    <a:pt x="42" y="4"/>
                  </a:lnTo>
                  <a:lnTo>
                    <a:pt x="35" y="8"/>
                  </a:lnTo>
                  <a:lnTo>
                    <a:pt x="29" y="11"/>
                  </a:lnTo>
                  <a:lnTo>
                    <a:pt x="25" y="15"/>
                  </a:lnTo>
                  <a:lnTo>
                    <a:pt x="20" y="19"/>
                  </a:lnTo>
                  <a:lnTo>
                    <a:pt x="16" y="24"/>
                  </a:lnTo>
                  <a:lnTo>
                    <a:pt x="11" y="29"/>
                  </a:lnTo>
                  <a:lnTo>
                    <a:pt x="8" y="35"/>
                  </a:lnTo>
                  <a:lnTo>
                    <a:pt x="5" y="41"/>
                  </a:lnTo>
                  <a:lnTo>
                    <a:pt x="3" y="47"/>
                  </a:lnTo>
                  <a:lnTo>
                    <a:pt x="1" y="54"/>
                  </a:lnTo>
                  <a:lnTo>
                    <a:pt x="0" y="61"/>
                  </a:lnTo>
                  <a:lnTo>
                    <a:pt x="0" y="68"/>
                  </a:lnTo>
                  <a:lnTo>
                    <a:pt x="0" y="620"/>
                  </a:lnTo>
                  <a:lnTo>
                    <a:pt x="0" y="627"/>
                  </a:lnTo>
                  <a:lnTo>
                    <a:pt x="1" y="634"/>
                  </a:lnTo>
                  <a:lnTo>
                    <a:pt x="3" y="641"/>
                  </a:lnTo>
                  <a:lnTo>
                    <a:pt x="5" y="646"/>
                  </a:lnTo>
                  <a:lnTo>
                    <a:pt x="8" y="653"/>
                  </a:lnTo>
                  <a:lnTo>
                    <a:pt x="11" y="659"/>
                  </a:lnTo>
                  <a:lnTo>
                    <a:pt x="16" y="663"/>
                  </a:lnTo>
                  <a:lnTo>
                    <a:pt x="20" y="669"/>
                  </a:lnTo>
                  <a:lnTo>
                    <a:pt x="25" y="672"/>
                  </a:lnTo>
                  <a:lnTo>
                    <a:pt x="29" y="677"/>
                  </a:lnTo>
                  <a:lnTo>
                    <a:pt x="35" y="680"/>
                  </a:lnTo>
                  <a:lnTo>
                    <a:pt x="42" y="683"/>
                  </a:lnTo>
                  <a:lnTo>
                    <a:pt x="47" y="685"/>
                  </a:lnTo>
                  <a:lnTo>
                    <a:pt x="54" y="687"/>
                  </a:lnTo>
                  <a:lnTo>
                    <a:pt x="61" y="688"/>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50" name="Rectangle 706"/>
            <p:cNvSpPr>
              <a:spLocks noChangeArrowheads="1"/>
            </p:cNvSpPr>
            <p:nvPr/>
          </p:nvSpPr>
          <p:spPr bwMode="auto">
            <a:xfrm>
              <a:off x="596" y="1825"/>
              <a:ext cx="20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Investment </a:t>
              </a:r>
              <a:endParaRPr lang="en-US" sz="1800" b="0" kern="0" baseline="0">
                <a:solidFill>
                  <a:sysClr val="windowText" lastClr="000000"/>
                </a:solidFill>
                <a:latin typeface="Arial" charset="0"/>
                <a:ea typeface="ＭＳ Ｐゴシック"/>
                <a:cs typeface="ＭＳ Ｐゴシック"/>
              </a:endParaRPr>
            </a:p>
          </p:txBody>
        </p:sp>
        <p:sp>
          <p:nvSpPr>
            <p:cNvPr id="151" name="Rectangle 707"/>
            <p:cNvSpPr>
              <a:spLocks noChangeArrowheads="1"/>
            </p:cNvSpPr>
            <p:nvPr/>
          </p:nvSpPr>
          <p:spPr bwMode="auto">
            <a:xfrm>
              <a:off x="619" y="1859"/>
              <a:ext cx="14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nalysis</a:t>
              </a:r>
              <a:endParaRPr lang="en-US" sz="1800" b="0" kern="0" baseline="0">
                <a:solidFill>
                  <a:sysClr val="windowText" lastClr="000000"/>
                </a:solidFill>
                <a:latin typeface="Arial" charset="0"/>
                <a:ea typeface="ＭＳ Ｐゴシック"/>
                <a:cs typeface="ＭＳ Ｐゴシック"/>
              </a:endParaRPr>
            </a:p>
          </p:txBody>
        </p:sp>
        <p:sp>
          <p:nvSpPr>
            <p:cNvPr id="152" name="Rectangle 708"/>
            <p:cNvSpPr>
              <a:spLocks noChangeArrowheads="1"/>
            </p:cNvSpPr>
            <p:nvPr/>
          </p:nvSpPr>
          <p:spPr bwMode="auto">
            <a:xfrm>
              <a:off x="1502" y="1232"/>
              <a:ext cx="3418" cy="2133"/>
            </a:xfrm>
            <a:prstGeom prst="rect">
              <a:avLst/>
            </a:prstGeom>
            <a:solidFill>
              <a:srgbClr val="6A6ACE"/>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153" name="Rectangle 709"/>
            <p:cNvSpPr>
              <a:spLocks noChangeArrowheads="1"/>
            </p:cNvSpPr>
            <p:nvPr/>
          </p:nvSpPr>
          <p:spPr bwMode="auto">
            <a:xfrm>
              <a:off x="1502" y="1232"/>
              <a:ext cx="3418" cy="2133"/>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154" name="Rectangle 710"/>
            <p:cNvSpPr>
              <a:spLocks noChangeArrowheads="1"/>
            </p:cNvSpPr>
            <p:nvPr/>
          </p:nvSpPr>
          <p:spPr bwMode="auto">
            <a:xfrm>
              <a:off x="2767" y="1246"/>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2</a:t>
              </a:r>
              <a:endParaRPr lang="en-US" sz="1800" b="0" kern="0" baseline="0">
                <a:solidFill>
                  <a:sysClr val="windowText" lastClr="000000"/>
                </a:solidFill>
                <a:latin typeface="Arial" charset="0"/>
                <a:ea typeface="ＭＳ Ｐゴシック"/>
                <a:cs typeface="ＭＳ Ｐゴシック"/>
              </a:endParaRPr>
            </a:p>
          </p:txBody>
        </p:sp>
        <p:sp>
          <p:nvSpPr>
            <p:cNvPr id="155" name="Rectangle 711"/>
            <p:cNvSpPr>
              <a:spLocks noChangeArrowheads="1"/>
            </p:cNvSpPr>
            <p:nvPr/>
          </p:nvSpPr>
          <p:spPr bwMode="auto">
            <a:xfrm>
              <a:off x="2806" y="1246"/>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156" name="Rectangle 712"/>
            <p:cNvSpPr>
              <a:spLocks noChangeArrowheads="1"/>
            </p:cNvSpPr>
            <p:nvPr/>
          </p:nvSpPr>
          <p:spPr bwMode="auto">
            <a:xfrm>
              <a:off x="2845" y="1246"/>
              <a:ext cx="152"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Plan</a:t>
              </a:r>
              <a:endParaRPr lang="en-US" sz="1800" b="0" kern="0" baseline="0">
                <a:solidFill>
                  <a:sysClr val="windowText" lastClr="000000"/>
                </a:solidFill>
                <a:latin typeface="Arial" charset="0"/>
                <a:ea typeface="ＭＳ Ｐゴシック"/>
                <a:cs typeface="ＭＳ Ｐゴシック"/>
              </a:endParaRPr>
            </a:p>
          </p:txBody>
        </p:sp>
        <p:sp>
          <p:nvSpPr>
            <p:cNvPr id="157" name="Rectangle 713"/>
            <p:cNvSpPr>
              <a:spLocks noChangeArrowheads="1"/>
            </p:cNvSpPr>
            <p:nvPr/>
          </p:nvSpPr>
          <p:spPr bwMode="auto">
            <a:xfrm>
              <a:off x="2993" y="1246"/>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158" name="Rectangle 714"/>
            <p:cNvSpPr>
              <a:spLocks noChangeArrowheads="1"/>
            </p:cNvSpPr>
            <p:nvPr/>
          </p:nvSpPr>
          <p:spPr bwMode="auto">
            <a:xfrm>
              <a:off x="3033" y="1246"/>
              <a:ext cx="288"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Manage </a:t>
              </a:r>
              <a:endParaRPr lang="en-US" sz="1800" b="0" kern="0" baseline="0">
                <a:solidFill>
                  <a:sysClr val="windowText" lastClr="000000"/>
                </a:solidFill>
                <a:latin typeface="Arial" charset="0"/>
                <a:ea typeface="ＭＳ Ｐゴシック"/>
                <a:cs typeface="ＭＳ Ｐゴシック"/>
              </a:endParaRPr>
            </a:p>
          </p:txBody>
        </p:sp>
        <p:sp>
          <p:nvSpPr>
            <p:cNvPr id="159" name="Rectangle 715"/>
            <p:cNvSpPr>
              <a:spLocks noChangeArrowheads="1"/>
            </p:cNvSpPr>
            <p:nvPr/>
          </p:nvSpPr>
          <p:spPr bwMode="auto">
            <a:xfrm>
              <a:off x="3314" y="1246"/>
              <a:ext cx="72"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160" name="Rectangle 716"/>
            <p:cNvSpPr>
              <a:spLocks noChangeArrowheads="1"/>
            </p:cNvSpPr>
            <p:nvPr/>
          </p:nvSpPr>
          <p:spPr bwMode="auto">
            <a:xfrm>
              <a:off x="3384" y="1246"/>
              <a:ext cx="276"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Execute</a:t>
              </a:r>
              <a:endParaRPr lang="en-US" sz="1800" b="0" kern="0" baseline="0">
                <a:solidFill>
                  <a:sysClr val="windowText" lastClr="000000"/>
                </a:solidFill>
                <a:latin typeface="Arial" charset="0"/>
                <a:ea typeface="ＭＳ Ｐゴシック"/>
                <a:cs typeface="ＭＳ Ｐゴシック"/>
              </a:endParaRPr>
            </a:p>
          </p:txBody>
        </p:sp>
        <p:sp>
          <p:nvSpPr>
            <p:cNvPr id="161" name="Rectangle 717"/>
            <p:cNvSpPr>
              <a:spLocks noChangeArrowheads="1"/>
            </p:cNvSpPr>
            <p:nvPr/>
          </p:nvSpPr>
          <p:spPr bwMode="auto">
            <a:xfrm>
              <a:off x="3574" y="1387"/>
              <a:ext cx="1331" cy="1643"/>
            </a:xfrm>
            <a:prstGeom prst="rect">
              <a:avLst/>
            </a:prstGeom>
            <a:solidFill>
              <a:srgbClr val="CCCDFF"/>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162" name="Rectangle 718"/>
            <p:cNvSpPr>
              <a:spLocks noChangeArrowheads="1"/>
            </p:cNvSpPr>
            <p:nvPr/>
          </p:nvSpPr>
          <p:spPr bwMode="auto">
            <a:xfrm>
              <a:off x="3574" y="1387"/>
              <a:ext cx="1331" cy="1643"/>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163" name="Rectangle 719"/>
            <p:cNvSpPr>
              <a:spLocks noChangeArrowheads="1"/>
            </p:cNvSpPr>
            <p:nvPr/>
          </p:nvSpPr>
          <p:spPr bwMode="auto">
            <a:xfrm>
              <a:off x="4011" y="1401"/>
              <a:ext cx="31"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2</a:t>
              </a:r>
              <a:endParaRPr lang="en-US" sz="1800" b="0" kern="0" baseline="0">
                <a:solidFill>
                  <a:sysClr val="windowText" lastClr="000000"/>
                </a:solidFill>
                <a:latin typeface="Arial" charset="0"/>
                <a:ea typeface="ＭＳ Ｐゴシック"/>
                <a:cs typeface="ＭＳ Ｐゴシック"/>
              </a:endParaRPr>
            </a:p>
          </p:txBody>
        </p:sp>
        <p:sp>
          <p:nvSpPr>
            <p:cNvPr id="164" name="Rectangle 720"/>
            <p:cNvSpPr>
              <a:spLocks noChangeArrowheads="1"/>
            </p:cNvSpPr>
            <p:nvPr/>
          </p:nvSpPr>
          <p:spPr bwMode="auto">
            <a:xfrm>
              <a:off x="4041" y="1401"/>
              <a:ext cx="1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165" name="Rectangle 721"/>
            <p:cNvSpPr>
              <a:spLocks noChangeArrowheads="1"/>
            </p:cNvSpPr>
            <p:nvPr/>
          </p:nvSpPr>
          <p:spPr bwMode="auto">
            <a:xfrm>
              <a:off x="4057" y="1401"/>
              <a:ext cx="47"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3 </a:t>
              </a:r>
              <a:endParaRPr lang="en-US" sz="1800" b="0" kern="0" baseline="0">
                <a:solidFill>
                  <a:sysClr val="windowText" lastClr="000000"/>
                </a:solidFill>
                <a:latin typeface="Arial" charset="0"/>
                <a:ea typeface="ＭＳ Ｐゴシック"/>
                <a:cs typeface="ＭＳ Ｐゴシック"/>
              </a:endParaRPr>
            </a:p>
          </p:txBody>
        </p:sp>
        <p:sp>
          <p:nvSpPr>
            <p:cNvPr id="166" name="Rectangle 722"/>
            <p:cNvSpPr>
              <a:spLocks noChangeArrowheads="1"/>
            </p:cNvSpPr>
            <p:nvPr/>
          </p:nvSpPr>
          <p:spPr bwMode="auto">
            <a:xfrm>
              <a:off x="4103" y="1401"/>
              <a:ext cx="370"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Execute Work</a:t>
              </a:r>
              <a:endParaRPr lang="en-US" sz="1800" b="0" kern="0" baseline="0">
                <a:solidFill>
                  <a:sysClr val="windowText" lastClr="000000"/>
                </a:solidFill>
                <a:latin typeface="Arial" charset="0"/>
                <a:ea typeface="ＭＳ Ｐゴシック"/>
                <a:cs typeface="ＭＳ Ｐゴシック"/>
              </a:endParaRPr>
            </a:p>
          </p:txBody>
        </p:sp>
        <p:sp>
          <p:nvSpPr>
            <p:cNvPr id="167" name="Freeform 723"/>
            <p:cNvSpPr>
              <a:spLocks/>
            </p:cNvSpPr>
            <p:nvPr/>
          </p:nvSpPr>
          <p:spPr bwMode="auto">
            <a:xfrm>
              <a:off x="3847" y="1549"/>
              <a:ext cx="258" cy="1431"/>
            </a:xfrm>
            <a:custGeom>
              <a:avLst/>
              <a:gdLst>
                <a:gd name="T0" fmla="*/ 78 w 773"/>
                <a:gd name="T1" fmla="*/ 347 h 5894"/>
                <a:gd name="T2" fmla="*/ 80 w 773"/>
                <a:gd name="T3" fmla="*/ 347 h 5894"/>
                <a:gd name="T4" fmla="*/ 81 w 773"/>
                <a:gd name="T5" fmla="*/ 347 h 5894"/>
                <a:gd name="T6" fmla="*/ 83 w 773"/>
                <a:gd name="T7" fmla="*/ 347 h 5894"/>
                <a:gd name="T8" fmla="*/ 84 w 773"/>
                <a:gd name="T9" fmla="*/ 346 h 5894"/>
                <a:gd name="T10" fmla="*/ 85 w 773"/>
                <a:gd name="T11" fmla="*/ 345 h 5894"/>
                <a:gd name="T12" fmla="*/ 85 w 773"/>
                <a:gd name="T13" fmla="*/ 345 h 5894"/>
                <a:gd name="T14" fmla="*/ 86 w 773"/>
                <a:gd name="T15" fmla="*/ 344 h 5894"/>
                <a:gd name="T16" fmla="*/ 86 w 773"/>
                <a:gd name="T17" fmla="*/ 343 h 5894"/>
                <a:gd name="T18" fmla="*/ 86 w 773"/>
                <a:gd name="T19" fmla="*/ 4 h 5894"/>
                <a:gd name="T20" fmla="*/ 86 w 773"/>
                <a:gd name="T21" fmla="*/ 3 h 5894"/>
                <a:gd name="T22" fmla="*/ 85 w 773"/>
                <a:gd name="T23" fmla="*/ 2 h 5894"/>
                <a:gd name="T24" fmla="*/ 85 w 773"/>
                <a:gd name="T25" fmla="*/ 2 h 5894"/>
                <a:gd name="T26" fmla="*/ 84 w 773"/>
                <a:gd name="T27" fmla="*/ 1 h 5894"/>
                <a:gd name="T28" fmla="*/ 83 w 773"/>
                <a:gd name="T29" fmla="*/ 1 h 5894"/>
                <a:gd name="T30" fmla="*/ 81 w 773"/>
                <a:gd name="T31" fmla="*/ 0 h 5894"/>
                <a:gd name="T32" fmla="*/ 80 w 773"/>
                <a:gd name="T33" fmla="*/ 0 h 5894"/>
                <a:gd name="T34" fmla="*/ 78 w 773"/>
                <a:gd name="T35" fmla="*/ 0 h 5894"/>
                <a:gd name="T36" fmla="*/ 7 w 773"/>
                <a:gd name="T37" fmla="*/ 0 h 5894"/>
                <a:gd name="T38" fmla="*/ 5 w 773"/>
                <a:gd name="T39" fmla="*/ 0 h 5894"/>
                <a:gd name="T40" fmla="*/ 4 w 773"/>
                <a:gd name="T41" fmla="*/ 0 h 5894"/>
                <a:gd name="T42" fmla="*/ 3 w 773"/>
                <a:gd name="T43" fmla="*/ 1 h 5894"/>
                <a:gd name="T44" fmla="*/ 2 w 773"/>
                <a:gd name="T45" fmla="*/ 1 h 5894"/>
                <a:gd name="T46" fmla="*/ 1 w 773"/>
                <a:gd name="T47" fmla="*/ 2 h 5894"/>
                <a:gd name="T48" fmla="*/ 0 w 773"/>
                <a:gd name="T49" fmla="*/ 3 h 5894"/>
                <a:gd name="T50" fmla="*/ 0 w 773"/>
                <a:gd name="T51" fmla="*/ 4 h 5894"/>
                <a:gd name="T52" fmla="*/ 0 w 773"/>
                <a:gd name="T53" fmla="*/ 343 h 5894"/>
                <a:gd name="T54" fmla="*/ 0 w 773"/>
                <a:gd name="T55" fmla="*/ 344 h 5894"/>
                <a:gd name="T56" fmla="*/ 1 w 773"/>
                <a:gd name="T57" fmla="*/ 345 h 5894"/>
                <a:gd name="T58" fmla="*/ 1 w 773"/>
                <a:gd name="T59" fmla="*/ 345 h 5894"/>
                <a:gd name="T60" fmla="*/ 2 w 773"/>
                <a:gd name="T61" fmla="*/ 346 h 5894"/>
                <a:gd name="T62" fmla="*/ 3 w 773"/>
                <a:gd name="T63" fmla="*/ 347 h 5894"/>
                <a:gd name="T64" fmla="*/ 5 w 773"/>
                <a:gd name="T65" fmla="*/ 347 h 5894"/>
                <a:gd name="T66" fmla="*/ 6 w 773"/>
                <a:gd name="T67" fmla="*/ 347 h 5894"/>
                <a:gd name="T68" fmla="*/ 8 w 773"/>
                <a:gd name="T69" fmla="*/ 347 h 58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73"/>
                <a:gd name="T106" fmla="*/ 0 h 5894"/>
                <a:gd name="T107" fmla="*/ 773 w 773"/>
                <a:gd name="T108" fmla="*/ 5894 h 58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73" h="5894">
                  <a:moveTo>
                    <a:pt x="68" y="5894"/>
                  </a:moveTo>
                  <a:lnTo>
                    <a:pt x="705" y="5894"/>
                  </a:lnTo>
                  <a:lnTo>
                    <a:pt x="712" y="5892"/>
                  </a:lnTo>
                  <a:lnTo>
                    <a:pt x="719" y="5891"/>
                  </a:lnTo>
                  <a:lnTo>
                    <a:pt x="726" y="5890"/>
                  </a:lnTo>
                  <a:lnTo>
                    <a:pt x="732" y="5888"/>
                  </a:lnTo>
                  <a:lnTo>
                    <a:pt x="738" y="5885"/>
                  </a:lnTo>
                  <a:lnTo>
                    <a:pt x="744" y="5881"/>
                  </a:lnTo>
                  <a:lnTo>
                    <a:pt x="748" y="5878"/>
                  </a:lnTo>
                  <a:lnTo>
                    <a:pt x="754" y="5873"/>
                  </a:lnTo>
                  <a:lnTo>
                    <a:pt x="757" y="5869"/>
                  </a:lnTo>
                  <a:lnTo>
                    <a:pt x="762" y="5863"/>
                  </a:lnTo>
                  <a:lnTo>
                    <a:pt x="765" y="5857"/>
                  </a:lnTo>
                  <a:lnTo>
                    <a:pt x="767" y="5852"/>
                  </a:lnTo>
                  <a:lnTo>
                    <a:pt x="770" y="5845"/>
                  </a:lnTo>
                  <a:lnTo>
                    <a:pt x="772" y="5839"/>
                  </a:lnTo>
                  <a:lnTo>
                    <a:pt x="773" y="5833"/>
                  </a:lnTo>
                  <a:lnTo>
                    <a:pt x="773" y="5826"/>
                  </a:lnTo>
                  <a:lnTo>
                    <a:pt x="773" y="68"/>
                  </a:lnTo>
                  <a:lnTo>
                    <a:pt x="773" y="60"/>
                  </a:lnTo>
                  <a:lnTo>
                    <a:pt x="772" y="53"/>
                  </a:lnTo>
                  <a:lnTo>
                    <a:pt x="770" y="48"/>
                  </a:lnTo>
                  <a:lnTo>
                    <a:pt x="767" y="41"/>
                  </a:lnTo>
                  <a:lnTo>
                    <a:pt x="765" y="35"/>
                  </a:lnTo>
                  <a:lnTo>
                    <a:pt x="762" y="29"/>
                  </a:lnTo>
                  <a:lnTo>
                    <a:pt x="757" y="24"/>
                  </a:lnTo>
                  <a:lnTo>
                    <a:pt x="754" y="19"/>
                  </a:lnTo>
                  <a:lnTo>
                    <a:pt x="748" y="15"/>
                  </a:lnTo>
                  <a:lnTo>
                    <a:pt x="744" y="11"/>
                  </a:lnTo>
                  <a:lnTo>
                    <a:pt x="738" y="8"/>
                  </a:lnTo>
                  <a:lnTo>
                    <a:pt x="732" y="5"/>
                  </a:lnTo>
                  <a:lnTo>
                    <a:pt x="726" y="2"/>
                  </a:lnTo>
                  <a:lnTo>
                    <a:pt x="719" y="1"/>
                  </a:lnTo>
                  <a:lnTo>
                    <a:pt x="712" y="0"/>
                  </a:lnTo>
                  <a:lnTo>
                    <a:pt x="705" y="0"/>
                  </a:lnTo>
                  <a:lnTo>
                    <a:pt x="68" y="0"/>
                  </a:lnTo>
                  <a:lnTo>
                    <a:pt x="60" y="0"/>
                  </a:lnTo>
                  <a:lnTo>
                    <a:pt x="53" y="1"/>
                  </a:lnTo>
                  <a:lnTo>
                    <a:pt x="48" y="2"/>
                  </a:lnTo>
                  <a:lnTo>
                    <a:pt x="41" y="5"/>
                  </a:lnTo>
                  <a:lnTo>
                    <a:pt x="35" y="8"/>
                  </a:lnTo>
                  <a:lnTo>
                    <a:pt x="29" y="11"/>
                  </a:lnTo>
                  <a:lnTo>
                    <a:pt x="24" y="15"/>
                  </a:lnTo>
                  <a:lnTo>
                    <a:pt x="19" y="19"/>
                  </a:lnTo>
                  <a:lnTo>
                    <a:pt x="15" y="24"/>
                  </a:lnTo>
                  <a:lnTo>
                    <a:pt x="11" y="29"/>
                  </a:lnTo>
                  <a:lnTo>
                    <a:pt x="8" y="35"/>
                  </a:lnTo>
                  <a:lnTo>
                    <a:pt x="5" y="41"/>
                  </a:lnTo>
                  <a:lnTo>
                    <a:pt x="2" y="48"/>
                  </a:lnTo>
                  <a:lnTo>
                    <a:pt x="1" y="53"/>
                  </a:lnTo>
                  <a:lnTo>
                    <a:pt x="0" y="60"/>
                  </a:lnTo>
                  <a:lnTo>
                    <a:pt x="0" y="68"/>
                  </a:lnTo>
                  <a:lnTo>
                    <a:pt x="0" y="5826"/>
                  </a:lnTo>
                  <a:lnTo>
                    <a:pt x="0" y="5833"/>
                  </a:lnTo>
                  <a:lnTo>
                    <a:pt x="1" y="5839"/>
                  </a:lnTo>
                  <a:lnTo>
                    <a:pt x="2" y="5845"/>
                  </a:lnTo>
                  <a:lnTo>
                    <a:pt x="5" y="5852"/>
                  </a:lnTo>
                  <a:lnTo>
                    <a:pt x="8" y="5857"/>
                  </a:lnTo>
                  <a:lnTo>
                    <a:pt x="11" y="5863"/>
                  </a:lnTo>
                  <a:lnTo>
                    <a:pt x="15" y="5869"/>
                  </a:lnTo>
                  <a:lnTo>
                    <a:pt x="19" y="5873"/>
                  </a:lnTo>
                  <a:lnTo>
                    <a:pt x="24" y="5878"/>
                  </a:lnTo>
                  <a:lnTo>
                    <a:pt x="29" y="5881"/>
                  </a:lnTo>
                  <a:lnTo>
                    <a:pt x="35" y="5885"/>
                  </a:lnTo>
                  <a:lnTo>
                    <a:pt x="41" y="5888"/>
                  </a:lnTo>
                  <a:lnTo>
                    <a:pt x="48" y="5890"/>
                  </a:lnTo>
                  <a:lnTo>
                    <a:pt x="53" y="5891"/>
                  </a:lnTo>
                  <a:lnTo>
                    <a:pt x="60" y="5892"/>
                  </a:lnTo>
                  <a:lnTo>
                    <a:pt x="68" y="5894"/>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68" name="Freeform 724"/>
            <p:cNvSpPr>
              <a:spLocks/>
            </p:cNvSpPr>
            <p:nvPr/>
          </p:nvSpPr>
          <p:spPr bwMode="auto">
            <a:xfrm>
              <a:off x="3847" y="1549"/>
              <a:ext cx="258" cy="1431"/>
            </a:xfrm>
            <a:custGeom>
              <a:avLst/>
              <a:gdLst>
                <a:gd name="T0" fmla="*/ 78 w 773"/>
                <a:gd name="T1" fmla="*/ 347 h 5894"/>
                <a:gd name="T2" fmla="*/ 80 w 773"/>
                <a:gd name="T3" fmla="*/ 347 h 5894"/>
                <a:gd name="T4" fmla="*/ 81 w 773"/>
                <a:gd name="T5" fmla="*/ 347 h 5894"/>
                <a:gd name="T6" fmla="*/ 83 w 773"/>
                <a:gd name="T7" fmla="*/ 347 h 5894"/>
                <a:gd name="T8" fmla="*/ 84 w 773"/>
                <a:gd name="T9" fmla="*/ 346 h 5894"/>
                <a:gd name="T10" fmla="*/ 85 w 773"/>
                <a:gd name="T11" fmla="*/ 345 h 5894"/>
                <a:gd name="T12" fmla="*/ 85 w 773"/>
                <a:gd name="T13" fmla="*/ 345 h 5894"/>
                <a:gd name="T14" fmla="*/ 86 w 773"/>
                <a:gd name="T15" fmla="*/ 344 h 5894"/>
                <a:gd name="T16" fmla="*/ 86 w 773"/>
                <a:gd name="T17" fmla="*/ 343 h 5894"/>
                <a:gd name="T18" fmla="*/ 86 w 773"/>
                <a:gd name="T19" fmla="*/ 4 h 5894"/>
                <a:gd name="T20" fmla="*/ 86 w 773"/>
                <a:gd name="T21" fmla="*/ 3 h 5894"/>
                <a:gd name="T22" fmla="*/ 85 w 773"/>
                <a:gd name="T23" fmla="*/ 2 h 5894"/>
                <a:gd name="T24" fmla="*/ 85 w 773"/>
                <a:gd name="T25" fmla="*/ 2 h 5894"/>
                <a:gd name="T26" fmla="*/ 84 w 773"/>
                <a:gd name="T27" fmla="*/ 1 h 5894"/>
                <a:gd name="T28" fmla="*/ 83 w 773"/>
                <a:gd name="T29" fmla="*/ 1 h 5894"/>
                <a:gd name="T30" fmla="*/ 81 w 773"/>
                <a:gd name="T31" fmla="*/ 0 h 5894"/>
                <a:gd name="T32" fmla="*/ 80 w 773"/>
                <a:gd name="T33" fmla="*/ 0 h 5894"/>
                <a:gd name="T34" fmla="*/ 78 w 773"/>
                <a:gd name="T35" fmla="*/ 0 h 5894"/>
                <a:gd name="T36" fmla="*/ 7 w 773"/>
                <a:gd name="T37" fmla="*/ 0 h 5894"/>
                <a:gd name="T38" fmla="*/ 5 w 773"/>
                <a:gd name="T39" fmla="*/ 0 h 5894"/>
                <a:gd name="T40" fmla="*/ 4 w 773"/>
                <a:gd name="T41" fmla="*/ 0 h 5894"/>
                <a:gd name="T42" fmla="*/ 3 w 773"/>
                <a:gd name="T43" fmla="*/ 1 h 5894"/>
                <a:gd name="T44" fmla="*/ 2 w 773"/>
                <a:gd name="T45" fmla="*/ 1 h 5894"/>
                <a:gd name="T46" fmla="*/ 1 w 773"/>
                <a:gd name="T47" fmla="*/ 2 h 5894"/>
                <a:gd name="T48" fmla="*/ 0 w 773"/>
                <a:gd name="T49" fmla="*/ 3 h 5894"/>
                <a:gd name="T50" fmla="*/ 0 w 773"/>
                <a:gd name="T51" fmla="*/ 4 h 5894"/>
                <a:gd name="T52" fmla="*/ 0 w 773"/>
                <a:gd name="T53" fmla="*/ 343 h 5894"/>
                <a:gd name="T54" fmla="*/ 0 w 773"/>
                <a:gd name="T55" fmla="*/ 344 h 5894"/>
                <a:gd name="T56" fmla="*/ 1 w 773"/>
                <a:gd name="T57" fmla="*/ 345 h 5894"/>
                <a:gd name="T58" fmla="*/ 1 w 773"/>
                <a:gd name="T59" fmla="*/ 345 h 5894"/>
                <a:gd name="T60" fmla="*/ 2 w 773"/>
                <a:gd name="T61" fmla="*/ 346 h 5894"/>
                <a:gd name="T62" fmla="*/ 3 w 773"/>
                <a:gd name="T63" fmla="*/ 347 h 5894"/>
                <a:gd name="T64" fmla="*/ 5 w 773"/>
                <a:gd name="T65" fmla="*/ 347 h 5894"/>
                <a:gd name="T66" fmla="*/ 6 w 773"/>
                <a:gd name="T67" fmla="*/ 347 h 5894"/>
                <a:gd name="T68" fmla="*/ 8 w 773"/>
                <a:gd name="T69" fmla="*/ 347 h 58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73"/>
                <a:gd name="T106" fmla="*/ 0 h 5894"/>
                <a:gd name="T107" fmla="*/ 773 w 773"/>
                <a:gd name="T108" fmla="*/ 5894 h 58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73" h="5894">
                  <a:moveTo>
                    <a:pt x="68" y="5894"/>
                  </a:moveTo>
                  <a:lnTo>
                    <a:pt x="705" y="5894"/>
                  </a:lnTo>
                  <a:lnTo>
                    <a:pt x="712" y="5892"/>
                  </a:lnTo>
                  <a:lnTo>
                    <a:pt x="719" y="5891"/>
                  </a:lnTo>
                  <a:lnTo>
                    <a:pt x="726" y="5890"/>
                  </a:lnTo>
                  <a:lnTo>
                    <a:pt x="732" y="5888"/>
                  </a:lnTo>
                  <a:lnTo>
                    <a:pt x="738" y="5885"/>
                  </a:lnTo>
                  <a:lnTo>
                    <a:pt x="744" y="5881"/>
                  </a:lnTo>
                  <a:lnTo>
                    <a:pt x="748" y="5878"/>
                  </a:lnTo>
                  <a:lnTo>
                    <a:pt x="754" y="5873"/>
                  </a:lnTo>
                  <a:lnTo>
                    <a:pt x="757" y="5869"/>
                  </a:lnTo>
                  <a:lnTo>
                    <a:pt x="762" y="5863"/>
                  </a:lnTo>
                  <a:lnTo>
                    <a:pt x="765" y="5857"/>
                  </a:lnTo>
                  <a:lnTo>
                    <a:pt x="767" y="5852"/>
                  </a:lnTo>
                  <a:lnTo>
                    <a:pt x="770" y="5845"/>
                  </a:lnTo>
                  <a:lnTo>
                    <a:pt x="772" y="5839"/>
                  </a:lnTo>
                  <a:lnTo>
                    <a:pt x="773" y="5833"/>
                  </a:lnTo>
                  <a:lnTo>
                    <a:pt x="773" y="5826"/>
                  </a:lnTo>
                  <a:lnTo>
                    <a:pt x="773" y="68"/>
                  </a:lnTo>
                  <a:lnTo>
                    <a:pt x="773" y="60"/>
                  </a:lnTo>
                  <a:lnTo>
                    <a:pt x="772" y="53"/>
                  </a:lnTo>
                  <a:lnTo>
                    <a:pt x="770" y="48"/>
                  </a:lnTo>
                  <a:lnTo>
                    <a:pt x="767" y="41"/>
                  </a:lnTo>
                  <a:lnTo>
                    <a:pt x="765" y="35"/>
                  </a:lnTo>
                  <a:lnTo>
                    <a:pt x="762" y="29"/>
                  </a:lnTo>
                  <a:lnTo>
                    <a:pt x="757" y="24"/>
                  </a:lnTo>
                  <a:lnTo>
                    <a:pt x="754" y="19"/>
                  </a:lnTo>
                  <a:lnTo>
                    <a:pt x="748" y="15"/>
                  </a:lnTo>
                  <a:lnTo>
                    <a:pt x="744" y="11"/>
                  </a:lnTo>
                  <a:lnTo>
                    <a:pt x="738" y="8"/>
                  </a:lnTo>
                  <a:lnTo>
                    <a:pt x="732" y="5"/>
                  </a:lnTo>
                  <a:lnTo>
                    <a:pt x="726" y="2"/>
                  </a:lnTo>
                  <a:lnTo>
                    <a:pt x="719" y="1"/>
                  </a:lnTo>
                  <a:lnTo>
                    <a:pt x="712" y="0"/>
                  </a:lnTo>
                  <a:lnTo>
                    <a:pt x="705" y="0"/>
                  </a:lnTo>
                  <a:lnTo>
                    <a:pt x="68" y="0"/>
                  </a:lnTo>
                  <a:lnTo>
                    <a:pt x="60" y="0"/>
                  </a:lnTo>
                  <a:lnTo>
                    <a:pt x="53" y="1"/>
                  </a:lnTo>
                  <a:lnTo>
                    <a:pt x="48" y="2"/>
                  </a:lnTo>
                  <a:lnTo>
                    <a:pt x="41" y="5"/>
                  </a:lnTo>
                  <a:lnTo>
                    <a:pt x="35" y="8"/>
                  </a:lnTo>
                  <a:lnTo>
                    <a:pt x="29" y="11"/>
                  </a:lnTo>
                  <a:lnTo>
                    <a:pt x="24" y="15"/>
                  </a:lnTo>
                  <a:lnTo>
                    <a:pt x="19" y="19"/>
                  </a:lnTo>
                  <a:lnTo>
                    <a:pt x="15" y="24"/>
                  </a:lnTo>
                  <a:lnTo>
                    <a:pt x="11" y="29"/>
                  </a:lnTo>
                  <a:lnTo>
                    <a:pt x="8" y="35"/>
                  </a:lnTo>
                  <a:lnTo>
                    <a:pt x="5" y="41"/>
                  </a:lnTo>
                  <a:lnTo>
                    <a:pt x="2" y="48"/>
                  </a:lnTo>
                  <a:lnTo>
                    <a:pt x="1" y="53"/>
                  </a:lnTo>
                  <a:lnTo>
                    <a:pt x="0" y="60"/>
                  </a:lnTo>
                  <a:lnTo>
                    <a:pt x="0" y="68"/>
                  </a:lnTo>
                  <a:lnTo>
                    <a:pt x="0" y="5826"/>
                  </a:lnTo>
                  <a:lnTo>
                    <a:pt x="0" y="5833"/>
                  </a:lnTo>
                  <a:lnTo>
                    <a:pt x="1" y="5839"/>
                  </a:lnTo>
                  <a:lnTo>
                    <a:pt x="2" y="5845"/>
                  </a:lnTo>
                  <a:lnTo>
                    <a:pt x="5" y="5852"/>
                  </a:lnTo>
                  <a:lnTo>
                    <a:pt x="8" y="5857"/>
                  </a:lnTo>
                  <a:lnTo>
                    <a:pt x="11" y="5863"/>
                  </a:lnTo>
                  <a:lnTo>
                    <a:pt x="15" y="5869"/>
                  </a:lnTo>
                  <a:lnTo>
                    <a:pt x="19" y="5873"/>
                  </a:lnTo>
                  <a:lnTo>
                    <a:pt x="24" y="5878"/>
                  </a:lnTo>
                  <a:lnTo>
                    <a:pt x="29" y="5881"/>
                  </a:lnTo>
                  <a:lnTo>
                    <a:pt x="35" y="5885"/>
                  </a:lnTo>
                  <a:lnTo>
                    <a:pt x="41" y="5888"/>
                  </a:lnTo>
                  <a:lnTo>
                    <a:pt x="48" y="5890"/>
                  </a:lnTo>
                  <a:lnTo>
                    <a:pt x="53" y="5891"/>
                  </a:lnTo>
                  <a:lnTo>
                    <a:pt x="60" y="5892"/>
                  </a:lnTo>
                  <a:lnTo>
                    <a:pt x="68" y="589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69" name="Rectangle 725"/>
            <p:cNvSpPr>
              <a:spLocks noChangeArrowheads="1"/>
            </p:cNvSpPr>
            <p:nvPr/>
          </p:nvSpPr>
          <p:spPr bwMode="auto">
            <a:xfrm>
              <a:off x="3929" y="1564"/>
              <a:ext cx="10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Work </a:t>
              </a:r>
              <a:endParaRPr lang="en-US" sz="1800" b="0" kern="0" baseline="0">
                <a:solidFill>
                  <a:sysClr val="windowText" lastClr="000000"/>
                </a:solidFill>
                <a:latin typeface="Arial" charset="0"/>
                <a:ea typeface="ＭＳ Ｐゴシック"/>
                <a:cs typeface="ＭＳ Ｐゴシック"/>
              </a:endParaRPr>
            </a:p>
          </p:txBody>
        </p:sp>
        <p:sp>
          <p:nvSpPr>
            <p:cNvPr id="170" name="Rectangle 726"/>
            <p:cNvSpPr>
              <a:spLocks noChangeArrowheads="1"/>
            </p:cNvSpPr>
            <p:nvPr/>
          </p:nvSpPr>
          <p:spPr bwMode="auto">
            <a:xfrm>
              <a:off x="3888" y="1599"/>
              <a:ext cx="17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Execution</a:t>
              </a:r>
              <a:endParaRPr lang="en-US" sz="1800" b="0" kern="0" baseline="0">
                <a:solidFill>
                  <a:sysClr val="windowText" lastClr="000000"/>
                </a:solidFill>
                <a:latin typeface="Arial" charset="0"/>
                <a:ea typeface="ＭＳ Ｐゴシック"/>
                <a:cs typeface="ＭＳ Ｐゴシック"/>
              </a:endParaRPr>
            </a:p>
          </p:txBody>
        </p:sp>
        <p:sp>
          <p:nvSpPr>
            <p:cNvPr id="171" name="Freeform 727"/>
            <p:cNvSpPr>
              <a:spLocks/>
            </p:cNvSpPr>
            <p:nvPr/>
          </p:nvSpPr>
          <p:spPr bwMode="auto">
            <a:xfrm>
              <a:off x="4640" y="1549"/>
              <a:ext cx="246" cy="1435"/>
            </a:xfrm>
            <a:custGeom>
              <a:avLst/>
              <a:gdLst>
                <a:gd name="T0" fmla="*/ 74 w 738"/>
                <a:gd name="T1" fmla="*/ 348 h 5918"/>
                <a:gd name="T2" fmla="*/ 76 w 738"/>
                <a:gd name="T3" fmla="*/ 348 h 5918"/>
                <a:gd name="T4" fmla="*/ 77 w 738"/>
                <a:gd name="T5" fmla="*/ 348 h 5918"/>
                <a:gd name="T6" fmla="*/ 79 w 738"/>
                <a:gd name="T7" fmla="*/ 348 h 5918"/>
                <a:gd name="T8" fmla="*/ 80 w 738"/>
                <a:gd name="T9" fmla="*/ 347 h 5918"/>
                <a:gd name="T10" fmla="*/ 81 w 738"/>
                <a:gd name="T11" fmla="*/ 347 h 5918"/>
                <a:gd name="T12" fmla="*/ 81 w 738"/>
                <a:gd name="T13" fmla="*/ 346 h 5918"/>
                <a:gd name="T14" fmla="*/ 82 w 738"/>
                <a:gd name="T15" fmla="*/ 345 h 5918"/>
                <a:gd name="T16" fmla="*/ 82 w 738"/>
                <a:gd name="T17" fmla="*/ 345 h 5918"/>
                <a:gd name="T18" fmla="*/ 82 w 738"/>
                <a:gd name="T19" fmla="*/ 4 h 5918"/>
                <a:gd name="T20" fmla="*/ 82 w 738"/>
                <a:gd name="T21" fmla="*/ 3 h 5918"/>
                <a:gd name="T22" fmla="*/ 81 w 738"/>
                <a:gd name="T23" fmla="*/ 2 h 5918"/>
                <a:gd name="T24" fmla="*/ 81 w 738"/>
                <a:gd name="T25" fmla="*/ 2 h 5918"/>
                <a:gd name="T26" fmla="*/ 80 w 738"/>
                <a:gd name="T27" fmla="*/ 1 h 5918"/>
                <a:gd name="T28" fmla="*/ 79 w 738"/>
                <a:gd name="T29" fmla="*/ 1 h 5918"/>
                <a:gd name="T30" fmla="*/ 77 w 738"/>
                <a:gd name="T31" fmla="*/ 0 h 5918"/>
                <a:gd name="T32" fmla="*/ 76 w 738"/>
                <a:gd name="T33" fmla="*/ 0 h 5918"/>
                <a:gd name="T34" fmla="*/ 74 w 738"/>
                <a:gd name="T35" fmla="*/ 0 h 5918"/>
                <a:gd name="T36" fmla="*/ 7 w 738"/>
                <a:gd name="T37" fmla="*/ 0 h 5918"/>
                <a:gd name="T38" fmla="*/ 5 w 738"/>
                <a:gd name="T39" fmla="*/ 0 h 5918"/>
                <a:gd name="T40" fmla="*/ 4 w 738"/>
                <a:gd name="T41" fmla="*/ 0 h 5918"/>
                <a:gd name="T42" fmla="*/ 3 w 738"/>
                <a:gd name="T43" fmla="*/ 1 h 5918"/>
                <a:gd name="T44" fmla="*/ 2 w 738"/>
                <a:gd name="T45" fmla="*/ 1 h 5918"/>
                <a:gd name="T46" fmla="*/ 1 w 738"/>
                <a:gd name="T47" fmla="*/ 2 h 5918"/>
                <a:gd name="T48" fmla="*/ 0 w 738"/>
                <a:gd name="T49" fmla="*/ 3 h 5918"/>
                <a:gd name="T50" fmla="*/ 0 w 738"/>
                <a:gd name="T51" fmla="*/ 4 h 5918"/>
                <a:gd name="T52" fmla="*/ 0 w 738"/>
                <a:gd name="T53" fmla="*/ 345 h 5918"/>
                <a:gd name="T54" fmla="*/ 0 w 738"/>
                <a:gd name="T55" fmla="*/ 345 h 5918"/>
                <a:gd name="T56" fmla="*/ 1 w 738"/>
                <a:gd name="T57" fmla="*/ 346 h 5918"/>
                <a:gd name="T58" fmla="*/ 1 w 738"/>
                <a:gd name="T59" fmla="*/ 347 h 5918"/>
                <a:gd name="T60" fmla="*/ 2 w 738"/>
                <a:gd name="T61" fmla="*/ 347 h 5918"/>
                <a:gd name="T62" fmla="*/ 3 w 738"/>
                <a:gd name="T63" fmla="*/ 348 h 5918"/>
                <a:gd name="T64" fmla="*/ 5 w 738"/>
                <a:gd name="T65" fmla="*/ 348 h 5918"/>
                <a:gd name="T66" fmla="*/ 6 w 738"/>
                <a:gd name="T67" fmla="*/ 348 h 5918"/>
                <a:gd name="T68" fmla="*/ 8 w 738"/>
                <a:gd name="T69" fmla="*/ 348 h 59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8"/>
                <a:gd name="T106" fmla="*/ 0 h 5918"/>
                <a:gd name="T107" fmla="*/ 738 w 738"/>
                <a:gd name="T108" fmla="*/ 5918 h 59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8" h="5918">
                  <a:moveTo>
                    <a:pt x="68" y="5918"/>
                  </a:moveTo>
                  <a:lnTo>
                    <a:pt x="670" y="5918"/>
                  </a:lnTo>
                  <a:lnTo>
                    <a:pt x="677" y="5917"/>
                  </a:lnTo>
                  <a:lnTo>
                    <a:pt x="684" y="5916"/>
                  </a:lnTo>
                  <a:lnTo>
                    <a:pt x="691" y="5915"/>
                  </a:lnTo>
                  <a:lnTo>
                    <a:pt x="696" y="5913"/>
                  </a:lnTo>
                  <a:lnTo>
                    <a:pt x="703" y="5909"/>
                  </a:lnTo>
                  <a:lnTo>
                    <a:pt x="709" y="5906"/>
                  </a:lnTo>
                  <a:lnTo>
                    <a:pt x="713" y="5903"/>
                  </a:lnTo>
                  <a:lnTo>
                    <a:pt x="718" y="5898"/>
                  </a:lnTo>
                  <a:lnTo>
                    <a:pt x="722" y="5894"/>
                  </a:lnTo>
                  <a:lnTo>
                    <a:pt x="727" y="5888"/>
                  </a:lnTo>
                  <a:lnTo>
                    <a:pt x="730" y="5882"/>
                  </a:lnTo>
                  <a:lnTo>
                    <a:pt x="732" y="5877"/>
                  </a:lnTo>
                  <a:lnTo>
                    <a:pt x="735" y="5870"/>
                  </a:lnTo>
                  <a:lnTo>
                    <a:pt x="737" y="5864"/>
                  </a:lnTo>
                  <a:lnTo>
                    <a:pt x="738" y="5857"/>
                  </a:lnTo>
                  <a:lnTo>
                    <a:pt x="738" y="5851"/>
                  </a:lnTo>
                  <a:lnTo>
                    <a:pt x="738" y="68"/>
                  </a:lnTo>
                  <a:lnTo>
                    <a:pt x="738" y="60"/>
                  </a:lnTo>
                  <a:lnTo>
                    <a:pt x="737" y="53"/>
                  </a:lnTo>
                  <a:lnTo>
                    <a:pt x="735" y="48"/>
                  </a:lnTo>
                  <a:lnTo>
                    <a:pt x="732" y="41"/>
                  </a:lnTo>
                  <a:lnTo>
                    <a:pt x="730" y="35"/>
                  </a:lnTo>
                  <a:lnTo>
                    <a:pt x="727" y="29"/>
                  </a:lnTo>
                  <a:lnTo>
                    <a:pt x="722" y="24"/>
                  </a:lnTo>
                  <a:lnTo>
                    <a:pt x="718" y="19"/>
                  </a:lnTo>
                  <a:lnTo>
                    <a:pt x="713" y="15"/>
                  </a:lnTo>
                  <a:lnTo>
                    <a:pt x="709" y="11"/>
                  </a:lnTo>
                  <a:lnTo>
                    <a:pt x="703" y="8"/>
                  </a:lnTo>
                  <a:lnTo>
                    <a:pt x="696" y="5"/>
                  </a:lnTo>
                  <a:lnTo>
                    <a:pt x="691" y="2"/>
                  </a:lnTo>
                  <a:lnTo>
                    <a:pt x="684" y="1"/>
                  </a:lnTo>
                  <a:lnTo>
                    <a:pt x="677" y="0"/>
                  </a:lnTo>
                  <a:lnTo>
                    <a:pt x="670" y="0"/>
                  </a:lnTo>
                  <a:lnTo>
                    <a:pt x="68" y="0"/>
                  </a:lnTo>
                  <a:lnTo>
                    <a:pt x="60" y="0"/>
                  </a:lnTo>
                  <a:lnTo>
                    <a:pt x="53" y="1"/>
                  </a:lnTo>
                  <a:lnTo>
                    <a:pt x="48" y="2"/>
                  </a:lnTo>
                  <a:lnTo>
                    <a:pt x="41" y="5"/>
                  </a:lnTo>
                  <a:lnTo>
                    <a:pt x="35" y="8"/>
                  </a:lnTo>
                  <a:lnTo>
                    <a:pt x="29" y="11"/>
                  </a:lnTo>
                  <a:lnTo>
                    <a:pt x="24" y="15"/>
                  </a:lnTo>
                  <a:lnTo>
                    <a:pt x="19" y="19"/>
                  </a:lnTo>
                  <a:lnTo>
                    <a:pt x="15" y="24"/>
                  </a:lnTo>
                  <a:lnTo>
                    <a:pt x="11" y="29"/>
                  </a:lnTo>
                  <a:lnTo>
                    <a:pt x="8" y="35"/>
                  </a:lnTo>
                  <a:lnTo>
                    <a:pt x="5" y="41"/>
                  </a:lnTo>
                  <a:lnTo>
                    <a:pt x="2" y="48"/>
                  </a:lnTo>
                  <a:lnTo>
                    <a:pt x="1" y="53"/>
                  </a:lnTo>
                  <a:lnTo>
                    <a:pt x="0" y="60"/>
                  </a:lnTo>
                  <a:lnTo>
                    <a:pt x="0" y="68"/>
                  </a:lnTo>
                  <a:lnTo>
                    <a:pt x="0" y="5851"/>
                  </a:lnTo>
                  <a:lnTo>
                    <a:pt x="0" y="5857"/>
                  </a:lnTo>
                  <a:lnTo>
                    <a:pt x="1" y="5864"/>
                  </a:lnTo>
                  <a:lnTo>
                    <a:pt x="2" y="5870"/>
                  </a:lnTo>
                  <a:lnTo>
                    <a:pt x="5" y="5877"/>
                  </a:lnTo>
                  <a:lnTo>
                    <a:pt x="8" y="5882"/>
                  </a:lnTo>
                  <a:lnTo>
                    <a:pt x="11" y="5888"/>
                  </a:lnTo>
                  <a:lnTo>
                    <a:pt x="15" y="5894"/>
                  </a:lnTo>
                  <a:lnTo>
                    <a:pt x="19" y="5898"/>
                  </a:lnTo>
                  <a:lnTo>
                    <a:pt x="24" y="5903"/>
                  </a:lnTo>
                  <a:lnTo>
                    <a:pt x="29" y="5906"/>
                  </a:lnTo>
                  <a:lnTo>
                    <a:pt x="35" y="5909"/>
                  </a:lnTo>
                  <a:lnTo>
                    <a:pt x="41" y="5913"/>
                  </a:lnTo>
                  <a:lnTo>
                    <a:pt x="48" y="5915"/>
                  </a:lnTo>
                  <a:lnTo>
                    <a:pt x="53" y="5916"/>
                  </a:lnTo>
                  <a:lnTo>
                    <a:pt x="60" y="5917"/>
                  </a:lnTo>
                  <a:lnTo>
                    <a:pt x="68" y="5918"/>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72" name="Freeform 728"/>
            <p:cNvSpPr>
              <a:spLocks/>
            </p:cNvSpPr>
            <p:nvPr/>
          </p:nvSpPr>
          <p:spPr bwMode="auto">
            <a:xfrm>
              <a:off x="4640" y="1549"/>
              <a:ext cx="246" cy="1435"/>
            </a:xfrm>
            <a:custGeom>
              <a:avLst/>
              <a:gdLst>
                <a:gd name="T0" fmla="*/ 74 w 738"/>
                <a:gd name="T1" fmla="*/ 348 h 5918"/>
                <a:gd name="T2" fmla="*/ 76 w 738"/>
                <a:gd name="T3" fmla="*/ 348 h 5918"/>
                <a:gd name="T4" fmla="*/ 77 w 738"/>
                <a:gd name="T5" fmla="*/ 348 h 5918"/>
                <a:gd name="T6" fmla="*/ 79 w 738"/>
                <a:gd name="T7" fmla="*/ 348 h 5918"/>
                <a:gd name="T8" fmla="*/ 80 w 738"/>
                <a:gd name="T9" fmla="*/ 347 h 5918"/>
                <a:gd name="T10" fmla="*/ 81 w 738"/>
                <a:gd name="T11" fmla="*/ 347 h 5918"/>
                <a:gd name="T12" fmla="*/ 81 w 738"/>
                <a:gd name="T13" fmla="*/ 346 h 5918"/>
                <a:gd name="T14" fmla="*/ 82 w 738"/>
                <a:gd name="T15" fmla="*/ 345 h 5918"/>
                <a:gd name="T16" fmla="*/ 82 w 738"/>
                <a:gd name="T17" fmla="*/ 345 h 5918"/>
                <a:gd name="T18" fmla="*/ 82 w 738"/>
                <a:gd name="T19" fmla="*/ 4 h 5918"/>
                <a:gd name="T20" fmla="*/ 82 w 738"/>
                <a:gd name="T21" fmla="*/ 3 h 5918"/>
                <a:gd name="T22" fmla="*/ 81 w 738"/>
                <a:gd name="T23" fmla="*/ 2 h 5918"/>
                <a:gd name="T24" fmla="*/ 81 w 738"/>
                <a:gd name="T25" fmla="*/ 2 h 5918"/>
                <a:gd name="T26" fmla="*/ 80 w 738"/>
                <a:gd name="T27" fmla="*/ 1 h 5918"/>
                <a:gd name="T28" fmla="*/ 79 w 738"/>
                <a:gd name="T29" fmla="*/ 1 h 5918"/>
                <a:gd name="T30" fmla="*/ 77 w 738"/>
                <a:gd name="T31" fmla="*/ 0 h 5918"/>
                <a:gd name="T32" fmla="*/ 76 w 738"/>
                <a:gd name="T33" fmla="*/ 0 h 5918"/>
                <a:gd name="T34" fmla="*/ 74 w 738"/>
                <a:gd name="T35" fmla="*/ 0 h 5918"/>
                <a:gd name="T36" fmla="*/ 7 w 738"/>
                <a:gd name="T37" fmla="*/ 0 h 5918"/>
                <a:gd name="T38" fmla="*/ 5 w 738"/>
                <a:gd name="T39" fmla="*/ 0 h 5918"/>
                <a:gd name="T40" fmla="*/ 4 w 738"/>
                <a:gd name="T41" fmla="*/ 0 h 5918"/>
                <a:gd name="T42" fmla="*/ 3 w 738"/>
                <a:gd name="T43" fmla="*/ 1 h 5918"/>
                <a:gd name="T44" fmla="*/ 2 w 738"/>
                <a:gd name="T45" fmla="*/ 1 h 5918"/>
                <a:gd name="T46" fmla="*/ 1 w 738"/>
                <a:gd name="T47" fmla="*/ 2 h 5918"/>
                <a:gd name="T48" fmla="*/ 0 w 738"/>
                <a:gd name="T49" fmla="*/ 3 h 5918"/>
                <a:gd name="T50" fmla="*/ 0 w 738"/>
                <a:gd name="T51" fmla="*/ 4 h 5918"/>
                <a:gd name="T52" fmla="*/ 0 w 738"/>
                <a:gd name="T53" fmla="*/ 345 h 5918"/>
                <a:gd name="T54" fmla="*/ 0 w 738"/>
                <a:gd name="T55" fmla="*/ 345 h 5918"/>
                <a:gd name="T56" fmla="*/ 1 w 738"/>
                <a:gd name="T57" fmla="*/ 346 h 5918"/>
                <a:gd name="T58" fmla="*/ 1 w 738"/>
                <a:gd name="T59" fmla="*/ 347 h 5918"/>
                <a:gd name="T60" fmla="*/ 2 w 738"/>
                <a:gd name="T61" fmla="*/ 347 h 5918"/>
                <a:gd name="T62" fmla="*/ 3 w 738"/>
                <a:gd name="T63" fmla="*/ 348 h 5918"/>
                <a:gd name="T64" fmla="*/ 5 w 738"/>
                <a:gd name="T65" fmla="*/ 348 h 5918"/>
                <a:gd name="T66" fmla="*/ 6 w 738"/>
                <a:gd name="T67" fmla="*/ 348 h 5918"/>
                <a:gd name="T68" fmla="*/ 8 w 738"/>
                <a:gd name="T69" fmla="*/ 348 h 59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8"/>
                <a:gd name="T106" fmla="*/ 0 h 5918"/>
                <a:gd name="T107" fmla="*/ 738 w 738"/>
                <a:gd name="T108" fmla="*/ 5918 h 59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8" h="5918">
                  <a:moveTo>
                    <a:pt x="68" y="5918"/>
                  </a:moveTo>
                  <a:lnTo>
                    <a:pt x="670" y="5918"/>
                  </a:lnTo>
                  <a:lnTo>
                    <a:pt x="677" y="5917"/>
                  </a:lnTo>
                  <a:lnTo>
                    <a:pt x="684" y="5916"/>
                  </a:lnTo>
                  <a:lnTo>
                    <a:pt x="691" y="5915"/>
                  </a:lnTo>
                  <a:lnTo>
                    <a:pt x="696" y="5913"/>
                  </a:lnTo>
                  <a:lnTo>
                    <a:pt x="703" y="5909"/>
                  </a:lnTo>
                  <a:lnTo>
                    <a:pt x="709" y="5906"/>
                  </a:lnTo>
                  <a:lnTo>
                    <a:pt x="713" y="5903"/>
                  </a:lnTo>
                  <a:lnTo>
                    <a:pt x="718" y="5898"/>
                  </a:lnTo>
                  <a:lnTo>
                    <a:pt x="722" y="5894"/>
                  </a:lnTo>
                  <a:lnTo>
                    <a:pt x="727" y="5888"/>
                  </a:lnTo>
                  <a:lnTo>
                    <a:pt x="730" y="5882"/>
                  </a:lnTo>
                  <a:lnTo>
                    <a:pt x="732" y="5877"/>
                  </a:lnTo>
                  <a:lnTo>
                    <a:pt x="735" y="5870"/>
                  </a:lnTo>
                  <a:lnTo>
                    <a:pt x="737" y="5864"/>
                  </a:lnTo>
                  <a:lnTo>
                    <a:pt x="738" y="5857"/>
                  </a:lnTo>
                  <a:lnTo>
                    <a:pt x="738" y="5851"/>
                  </a:lnTo>
                  <a:lnTo>
                    <a:pt x="738" y="68"/>
                  </a:lnTo>
                  <a:lnTo>
                    <a:pt x="738" y="60"/>
                  </a:lnTo>
                  <a:lnTo>
                    <a:pt x="737" y="53"/>
                  </a:lnTo>
                  <a:lnTo>
                    <a:pt x="735" y="48"/>
                  </a:lnTo>
                  <a:lnTo>
                    <a:pt x="732" y="41"/>
                  </a:lnTo>
                  <a:lnTo>
                    <a:pt x="730" y="35"/>
                  </a:lnTo>
                  <a:lnTo>
                    <a:pt x="727" y="29"/>
                  </a:lnTo>
                  <a:lnTo>
                    <a:pt x="722" y="24"/>
                  </a:lnTo>
                  <a:lnTo>
                    <a:pt x="718" y="19"/>
                  </a:lnTo>
                  <a:lnTo>
                    <a:pt x="713" y="15"/>
                  </a:lnTo>
                  <a:lnTo>
                    <a:pt x="709" y="11"/>
                  </a:lnTo>
                  <a:lnTo>
                    <a:pt x="703" y="8"/>
                  </a:lnTo>
                  <a:lnTo>
                    <a:pt x="696" y="5"/>
                  </a:lnTo>
                  <a:lnTo>
                    <a:pt x="691" y="2"/>
                  </a:lnTo>
                  <a:lnTo>
                    <a:pt x="684" y="1"/>
                  </a:lnTo>
                  <a:lnTo>
                    <a:pt x="677" y="0"/>
                  </a:lnTo>
                  <a:lnTo>
                    <a:pt x="670" y="0"/>
                  </a:lnTo>
                  <a:lnTo>
                    <a:pt x="68" y="0"/>
                  </a:lnTo>
                  <a:lnTo>
                    <a:pt x="60" y="0"/>
                  </a:lnTo>
                  <a:lnTo>
                    <a:pt x="53" y="1"/>
                  </a:lnTo>
                  <a:lnTo>
                    <a:pt x="48" y="2"/>
                  </a:lnTo>
                  <a:lnTo>
                    <a:pt x="41" y="5"/>
                  </a:lnTo>
                  <a:lnTo>
                    <a:pt x="35" y="8"/>
                  </a:lnTo>
                  <a:lnTo>
                    <a:pt x="29" y="11"/>
                  </a:lnTo>
                  <a:lnTo>
                    <a:pt x="24" y="15"/>
                  </a:lnTo>
                  <a:lnTo>
                    <a:pt x="19" y="19"/>
                  </a:lnTo>
                  <a:lnTo>
                    <a:pt x="15" y="24"/>
                  </a:lnTo>
                  <a:lnTo>
                    <a:pt x="11" y="29"/>
                  </a:lnTo>
                  <a:lnTo>
                    <a:pt x="8" y="35"/>
                  </a:lnTo>
                  <a:lnTo>
                    <a:pt x="5" y="41"/>
                  </a:lnTo>
                  <a:lnTo>
                    <a:pt x="2" y="48"/>
                  </a:lnTo>
                  <a:lnTo>
                    <a:pt x="1" y="53"/>
                  </a:lnTo>
                  <a:lnTo>
                    <a:pt x="0" y="60"/>
                  </a:lnTo>
                  <a:lnTo>
                    <a:pt x="0" y="68"/>
                  </a:lnTo>
                  <a:lnTo>
                    <a:pt x="0" y="5851"/>
                  </a:lnTo>
                  <a:lnTo>
                    <a:pt x="0" y="5857"/>
                  </a:lnTo>
                  <a:lnTo>
                    <a:pt x="1" y="5864"/>
                  </a:lnTo>
                  <a:lnTo>
                    <a:pt x="2" y="5870"/>
                  </a:lnTo>
                  <a:lnTo>
                    <a:pt x="5" y="5877"/>
                  </a:lnTo>
                  <a:lnTo>
                    <a:pt x="8" y="5882"/>
                  </a:lnTo>
                  <a:lnTo>
                    <a:pt x="11" y="5888"/>
                  </a:lnTo>
                  <a:lnTo>
                    <a:pt x="15" y="5894"/>
                  </a:lnTo>
                  <a:lnTo>
                    <a:pt x="19" y="5898"/>
                  </a:lnTo>
                  <a:lnTo>
                    <a:pt x="24" y="5903"/>
                  </a:lnTo>
                  <a:lnTo>
                    <a:pt x="29" y="5906"/>
                  </a:lnTo>
                  <a:lnTo>
                    <a:pt x="35" y="5909"/>
                  </a:lnTo>
                  <a:lnTo>
                    <a:pt x="41" y="5913"/>
                  </a:lnTo>
                  <a:lnTo>
                    <a:pt x="48" y="5915"/>
                  </a:lnTo>
                  <a:lnTo>
                    <a:pt x="53" y="5916"/>
                  </a:lnTo>
                  <a:lnTo>
                    <a:pt x="60" y="5917"/>
                  </a:lnTo>
                  <a:lnTo>
                    <a:pt x="68" y="591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73" name="Rectangle 729"/>
            <p:cNvSpPr>
              <a:spLocks noChangeArrowheads="1"/>
            </p:cNvSpPr>
            <p:nvPr/>
          </p:nvSpPr>
          <p:spPr bwMode="auto">
            <a:xfrm>
              <a:off x="4713" y="1564"/>
              <a:ext cx="11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sset </a:t>
              </a:r>
              <a:endParaRPr lang="en-US" sz="1800" b="0" kern="0" baseline="0">
                <a:solidFill>
                  <a:sysClr val="windowText" lastClr="000000"/>
                </a:solidFill>
                <a:latin typeface="Arial" charset="0"/>
                <a:ea typeface="ＭＳ Ｐゴシック"/>
                <a:cs typeface="ＭＳ Ｐゴシック"/>
              </a:endParaRPr>
            </a:p>
          </p:txBody>
        </p:sp>
        <p:sp>
          <p:nvSpPr>
            <p:cNvPr id="174" name="Rectangle 730"/>
            <p:cNvSpPr>
              <a:spLocks noChangeArrowheads="1"/>
            </p:cNvSpPr>
            <p:nvPr/>
          </p:nvSpPr>
          <p:spPr bwMode="auto">
            <a:xfrm>
              <a:off x="4677" y="1599"/>
              <a:ext cx="137"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omms</a:t>
              </a:r>
              <a:endParaRPr lang="en-US" sz="1800" b="0" kern="0" baseline="0">
                <a:solidFill>
                  <a:sysClr val="windowText" lastClr="000000"/>
                </a:solidFill>
                <a:latin typeface="Arial" charset="0"/>
                <a:ea typeface="ＭＳ Ｐゴシック"/>
                <a:cs typeface="ＭＳ Ｐゴシック"/>
              </a:endParaRPr>
            </a:p>
          </p:txBody>
        </p:sp>
        <p:sp>
          <p:nvSpPr>
            <p:cNvPr id="175" name="Rectangle 731"/>
            <p:cNvSpPr>
              <a:spLocks noChangeArrowheads="1"/>
            </p:cNvSpPr>
            <p:nvPr/>
          </p:nvSpPr>
          <p:spPr bwMode="auto">
            <a:xfrm>
              <a:off x="4815" y="1599"/>
              <a:ext cx="4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 </a:t>
              </a:r>
              <a:endParaRPr lang="en-US" sz="1800" b="0" kern="0" baseline="0">
                <a:solidFill>
                  <a:sysClr val="windowText" lastClr="000000"/>
                </a:solidFill>
                <a:latin typeface="Arial" charset="0"/>
                <a:ea typeface="ＭＳ Ｐゴシック"/>
                <a:cs typeface="ＭＳ Ｐゴシック"/>
              </a:endParaRPr>
            </a:p>
          </p:txBody>
        </p:sp>
        <p:sp>
          <p:nvSpPr>
            <p:cNvPr id="176" name="Rectangle 732"/>
            <p:cNvSpPr>
              <a:spLocks noChangeArrowheads="1"/>
            </p:cNvSpPr>
            <p:nvPr/>
          </p:nvSpPr>
          <p:spPr bwMode="auto">
            <a:xfrm>
              <a:off x="4716" y="1634"/>
              <a:ext cx="10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Work </a:t>
              </a:r>
              <a:endParaRPr lang="en-US" sz="1800" b="0" kern="0" baseline="0">
                <a:solidFill>
                  <a:sysClr val="windowText" lastClr="000000"/>
                </a:solidFill>
                <a:latin typeface="Arial" charset="0"/>
                <a:ea typeface="ＭＳ Ｐゴシック"/>
                <a:cs typeface="ＭＳ Ｐゴシック"/>
              </a:endParaRPr>
            </a:p>
          </p:txBody>
        </p:sp>
        <p:sp>
          <p:nvSpPr>
            <p:cNvPr id="177" name="Rectangle 733"/>
            <p:cNvSpPr>
              <a:spLocks noChangeArrowheads="1"/>
            </p:cNvSpPr>
            <p:nvPr/>
          </p:nvSpPr>
          <p:spPr bwMode="auto">
            <a:xfrm>
              <a:off x="4694" y="1669"/>
              <a:ext cx="137"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losure</a:t>
              </a:r>
              <a:endParaRPr lang="en-US" sz="1800" b="0" kern="0" baseline="0">
                <a:solidFill>
                  <a:sysClr val="windowText" lastClr="000000"/>
                </a:solidFill>
                <a:latin typeface="Arial" charset="0"/>
                <a:ea typeface="ＭＳ Ｐゴシック"/>
                <a:cs typeface="ＭＳ Ｐゴシック"/>
              </a:endParaRPr>
            </a:p>
          </p:txBody>
        </p:sp>
        <p:sp>
          <p:nvSpPr>
            <p:cNvPr id="178" name="Freeform 734"/>
            <p:cNvSpPr>
              <a:spLocks/>
            </p:cNvSpPr>
            <p:nvPr/>
          </p:nvSpPr>
          <p:spPr bwMode="auto">
            <a:xfrm>
              <a:off x="4379" y="1549"/>
              <a:ext cx="246" cy="1435"/>
            </a:xfrm>
            <a:custGeom>
              <a:avLst/>
              <a:gdLst>
                <a:gd name="T0" fmla="*/ 74 w 738"/>
                <a:gd name="T1" fmla="*/ 348 h 5918"/>
                <a:gd name="T2" fmla="*/ 76 w 738"/>
                <a:gd name="T3" fmla="*/ 348 h 5918"/>
                <a:gd name="T4" fmla="*/ 77 w 738"/>
                <a:gd name="T5" fmla="*/ 348 h 5918"/>
                <a:gd name="T6" fmla="*/ 79 w 738"/>
                <a:gd name="T7" fmla="*/ 348 h 5918"/>
                <a:gd name="T8" fmla="*/ 80 w 738"/>
                <a:gd name="T9" fmla="*/ 347 h 5918"/>
                <a:gd name="T10" fmla="*/ 81 w 738"/>
                <a:gd name="T11" fmla="*/ 347 h 5918"/>
                <a:gd name="T12" fmla="*/ 81 w 738"/>
                <a:gd name="T13" fmla="*/ 346 h 5918"/>
                <a:gd name="T14" fmla="*/ 82 w 738"/>
                <a:gd name="T15" fmla="*/ 345 h 5918"/>
                <a:gd name="T16" fmla="*/ 82 w 738"/>
                <a:gd name="T17" fmla="*/ 345 h 5918"/>
                <a:gd name="T18" fmla="*/ 82 w 738"/>
                <a:gd name="T19" fmla="*/ 4 h 5918"/>
                <a:gd name="T20" fmla="*/ 82 w 738"/>
                <a:gd name="T21" fmla="*/ 3 h 5918"/>
                <a:gd name="T22" fmla="*/ 81 w 738"/>
                <a:gd name="T23" fmla="*/ 2 h 5918"/>
                <a:gd name="T24" fmla="*/ 81 w 738"/>
                <a:gd name="T25" fmla="*/ 2 h 5918"/>
                <a:gd name="T26" fmla="*/ 80 w 738"/>
                <a:gd name="T27" fmla="*/ 1 h 5918"/>
                <a:gd name="T28" fmla="*/ 79 w 738"/>
                <a:gd name="T29" fmla="*/ 1 h 5918"/>
                <a:gd name="T30" fmla="*/ 77 w 738"/>
                <a:gd name="T31" fmla="*/ 0 h 5918"/>
                <a:gd name="T32" fmla="*/ 76 w 738"/>
                <a:gd name="T33" fmla="*/ 0 h 5918"/>
                <a:gd name="T34" fmla="*/ 74 w 738"/>
                <a:gd name="T35" fmla="*/ 0 h 5918"/>
                <a:gd name="T36" fmla="*/ 7 w 738"/>
                <a:gd name="T37" fmla="*/ 0 h 5918"/>
                <a:gd name="T38" fmla="*/ 5 w 738"/>
                <a:gd name="T39" fmla="*/ 0 h 5918"/>
                <a:gd name="T40" fmla="*/ 4 w 738"/>
                <a:gd name="T41" fmla="*/ 0 h 5918"/>
                <a:gd name="T42" fmla="*/ 3 w 738"/>
                <a:gd name="T43" fmla="*/ 1 h 5918"/>
                <a:gd name="T44" fmla="*/ 2 w 738"/>
                <a:gd name="T45" fmla="*/ 1 h 5918"/>
                <a:gd name="T46" fmla="*/ 1 w 738"/>
                <a:gd name="T47" fmla="*/ 2 h 5918"/>
                <a:gd name="T48" fmla="*/ 0 w 738"/>
                <a:gd name="T49" fmla="*/ 3 h 5918"/>
                <a:gd name="T50" fmla="*/ 0 w 738"/>
                <a:gd name="T51" fmla="*/ 4 h 5918"/>
                <a:gd name="T52" fmla="*/ 0 w 738"/>
                <a:gd name="T53" fmla="*/ 345 h 5918"/>
                <a:gd name="T54" fmla="*/ 0 w 738"/>
                <a:gd name="T55" fmla="*/ 345 h 5918"/>
                <a:gd name="T56" fmla="*/ 0 w 738"/>
                <a:gd name="T57" fmla="*/ 346 h 5918"/>
                <a:gd name="T58" fmla="*/ 1 w 738"/>
                <a:gd name="T59" fmla="*/ 347 h 5918"/>
                <a:gd name="T60" fmla="*/ 2 w 738"/>
                <a:gd name="T61" fmla="*/ 347 h 5918"/>
                <a:gd name="T62" fmla="*/ 3 w 738"/>
                <a:gd name="T63" fmla="*/ 348 h 5918"/>
                <a:gd name="T64" fmla="*/ 5 w 738"/>
                <a:gd name="T65" fmla="*/ 348 h 5918"/>
                <a:gd name="T66" fmla="*/ 6 w 738"/>
                <a:gd name="T67" fmla="*/ 348 h 5918"/>
                <a:gd name="T68" fmla="*/ 8 w 738"/>
                <a:gd name="T69" fmla="*/ 348 h 59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8"/>
                <a:gd name="T106" fmla="*/ 0 h 5918"/>
                <a:gd name="T107" fmla="*/ 738 w 738"/>
                <a:gd name="T108" fmla="*/ 5918 h 59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8" h="5918">
                  <a:moveTo>
                    <a:pt x="68" y="5918"/>
                  </a:moveTo>
                  <a:lnTo>
                    <a:pt x="670" y="5918"/>
                  </a:lnTo>
                  <a:lnTo>
                    <a:pt x="677" y="5917"/>
                  </a:lnTo>
                  <a:lnTo>
                    <a:pt x="684" y="5916"/>
                  </a:lnTo>
                  <a:lnTo>
                    <a:pt x="690" y="5915"/>
                  </a:lnTo>
                  <a:lnTo>
                    <a:pt x="696" y="5913"/>
                  </a:lnTo>
                  <a:lnTo>
                    <a:pt x="703" y="5909"/>
                  </a:lnTo>
                  <a:lnTo>
                    <a:pt x="708" y="5906"/>
                  </a:lnTo>
                  <a:lnTo>
                    <a:pt x="713" y="5903"/>
                  </a:lnTo>
                  <a:lnTo>
                    <a:pt x="718" y="5898"/>
                  </a:lnTo>
                  <a:lnTo>
                    <a:pt x="722" y="5894"/>
                  </a:lnTo>
                  <a:lnTo>
                    <a:pt x="727" y="5888"/>
                  </a:lnTo>
                  <a:lnTo>
                    <a:pt x="730" y="5882"/>
                  </a:lnTo>
                  <a:lnTo>
                    <a:pt x="732" y="5877"/>
                  </a:lnTo>
                  <a:lnTo>
                    <a:pt x="734" y="5870"/>
                  </a:lnTo>
                  <a:lnTo>
                    <a:pt x="737" y="5864"/>
                  </a:lnTo>
                  <a:lnTo>
                    <a:pt x="738" y="5857"/>
                  </a:lnTo>
                  <a:lnTo>
                    <a:pt x="738" y="5851"/>
                  </a:lnTo>
                  <a:lnTo>
                    <a:pt x="738" y="68"/>
                  </a:lnTo>
                  <a:lnTo>
                    <a:pt x="738" y="60"/>
                  </a:lnTo>
                  <a:lnTo>
                    <a:pt x="737" y="53"/>
                  </a:lnTo>
                  <a:lnTo>
                    <a:pt x="734" y="48"/>
                  </a:lnTo>
                  <a:lnTo>
                    <a:pt x="732" y="41"/>
                  </a:lnTo>
                  <a:lnTo>
                    <a:pt x="730" y="35"/>
                  </a:lnTo>
                  <a:lnTo>
                    <a:pt x="727" y="29"/>
                  </a:lnTo>
                  <a:lnTo>
                    <a:pt x="722" y="24"/>
                  </a:lnTo>
                  <a:lnTo>
                    <a:pt x="718" y="19"/>
                  </a:lnTo>
                  <a:lnTo>
                    <a:pt x="713" y="15"/>
                  </a:lnTo>
                  <a:lnTo>
                    <a:pt x="708" y="11"/>
                  </a:lnTo>
                  <a:lnTo>
                    <a:pt x="703" y="8"/>
                  </a:lnTo>
                  <a:lnTo>
                    <a:pt x="696" y="5"/>
                  </a:lnTo>
                  <a:lnTo>
                    <a:pt x="690" y="2"/>
                  </a:lnTo>
                  <a:lnTo>
                    <a:pt x="684" y="1"/>
                  </a:lnTo>
                  <a:lnTo>
                    <a:pt x="677" y="0"/>
                  </a:lnTo>
                  <a:lnTo>
                    <a:pt x="670" y="0"/>
                  </a:lnTo>
                  <a:lnTo>
                    <a:pt x="68" y="0"/>
                  </a:lnTo>
                  <a:lnTo>
                    <a:pt x="60" y="0"/>
                  </a:lnTo>
                  <a:lnTo>
                    <a:pt x="53" y="1"/>
                  </a:lnTo>
                  <a:lnTo>
                    <a:pt x="47" y="2"/>
                  </a:lnTo>
                  <a:lnTo>
                    <a:pt x="41" y="5"/>
                  </a:lnTo>
                  <a:lnTo>
                    <a:pt x="35" y="8"/>
                  </a:lnTo>
                  <a:lnTo>
                    <a:pt x="29" y="11"/>
                  </a:lnTo>
                  <a:lnTo>
                    <a:pt x="24" y="15"/>
                  </a:lnTo>
                  <a:lnTo>
                    <a:pt x="19" y="19"/>
                  </a:lnTo>
                  <a:lnTo>
                    <a:pt x="15" y="24"/>
                  </a:lnTo>
                  <a:lnTo>
                    <a:pt x="11" y="29"/>
                  </a:lnTo>
                  <a:lnTo>
                    <a:pt x="8" y="35"/>
                  </a:lnTo>
                  <a:lnTo>
                    <a:pt x="4" y="41"/>
                  </a:lnTo>
                  <a:lnTo>
                    <a:pt x="2" y="48"/>
                  </a:lnTo>
                  <a:lnTo>
                    <a:pt x="1" y="53"/>
                  </a:lnTo>
                  <a:lnTo>
                    <a:pt x="0" y="60"/>
                  </a:lnTo>
                  <a:lnTo>
                    <a:pt x="0" y="68"/>
                  </a:lnTo>
                  <a:lnTo>
                    <a:pt x="0" y="5851"/>
                  </a:lnTo>
                  <a:lnTo>
                    <a:pt x="0" y="5857"/>
                  </a:lnTo>
                  <a:lnTo>
                    <a:pt x="1" y="5864"/>
                  </a:lnTo>
                  <a:lnTo>
                    <a:pt x="2" y="5870"/>
                  </a:lnTo>
                  <a:lnTo>
                    <a:pt x="4" y="5877"/>
                  </a:lnTo>
                  <a:lnTo>
                    <a:pt x="8" y="5882"/>
                  </a:lnTo>
                  <a:lnTo>
                    <a:pt x="11" y="5888"/>
                  </a:lnTo>
                  <a:lnTo>
                    <a:pt x="15" y="5894"/>
                  </a:lnTo>
                  <a:lnTo>
                    <a:pt x="19" y="5898"/>
                  </a:lnTo>
                  <a:lnTo>
                    <a:pt x="24" y="5903"/>
                  </a:lnTo>
                  <a:lnTo>
                    <a:pt x="29" y="5906"/>
                  </a:lnTo>
                  <a:lnTo>
                    <a:pt x="35" y="5909"/>
                  </a:lnTo>
                  <a:lnTo>
                    <a:pt x="41" y="5913"/>
                  </a:lnTo>
                  <a:lnTo>
                    <a:pt x="47" y="5915"/>
                  </a:lnTo>
                  <a:lnTo>
                    <a:pt x="53" y="5916"/>
                  </a:lnTo>
                  <a:lnTo>
                    <a:pt x="60" y="5917"/>
                  </a:lnTo>
                  <a:lnTo>
                    <a:pt x="68" y="5918"/>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79" name="Freeform 735"/>
            <p:cNvSpPr>
              <a:spLocks/>
            </p:cNvSpPr>
            <p:nvPr/>
          </p:nvSpPr>
          <p:spPr bwMode="auto">
            <a:xfrm>
              <a:off x="4379" y="1549"/>
              <a:ext cx="246" cy="1435"/>
            </a:xfrm>
            <a:custGeom>
              <a:avLst/>
              <a:gdLst>
                <a:gd name="T0" fmla="*/ 74 w 738"/>
                <a:gd name="T1" fmla="*/ 348 h 5918"/>
                <a:gd name="T2" fmla="*/ 76 w 738"/>
                <a:gd name="T3" fmla="*/ 348 h 5918"/>
                <a:gd name="T4" fmla="*/ 77 w 738"/>
                <a:gd name="T5" fmla="*/ 348 h 5918"/>
                <a:gd name="T6" fmla="*/ 79 w 738"/>
                <a:gd name="T7" fmla="*/ 348 h 5918"/>
                <a:gd name="T8" fmla="*/ 80 w 738"/>
                <a:gd name="T9" fmla="*/ 347 h 5918"/>
                <a:gd name="T10" fmla="*/ 81 w 738"/>
                <a:gd name="T11" fmla="*/ 347 h 5918"/>
                <a:gd name="T12" fmla="*/ 81 w 738"/>
                <a:gd name="T13" fmla="*/ 346 h 5918"/>
                <a:gd name="T14" fmla="*/ 82 w 738"/>
                <a:gd name="T15" fmla="*/ 345 h 5918"/>
                <a:gd name="T16" fmla="*/ 82 w 738"/>
                <a:gd name="T17" fmla="*/ 345 h 5918"/>
                <a:gd name="T18" fmla="*/ 82 w 738"/>
                <a:gd name="T19" fmla="*/ 4 h 5918"/>
                <a:gd name="T20" fmla="*/ 82 w 738"/>
                <a:gd name="T21" fmla="*/ 3 h 5918"/>
                <a:gd name="T22" fmla="*/ 81 w 738"/>
                <a:gd name="T23" fmla="*/ 2 h 5918"/>
                <a:gd name="T24" fmla="*/ 81 w 738"/>
                <a:gd name="T25" fmla="*/ 2 h 5918"/>
                <a:gd name="T26" fmla="*/ 80 w 738"/>
                <a:gd name="T27" fmla="*/ 1 h 5918"/>
                <a:gd name="T28" fmla="*/ 79 w 738"/>
                <a:gd name="T29" fmla="*/ 1 h 5918"/>
                <a:gd name="T30" fmla="*/ 77 w 738"/>
                <a:gd name="T31" fmla="*/ 0 h 5918"/>
                <a:gd name="T32" fmla="*/ 76 w 738"/>
                <a:gd name="T33" fmla="*/ 0 h 5918"/>
                <a:gd name="T34" fmla="*/ 74 w 738"/>
                <a:gd name="T35" fmla="*/ 0 h 5918"/>
                <a:gd name="T36" fmla="*/ 7 w 738"/>
                <a:gd name="T37" fmla="*/ 0 h 5918"/>
                <a:gd name="T38" fmla="*/ 5 w 738"/>
                <a:gd name="T39" fmla="*/ 0 h 5918"/>
                <a:gd name="T40" fmla="*/ 4 w 738"/>
                <a:gd name="T41" fmla="*/ 0 h 5918"/>
                <a:gd name="T42" fmla="*/ 3 w 738"/>
                <a:gd name="T43" fmla="*/ 1 h 5918"/>
                <a:gd name="T44" fmla="*/ 2 w 738"/>
                <a:gd name="T45" fmla="*/ 1 h 5918"/>
                <a:gd name="T46" fmla="*/ 1 w 738"/>
                <a:gd name="T47" fmla="*/ 2 h 5918"/>
                <a:gd name="T48" fmla="*/ 0 w 738"/>
                <a:gd name="T49" fmla="*/ 3 h 5918"/>
                <a:gd name="T50" fmla="*/ 0 w 738"/>
                <a:gd name="T51" fmla="*/ 4 h 5918"/>
                <a:gd name="T52" fmla="*/ 0 w 738"/>
                <a:gd name="T53" fmla="*/ 345 h 5918"/>
                <a:gd name="T54" fmla="*/ 0 w 738"/>
                <a:gd name="T55" fmla="*/ 345 h 5918"/>
                <a:gd name="T56" fmla="*/ 0 w 738"/>
                <a:gd name="T57" fmla="*/ 346 h 5918"/>
                <a:gd name="T58" fmla="*/ 1 w 738"/>
                <a:gd name="T59" fmla="*/ 347 h 5918"/>
                <a:gd name="T60" fmla="*/ 2 w 738"/>
                <a:gd name="T61" fmla="*/ 347 h 5918"/>
                <a:gd name="T62" fmla="*/ 3 w 738"/>
                <a:gd name="T63" fmla="*/ 348 h 5918"/>
                <a:gd name="T64" fmla="*/ 5 w 738"/>
                <a:gd name="T65" fmla="*/ 348 h 5918"/>
                <a:gd name="T66" fmla="*/ 6 w 738"/>
                <a:gd name="T67" fmla="*/ 348 h 5918"/>
                <a:gd name="T68" fmla="*/ 8 w 738"/>
                <a:gd name="T69" fmla="*/ 348 h 59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8"/>
                <a:gd name="T106" fmla="*/ 0 h 5918"/>
                <a:gd name="T107" fmla="*/ 738 w 738"/>
                <a:gd name="T108" fmla="*/ 5918 h 59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8" h="5918">
                  <a:moveTo>
                    <a:pt x="68" y="5918"/>
                  </a:moveTo>
                  <a:lnTo>
                    <a:pt x="670" y="5918"/>
                  </a:lnTo>
                  <a:lnTo>
                    <a:pt x="677" y="5917"/>
                  </a:lnTo>
                  <a:lnTo>
                    <a:pt x="684" y="5916"/>
                  </a:lnTo>
                  <a:lnTo>
                    <a:pt x="690" y="5915"/>
                  </a:lnTo>
                  <a:lnTo>
                    <a:pt x="696" y="5913"/>
                  </a:lnTo>
                  <a:lnTo>
                    <a:pt x="703" y="5909"/>
                  </a:lnTo>
                  <a:lnTo>
                    <a:pt x="708" y="5906"/>
                  </a:lnTo>
                  <a:lnTo>
                    <a:pt x="713" y="5903"/>
                  </a:lnTo>
                  <a:lnTo>
                    <a:pt x="718" y="5898"/>
                  </a:lnTo>
                  <a:lnTo>
                    <a:pt x="722" y="5894"/>
                  </a:lnTo>
                  <a:lnTo>
                    <a:pt x="727" y="5888"/>
                  </a:lnTo>
                  <a:lnTo>
                    <a:pt x="730" y="5882"/>
                  </a:lnTo>
                  <a:lnTo>
                    <a:pt x="732" y="5877"/>
                  </a:lnTo>
                  <a:lnTo>
                    <a:pt x="734" y="5870"/>
                  </a:lnTo>
                  <a:lnTo>
                    <a:pt x="737" y="5864"/>
                  </a:lnTo>
                  <a:lnTo>
                    <a:pt x="738" y="5857"/>
                  </a:lnTo>
                  <a:lnTo>
                    <a:pt x="738" y="5851"/>
                  </a:lnTo>
                  <a:lnTo>
                    <a:pt x="738" y="68"/>
                  </a:lnTo>
                  <a:lnTo>
                    <a:pt x="738" y="60"/>
                  </a:lnTo>
                  <a:lnTo>
                    <a:pt x="737" y="53"/>
                  </a:lnTo>
                  <a:lnTo>
                    <a:pt x="734" y="48"/>
                  </a:lnTo>
                  <a:lnTo>
                    <a:pt x="732" y="41"/>
                  </a:lnTo>
                  <a:lnTo>
                    <a:pt x="730" y="35"/>
                  </a:lnTo>
                  <a:lnTo>
                    <a:pt x="727" y="29"/>
                  </a:lnTo>
                  <a:lnTo>
                    <a:pt x="722" y="24"/>
                  </a:lnTo>
                  <a:lnTo>
                    <a:pt x="718" y="19"/>
                  </a:lnTo>
                  <a:lnTo>
                    <a:pt x="713" y="15"/>
                  </a:lnTo>
                  <a:lnTo>
                    <a:pt x="708" y="11"/>
                  </a:lnTo>
                  <a:lnTo>
                    <a:pt x="703" y="8"/>
                  </a:lnTo>
                  <a:lnTo>
                    <a:pt x="696" y="5"/>
                  </a:lnTo>
                  <a:lnTo>
                    <a:pt x="690" y="2"/>
                  </a:lnTo>
                  <a:lnTo>
                    <a:pt x="684" y="1"/>
                  </a:lnTo>
                  <a:lnTo>
                    <a:pt x="677" y="0"/>
                  </a:lnTo>
                  <a:lnTo>
                    <a:pt x="670" y="0"/>
                  </a:lnTo>
                  <a:lnTo>
                    <a:pt x="68" y="0"/>
                  </a:lnTo>
                  <a:lnTo>
                    <a:pt x="60" y="0"/>
                  </a:lnTo>
                  <a:lnTo>
                    <a:pt x="53" y="1"/>
                  </a:lnTo>
                  <a:lnTo>
                    <a:pt x="47" y="2"/>
                  </a:lnTo>
                  <a:lnTo>
                    <a:pt x="41" y="5"/>
                  </a:lnTo>
                  <a:lnTo>
                    <a:pt x="35" y="8"/>
                  </a:lnTo>
                  <a:lnTo>
                    <a:pt x="29" y="11"/>
                  </a:lnTo>
                  <a:lnTo>
                    <a:pt x="24" y="15"/>
                  </a:lnTo>
                  <a:lnTo>
                    <a:pt x="19" y="19"/>
                  </a:lnTo>
                  <a:lnTo>
                    <a:pt x="15" y="24"/>
                  </a:lnTo>
                  <a:lnTo>
                    <a:pt x="11" y="29"/>
                  </a:lnTo>
                  <a:lnTo>
                    <a:pt x="8" y="35"/>
                  </a:lnTo>
                  <a:lnTo>
                    <a:pt x="4" y="41"/>
                  </a:lnTo>
                  <a:lnTo>
                    <a:pt x="2" y="48"/>
                  </a:lnTo>
                  <a:lnTo>
                    <a:pt x="1" y="53"/>
                  </a:lnTo>
                  <a:lnTo>
                    <a:pt x="0" y="60"/>
                  </a:lnTo>
                  <a:lnTo>
                    <a:pt x="0" y="68"/>
                  </a:lnTo>
                  <a:lnTo>
                    <a:pt x="0" y="5851"/>
                  </a:lnTo>
                  <a:lnTo>
                    <a:pt x="0" y="5857"/>
                  </a:lnTo>
                  <a:lnTo>
                    <a:pt x="1" y="5864"/>
                  </a:lnTo>
                  <a:lnTo>
                    <a:pt x="2" y="5870"/>
                  </a:lnTo>
                  <a:lnTo>
                    <a:pt x="4" y="5877"/>
                  </a:lnTo>
                  <a:lnTo>
                    <a:pt x="8" y="5882"/>
                  </a:lnTo>
                  <a:lnTo>
                    <a:pt x="11" y="5888"/>
                  </a:lnTo>
                  <a:lnTo>
                    <a:pt x="15" y="5894"/>
                  </a:lnTo>
                  <a:lnTo>
                    <a:pt x="19" y="5898"/>
                  </a:lnTo>
                  <a:lnTo>
                    <a:pt x="24" y="5903"/>
                  </a:lnTo>
                  <a:lnTo>
                    <a:pt x="29" y="5906"/>
                  </a:lnTo>
                  <a:lnTo>
                    <a:pt x="35" y="5909"/>
                  </a:lnTo>
                  <a:lnTo>
                    <a:pt x="41" y="5913"/>
                  </a:lnTo>
                  <a:lnTo>
                    <a:pt x="47" y="5915"/>
                  </a:lnTo>
                  <a:lnTo>
                    <a:pt x="53" y="5916"/>
                  </a:lnTo>
                  <a:lnTo>
                    <a:pt x="60" y="5917"/>
                  </a:lnTo>
                  <a:lnTo>
                    <a:pt x="68" y="5918"/>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80" name="Rectangle 736"/>
            <p:cNvSpPr>
              <a:spLocks noChangeArrowheads="1"/>
            </p:cNvSpPr>
            <p:nvPr/>
          </p:nvSpPr>
          <p:spPr bwMode="auto">
            <a:xfrm>
              <a:off x="4458" y="1564"/>
              <a:ext cx="97"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Field </a:t>
              </a:r>
              <a:endParaRPr lang="en-US" sz="1800" b="0" kern="0" baseline="0">
                <a:solidFill>
                  <a:sysClr val="windowText" lastClr="000000"/>
                </a:solidFill>
                <a:latin typeface="Arial" charset="0"/>
                <a:ea typeface="ＭＳ Ｐゴシック"/>
                <a:cs typeface="ＭＳ Ｐゴシック"/>
              </a:endParaRPr>
            </a:p>
          </p:txBody>
        </p:sp>
        <p:sp>
          <p:nvSpPr>
            <p:cNvPr id="181" name="Rectangle 737"/>
            <p:cNvSpPr>
              <a:spLocks noChangeArrowheads="1"/>
            </p:cNvSpPr>
            <p:nvPr/>
          </p:nvSpPr>
          <p:spPr bwMode="auto">
            <a:xfrm>
              <a:off x="4425" y="1599"/>
              <a:ext cx="14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erform</a:t>
              </a:r>
              <a:endParaRPr lang="en-US" sz="1800" b="0" kern="0" baseline="0">
                <a:solidFill>
                  <a:sysClr val="windowText" lastClr="000000"/>
                </a:solidFill>
                <a:latin typeface="Arial" charset="0"/>
                <a:ea typeface="ＭＳ Ｐゴシック"/>
                <a:cs typeface="ＭＳ Ｐゴシック"/>
              </a:endParaRPr>
            </a:p>
          </p:txBody>
        </p:sp>
        <p:sp>
          <p:nvSpPr>
            <p:cNvPr id="182" name="Rectangle 738"/>
            <p:cNvSpPr>
              <a:spLocks noChangeArrowheads="1"/>
            </p:cNvSpPr>
            <p:nvPr/>
          </p:nvSpPr>
          <p:spPr bwMode="auto">
            <a:xfrm>
              <a:off x="4568" y="1599"/>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183" name="Rectangle 739"/>
            <p:cNvSpPr>
              <a:spLocks noChangeArrowheads="1"/>
            </p:cNvSpPr>
            <p:nvPr/>
          </p:nvSpPr>
          <p:spPr bwMode="auto">
            <a:xfrm>
              <a:off x="4446" y="1634"/>
              <a:ext cx="9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gmt</a:t>
              </a:r>
              <a:endParaRPr lang="en-US" sz="1800" b="0" kern="0" baseline="0">
                <a:solidFill>
                  <a:sysClr val="windowText" lastClr="000000"/>
                </a:solidFill>
                <a:latin typeface="Arial" charset="0"/>
                <a:ea typeface="ＭＳ Ｐゴシック"/>
                <a:cs typeface="ＭＳ Ｐゴシック"/>
              </a:endParaRPr>
            </a:p>
          </p:txBody>
        </p:sp>
        <p:sp>
          <p:nvSpPr>
            <p:cNvPr id="184" name="Rectangle 740"/>
            <p:cNvSpPr>
              <a:spLocks noChangeArrowheads="1"/>
            </p:cNvSpPr>
            <p:nvPr/>
          </p:nvSpPr>
          <p:spPr bwMode="auto">
            <a:xfrm>
              <a:off x="4547" y="1634"/>
              <a:ext cx="1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185" name="Freeform 741"/>
            <p:cNvSpPr>
              <a:spLocks/>
            </p:cNvSpPr>
            <p:nvPr/>
          </p:nvSpPr>
          <p:spPr bwMode="auto">
            <a:xfrm>
              <a:off x="4118" y="1549"/>
              <a:ext cx="246" cy="1431"/>
            </a:xfrm>
            <a:custGeom>
              <a:avLst/>
              <a:gdLst>
                <a:gd name="T0" fmla="*/ 74 w 738"/>
                <a:gd name="T1" fmla="*/ 347 h 5894"/>
                <a:gd name="T2" fmla="*/ 76 w 738"/>
                <a:gd name="T3" fmla="*/ 347 h 5894"/>
                <a:gd name="T4" fmla="*/ 77 w 738"/>
                <a:gd name="T5" fmla="*/ 347 h 5894"/>
                <a:gd name="T6" fmla="*/ 79 w 738"/>
                <a:gd name="T7" fmla="*/ 347 h 5894"/>
                <a:gd name="T8" fmla="*/ 80 w 738"/>
                <a:gd name="T9" fmla="*/ 346 h 5894"/>
                <a:gd name="T10" fmla="*/ 81 w 738"/>
                <a:gd name="T11" fmla="*/ 345 h 5894"/>
                <a:gd name="T12" fmla="*/ 81 w 738"/>
                <a:gd name="T13" fmla="*/ 345 h 5894"/>
                <a:gd name="T14" fmla="*/ 82 w 738"/>
                <a:gd name="T15" fmla="*/ 344 h 5894"/>
                <a:gd name="T16" fmla="*/ 82 w 738"/>
                <a:gd name="T17" fmla="*/ 343 h 5894"/>
                <a:gd name="T18" fmla="*/ 82 w 738"/>
                <a:gd name="T19" fmla="*/ 4 h 5894"/>
                <a:gd name="T20" fmla="*/ 82 w 738"/>
                <a:gd name="T21" fmla="*/ 3 h 5894"/>
                <a:gd name="T22" fmla="*/ 81 w 738"/>
                <a:gd name="T23" fmla="*/ 2 h 5894"/>
                <a:gd name="T24" fmla="*/ 81 w 738"/>
                <a:gd name="T25" fmla="*/ 2 h 5894"/>
                <a:gd name="T26" fmla="*/ 80 w 738"/>
                <a:gd name="T27" fmla="*/ 1 h 5894"/>
                <a:gd name="T28" fmla="*/ 79 w 738"/>
                <a:gd name="T29" fmla="*/ 1 h 5894"/>
                <a:gd name="T30" fmla="*/ 77 w 738"/>
                <a:gd name="T31" fmla="*/ 0 h 5894"/>
                <a:gd name="T32" fmla="*/ 76 w 738"/>
                <a:gd name="T33" fmla="*/ 0 h 5894"/>
                <a:gd name="T34" fmla="*/ 74 w 738"/>
                <a:gd name="T35" fmla="*/ 0 h 5894"/>
                <a:gd name="T36" fmla="*/ 7 w 738"/>
                <a:gd name="T37" fmla="*/ 0 h 5894"/>
                <a:gd name="T38" fmla="*/ 5 w 738"/>
                <a:gd name="T39" fmla="*/ 0 h 5894"/>
                <a:gd name="T40" fmla="*/ 4 w 738"/>
                <a:gd name="T41" fmla="*/ 0 h 5894"/>
                <a:gd name="T42" fmla="*/ 3 w 738"/>
                <a:gd name="T43" fmla="*/ 1 h 5894"/>
                <a:gd name="T44" fmla="*/ 2 w 738"/>
                <a:gd name="T45" fmla="*/ 1 h 5894"/>
                <a:gd name="T46" fmla="*/ 1 w 738"/>
                <a:gd name="T47" fmla="*/ 2 h 5894"/>
                <a:gd name="T48" fmla="*/ 0 w 738"/>
                <a:gd name="T49" fmla="*/ 3 h 5894"/>
                <a:gd name="T50" fmla="*/ 0 w 738"/>
                <a:gd name="T51" fmla="*/ 4 h 5894"/>
                <a:gd name="T52" fmla="*/ 0 w 738"/>
                <a:gd name="T53" fmla="*/ 343 h 5894"/>
                <a:gd name="T54" fmla="*/ 0 w 738"/>
                <a:gd name="T55" fmla="*/ 344 h 5894"/>
                <a:gd name="T56" fmla="*/ 1 w 738"/>
                <a:gd name="T57" fmla="*/ 345 h 5894"/>
                <a:gd name="T58" fmla="*/ 1 w 738"/>
                <a:gd name="T59" fmla="*/ 345 h 5894"/>
                <a:gd name="T60" fmla="*/ 2 w 738"/>
                <a:gd name="T61" fmla="*/ 346 h 5894"/>
                <a:gd name="T62" fmla="*/ 3 w 738"/>
                <a:gd name="T63" fmla="*/ 347 h 5894"/>
                <a:gd name="T64" fmla="*/ 5 w 738"/>
                <a:gd name="T65" fmla="*/ 347 h 5894"/>
                <a:gd name="T66" fmla="*/ 6 w 738"/>
                <a:gd name="T67" fmla="*/ 347 h 5894"/>
                <a:gd name="T68" fmla="*/ 7 w 738"/>
                <a:gd name="T69" fmla="*/ 347 h 58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8"/>
                <a:gd name="T106" fmla="*/ 0 h 5894"/>
                <a:gd name="T107" fmla="*/ 738 w 738"/>
                <a:gd name="T108" fmla="*/ 5894 h 58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8" h="5894">
                  <a:moveTo>
                    <a:pt x="67" y="5894"/>
                  </a:moveTo>
                  <a:lnTo>
                    <a:pt x="670" y="5894"/>
                  </a:lnTo>
                  <a:lnTo>
                    <a:pt x="677" y="5892"/>
                  </a:lnTo>
                  <a:lnTo>
                    <a:pt x="683" y="5891"/>
                  </a:lnTo>
                  <a:lnTo>
                    <a:pt x="690" y="5890"/>
                  </a:lnTo>
                  <a:lnTo>
                    <a:pt x="697" y="5888"/>
                  </a:lnTo>
                  <a:lnTo>
                    <a:pt x="703" y="5885"/>
                  </a:lnTo>
                  <a:lnTo>
                    <a:pt x="708" y="5881"/>
                  </a:lnTo>
                  <a:lnTo>
                    <a:pt x="713" y="5878"/>
                  </a:lnTo>
                  <a:lnTo>
                    <a:pt x="718" y="5873"/>
                  </a:lnTo>
                  <a:lnTo>
                    <a:pt x="722" y="5869"/>
                  </a:lnTo>
                  <a:lnTo>
                    <a:pt x="726" y="5863"/>
                  </a:lnTo>
                  <a:lnTo>
                    <a:pt x="730" y="5857"/>
                  </a:lnTo>
                  <a:lnTo>
                    <a:pt x="732" y="5852"/>
                  </a:lnTo>
                  <a:lnTo>
                    <a:pt x="734" y="5845"/>
                  </a:lnTo>
                  <a:lnTo>
                    <a:pt x="737" y="5839"/>
                  </a:lnTo>
                  <a:lnTo>
                    <a:pt x="738" y="5833"/>
                  </a:lnTo>
                  <a:lnTo>
                    <a:pt x="738" y="5826"/>
                  </a:lnTo>
                  <a:lnTo>
                    <a:pt x="738" y="68"/>
                  </a:lnTo>
                  <a:lnTo>
                    <a:pt x="738" y="60"/>
                  </a:lnTo>
                  <a:lnTo>
                    <a:pt x="737" y="53"/>
                  </a:lnTo>
                  <a:lnTo>
                    <a:pt x="734" y="48"/>
                  </a:lnTo>
                  <a:lnTo>
                    <a:pt x="732" y="41"/>
                  </a:lnTo>
                  <a:lnTo>
                    <a:pt x="730" y="35"/>
                  </a:lnTo>
                  <a:lnTo>
                    <a:pt x="726" y="29"/>
                  </a:lnTo>
                  <a:lnTo>
                    <a:pt x="722" y="24"/>
                  </a:lnTo>
                  <a:lnTo>
                    <a:pt x="718" y="19"/>
                  </a:lnTo>
                  <a:lnTo>
                    <a:pt x="713" y="15"/>
                  </a:lnTo>
                  <a:lnTo>
                    <a:pt x="708" y="11"/>
                  </a:lnTo>
                  <a:lnTo>
                    <a:pt x="703" y="8"/>
                  </a:lnTo>
                  <a:lnTo>
                    <a:pt x="697" y="5"/>
                  </a:lnTo>
                  <a:lnTo>
                    <a:pt x="690" y="2"/>
                  </a:lnTo>
                  <a:lnTo>
                    <a:pt x="683" y="1"/>
                  </a:lnTo>
                  <a:lnTo>
                    <a:pt x="677" y="0"/>
                  </a:lnTo>
                  <a:lnTo>
                    <a:pt x="670" y="0"/>
                  </a:lnTo>
                  <a:lnTo>
                    <a:pt x="67" y="0"/>
                  </a:lnTo>
                  <a:lnTo>
                    <a:pt x="61" y="0"/>
                  </a:lnTo>
                  <a:lnTo>
                    <a:pt x="54" y="1"/>
                  </a:lnTo>
                  <a:lnTo>
                    <a:pt x="47" y="2"/>
                  </a:lnTo>
                  <a:lnTo>
                    <a:pt x="41" y="5"/>
                  </a:lnTo>
                  <a:lnTo>
                    <a:pt x="35" y="8"/>
                  </a:lnTo>
                  <a:lnTo>
                    <a:pt x="29" y="11"/>
                  </a:lnTo>
                  <a:lnTo>
                    <a:pt x="25" y="15"/>
                  </a:lnTo>
                  <a:lnTo>
                    <a:pt x="19" y="19"/>
                  </a:lnTo>
                  <a:lnTo>
                    <a:pt x="15" y="24"/>
                  </a:lnTo>
                  <a:lnTo>
                    <a:pt x="11" y="29"/>
                  </a:lnTo>
                  <a:lnTo>
                    <a:pt x="8" y="35"/>
                  </a:lnTo>
                  <a:lnTo>
                    <a:pt x="5" y="41"/>
                  </a:lnTo>
                  <a:lnTo>
                    <a:pt x="3" y="48"/>
                  </a:lnTo>
                  <a:lnTo>
                    <a:pt x="1" y="53"/>
                  </a:lnTo>
                  <a:lnTo>
                    <a:pt x="0" y="60"/>
                  </a:lnTo>
                  <a:lnTo>
                    <a:pt x="0" y="68"/>
                  </a:lnTo>
                  <a:lnTo>
                    <a:pt x="0" y="5826"/>
                  </a:lnTo>
                  <a:lnTo>
                    <a:pt x="0" y="5833"/>
                  </a:lnTo>
                  <a:lnTo>
                    <a:pt x="1" y="5839"/>
                  </a:lnTo>
                  <a:lnTo>
                    <a:pt x="3" y="5845"/>
                  </a:lnTo>
                  <a:lnTo>
                    <a:pt x="5" y="5852"/>
                  </a:lnTo>
                  <a:lnTo>
                    <a:pt x="8" y="5857"/>
                  </a:lnTo>
                  <a:lnTo>
                    <a:pt x="11" y="5863"/>
                  </a:lnTo>
                  <a:lnTo>
                    <a:pt x="15" y="5869"/>
                  </a:lnTo>
                  <a:lnTo>
                    <a:pt x="19" y="5873"/>
                  </a:lnTo>
                  <a:lnTo>
                    <a:pt x="25" y="5878"/>
                  </a:lnTo>
                  <a:lnTo>
                    <a:pt x="29" y="5881"/>
                  </a:lnTo>
                  <a:lnTo>
                    <a:pt x="35" y="5885"/>
                  </a:lnTo>
                  <a:lnTo>
                    <a:pt x="41" y="5888"/>
                  </a:lnTo>
                  <a:lnTo>
                    <a:pt x="47" y="5890"/>
                  </a:lnTo>
                  <a:lnTo>
                    <a:pt x="54" y="5891"/>
                  </a:lnTo>
                  <a:lnTo>
                    <a:pt x="61" y="5892"/>
                  </a:lnTo>
                  <a:lnTo>
                    <a:pt x="67" y="5894"/>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86" name="Freeform 742"/>
            <p:cNvSpPr>
              <a:spLocks/>
            </p:cNvSpPr>
            <p:nvPr/>
          </p:nvSpPr>
          <p:spPr bwMode="auto">
            <a:xfrm>
              <a:off x="4118" y="1549"/>
              <a:ext cx="246" cy="1431"/>
            </a:xfrm>
            <a:custGeom>
              <a:avLst/>
              <a:gdLst>
                <a:gd name="T0" fmla="*/ 74 w 738"/>
                <a:gd name="T1" fmla="*/ 347 h 5894"/>
                <a:gd name="T2" fmla="*/ 76 w 738"/>
                <a:gd name="T3" fmla="*/ 347 h 5894"/>
                <a:gd name="T4" fmla="*/ 77 w 738"/>
                <a:gd name="T5" fmla="*/ 347 h 5894"/>
                <a:gd name="T6" fmla="*/ 79 w 738"/>
                <a:gd name="T7" fmla="*/ 347 h 5894"/>
                <a:gd name="T8" fmla="*/ 80 w 738"/>
                <a:gd name="T9" fmla="*/ 346 h 5894"/>
                <a:gd name="T10" fmla="*/ 81 w 738"/>
                <a:gd name="T11" fmla="*/ 345 h 5894"/>
                <a:gd name="T12" fmla="*/ 81 w 738"/>
                <a:gd name="T13" fmla="*/ 345 h 5894"/>
                <a:gd name="T14" fmla="*/ 82 w 738"/>
                <a:gd name="T15" fmla="*/ 344 h 5894"/>
                <a:gd name="T16" fmla="*/ 82 w 738"/>
                <a:gd name="T17" fmla="*/ 343 h 5894"/>
                <a:gd name="T18" fmla="*/ 82 w 738"/>
                <a:gd name="T19" fmla="*/ 4 h 5894"/>
                <a:gd name="T20" fmla="*/ 82 w 738"/>
                <a:gd name="T21" fmla="*/ 3 h 5894"/>
                <a:gd name="T22" fmla="*/ 81 w 738"/>
                <a:gd name="T23" fmla="*/ 2 h 5894"/>
                <a:gd name="T24" fmla="*/ 81 w 738"/>
                <a:gd name="T25" fmla="*/ 2 h 5894"/>
                <a:gd name="T26" fmla="*/ 80 w 738"/>
                <a:gd name="T27" fmla="*/ 1 h 5894"/>
                <a:gd name="T28" fmla="*/ 79 w 738"/>
                <a:gd name="T29" fmla="*/ 1 h 5894"/>
                <a:gd name="T30" fmla="*/ 77 w 738"/>
                <a:gd name="T31" fmla="*/ 0 h 5894"/>
                <a:gd name="T32" fmla="*/ 76 w 738"/>
                <a:gd name="T33" fmla="*/ 0 h 5894"/>
                <a:gd name="T34" fmla="*/ 74 w 738"/>
                <a:gd name="T35" fmla="*/ 0 h 5894"/>
                <a:gd name="T36" fmla="*/ 7 w 738"/>
                <a:gd name="T37" fmla="*/ 0 h 5894"/>
                <a:gd name="T38" fmla="*/ 5 w 738"/>
                <a:gd name="T39" fmla="*/ 0 h 5894"/>
                <a:gd name="T40" fmla="*/ 4 w 738"/>
                <a:gd name="T41" fmla="*/ 0 h 5894"/>
                <a:gd name="T42" fmla="*/ 3 w 738"/>
                <a:gd name="T43" fmla="*/ 1 h 5894"/>
                <a:gd name="T44" fmla="*/ 2 w 738"/>
                <a:gd name="T45" fmla="*/ 1 h 5894"/>
                <a:gd name="T46" fmla="*/ 1 w 738"/>
                <a:gd name="T47" fmla="*/ 2 h 5894"/>
                <a:gd name="T48" fmla="*/ 0 w 738"/>
                <a:gd name="T49" fmla="*/ 3 h 5894"/>
                <a:gd name="T50" fmla="*/ 0 w 738"/>
                <a:gd name="T51" fmla="*/ 4 h 5894"/>
                <a:gd name="T52" fmla="*/ 0 w 738"/>
                <a:gd name="T53" fmla="*/ 343 h 5894"/>
                <a:gd name="T54" fmla="*/ 0 w 738"/>
                <a:gd name="T55" fmla="*/ 344 h 5894"/>
                <a:gd name="T56" fmla="*/ 1 w 738"/>
                <a:gd name="T57" fmla="*/ 345 h 5894"/>
                <a:gd name="T58" fmla="*/ 1 w 738"/>
                <a:gd name="T59" fmla="*/ 345 h 5894"/>
                <a:gd name="T60" fmla="*/ 2 w 738"/>
                <a:gd name="T61" fmla="*/ 346 h 5894"/>
                <a:gd name="T62" fmla="*/ 3 w 738"/>
                <a:gd name="T63" fmla="*/ 347 h 5894"/>
                <a:gd name="T64" fmla="*/ 5 w 738"/>
                <a:gd name="T65" fmla="*/ 347 h 5894"/>
                <a:gd name="T66" fmla="*/ 6 w 738"/>
                <a:gd name="T67" fmla="*/ 347 h 5894"/>
                <a:gd name="T68" fmla="*/ 7 w 738"/>
                <a:gd name="T69" fmla="*/ 347 h 58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8"/>
                <a:gd name="T106" fmla="*/ 0 h 5894"/>
                <a:gd name="T107" fmla="*/ 738 w 738"/>
                <a:gd name="T108" fmla="*/ 5894 h 58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8" h="5894">
                  <a:moveTo>
                    <a:pt x="67" y="5894"/>
                  </a:moveTo>
                  <a:lnTo>
                    <a:pt x="670" y="5894"/>
                  </a:lnTo>
                  <a:lnTo>
                    <a:pt x="677" y="5892"/>
                  </a:lnTo>
                  <a:lnTo>
                    <a:pt x="683" y="5891"/>
                  </a:lnTo>
                  <a:lnTo>
                    <a:pt x="690" y="5890"/>
                  </a:lnTo>
                  <a:lnTo>
                    <a:pt x="697" y="5888"/>
                  </a:lnTo>
                  <a:lnTo>
                    <a:pt x="703" y="5885"/>
                  </a:lnTo>
                  <a:lnTo>
                    <a:pt x="708" y="5881"/>
                  </a:lnTo>
                  <a:lnTo>
                    <a:pt x="713" y="5878"/>
                  </a:lnTo>
                  <a:lnTo>
                    <a:pt x="718" y="5873"/>
                  </a:lnTo>
                  <a:lnTo>
                    <a:pt x="722" y="5869"/>
                  </a:lnTo>
                  <a:lnTo>
                    <a:pt x="726" y="5863"/>
                  </a:lnTo>
                  <a:lnTo>
                    <a:pt x="730" y="5857"/>
                  </a:lnTo>
                  <a:lnTo>
                    <a:pt x="732" y="5852"/>
                  </a:lnTo>
                  <a:lnTo>
                    <a:pt x="734" y="5845"/>
                  </a:lnTo>
                  <a:lnTo>
                    <a:pt x="737" y="5839"/>
                  </a:lnTo>
                  <a:lnTo>
                    <a:pt x="738" y="5833"/>
                  </a:lnTo>
                  <a:lnTo>
                    <a:pt x="738" y="5826"/>
                  </a:lnTo>
                  <a:lnTo>
                    <a:pt x="738" y="68"/>
                  </a:lnTo>
                  <a:lnTo>
                    <a:pt x="738" y="60"/>
                  </a:lnTo>
                  <a:lnTo>
                    <a:pt x="737" y="53"/>
                  </a:lnTo>
                  <a:lnTo>
                    <a:pt x="734" y="48"/>
                  </a:lnTo>
                  <a:lnTo>
                    <a:pt x="732" y="41"/>
                  </a:lnTo>
                  <a:lnTo>
                    <a:pt x="730" y="35"/>
                  </a:lnTo>
                  <a:lnTo>
                    <a:pt x="726" y="29"/>
                  </a:lnTo>
                  <a:lnTo>
                    <a:pt x="722" y="24"/>
                  </a:lnTo>
                  <a:lnTo>
                    <a:pt x="718" y="19"/>
                  </a:lnTo>
                  <a:lnTo>
                    <a:pt x="713" y="15"/>
                  </a:lnTo>
                  <a:lnTo>
                    <a:pt x="708" y="11"/>
                  </a:lnTo>
                  <a:lnTo>
                    <a:pt x="703" y="8"/>
                  </a:lnTo>
                  <a:lnTo>
                    <a:pt x="697" y="5"/>
                  </a:lnTo>
                  <a:lnTo>
                    <a:pt x="690" y="2"/>
                  </a:lnTo>
                  <a:lnTo>
                    <a:pt x="683" y="1"/>
                  </a:lnTo>
                  <a:lnTo>
                    <a:pt x="677" y="0"/>
                  </a:lnTo>
                  <a:lnTo>
                    <a:pt x="670" y="0"/>
                  </a:lnTo>
                  <a:lnTo>
                    <a:pt x="67" y="0"/>
                  </a:lnTo>
                  <a:lnTo>
                    <a:pt x="61" y="0"/>
                  </a:lnTo>
                  <a:lnTo>
                    <a:pt x="54" y="1"/>
                  </a:lnTo>
                  <a:lnTo>
                    <a:pt x="47" y="2"/>
                  </a:lnTo>
                  <a:lnTo>
                    <a:pt x="41" y="5"/>
                  </a:lnTo>
                  <a:lnTo>
                    <a:pt x="35" y="8"/>
                  </a:lnTo>
                  <a:lnTo>
                    <a:pt x="29" y="11"/>
                  </a:lnTo>
                  <a:lnTo>
                    <a:pt x="25" y="15"/>
                  </a:lnTo>
                  <a:lnTo>
                    <a:pt x="19" y="19"/>
                  </a:lnTo>
                  <a:lnTo>
                    <a:pt x="15" y="24"/>
                  </a:lnTo>
                  <a:lnTo>
                    <a:pt x="11" y="29"/>
                  </a:lnTo>
                  <a:lnTo>
                    <a:pt x="8" y="35"/>
                  </a:lnTo>
                  <a:lnTo>
                    <a:pt x="5" y="41"/>
                  </a:lnTo>
                  <a:lnTo>
                    <a:pt x="3" y="48"/>
                  </a:lnTo>
                  <a:lnTo>
                    <a:pt x="1" y="53"/>
                  </a:lnTo>
                  <a:lnTo>
                    <a:pt x="0" y="60"/>
                  </a:lnTo>
                  <a:lnTo>
                    <a:pt x="0" y="68"/>
                  </a:lnTo>
                  <a:lnTo>
                    <a:pt x="0" y="5826"/>
                  </a:lnTo>
                  <a:lnTo>
                    <a:pt x="0" y="5833"/>
                  </a:lnTo>
                  <a:lnTo>
                    <a:pt x="1" y="5839"/>
                  </a:lnTo>
                  <a:lnTo>
                    <a:pt x="3" y="5845"/>
                  </a:lnTo>
                  <a:lnTo>
                    <a:pt x="5" y="5852"/>
                  </a:lnTo>
                  <a:lnTo>
                    <a:pt x="8" y="5857"/>
                  </a:lnTo>
                  <a:lnTo>
                    <a:pt x="11" y="5863"/>
                  </a:lnTo>
                  <a:lnTo>
                    <a:pt x="15" y="5869"/>
                  </a:lnTo>
                  <a:lnTo>
                    <a:pt x="19" y="5873"/>
                  </a:lnTo>
                  <a:lnTo>
                    <a:pt x="25" y="5878"/>
                  </a:lnTo>
                  <a:lnTo>
                    <a:pt x="29" y="5881"/>
                  </a:lnTo>
                  <a:lnTo>
                    <a:pt x="35" y="5885"/>
                  </a:lnTo>
                  <a:lnTo>
                    <a:pt x="41" y="5888"/>
                  </a:lnTo>
                  <a:lnTo>
                    <a:pt x="47" y="5890"/>
                  </a:lnTo>
                  <a:lnTo>
                    <a:pt x="54" y="5891"/>
                  </a:lnTo>
                  <a:lnTo>
                    <a:pt x="61" y="5892"/>
                  </a:lnTo>
                  <a:lnTo>
                    <a:pt x="67" y="5894"/>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87" name="Rectangle 743"/>
            <p:cNvSpPr>
              <a:spLocks noChangeArrowheads="1"/>
            </p:cNvSpPr>
            <p:nvPr/>
          </p:nvSpPr>
          <p:spPr bwMode="auto">
            <a:xfrm>
              <a:off x="4159" y="1564"/>
              <a:ext cx="15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ontract</a:t>
              </a:r>
              <a:endParaRPr lang="en-US" sz="1800" b="0" kern="0" baseline="0">
                <a:solidFill>
                  <a:sysClr val="windowText" lastClr="000000"/>
                </a:solidFill>
                <a:latin typeface="Arial" charset="0"/>
                <a:ea typeface="ＭＳ Ｐゴシック"/>
                <a:cs typeface="ＭＳ Ｐゴシック"/>
              </a:endParaRPr>
            </a:p>
          </p:txBody>
        </p:sp>
        <p:sp>
          <p:nvSpPr>
            <p:cNvPr id="188" name="Rectangle 744"/>
            <p:cNvSpPr>
              <a:spLocks noChangeArrowheads="1"/>
            </p:cNvSpPr>
            <p:nvPr/>
          </p:nvSpPr>
          <p:spPr bwMode="auto">
            <a:xfrm>
              <a:off x="4311" y="1564"/>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189" name="Rectangle 745"/>
            <p:cNvSpPr>
              <a:spLocks noChangeArrowheads="1"/>
            </p:cNvSpPr>
            <p:nvPr/>
          </p:nvSpPr>
          <p:spPr bwMode="auto">
            <a:xfrm>
              <a:off x="4168" y="1599"/>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elivery </a:t>
              </a:r>
              <a:endParaRPr lang="en-US" sz="1800" b="0" kern="0" baseline="0">
                <a:solidFill>
                  <a:sysClr val="windowText" lastClr="000000"/>
                </a:solidFill>
                <a:latin typeface="Arial" charset="0"/>
                <a:ea typeface="ＭＳ Ｐゴシック"/>
                <a:cs typeface="ＭＳ Ｐゴシック"/>
              </a:endParaRPr>
            </a:p>
          </p:txBody>
        </p:sp>
        <p:sp>
          <p:nvSpPr>
            <p:cNvPr id="190" name="Rectangle 746"/>
            <p:cNvSpPr>
              <a:spLocks noChangeArrowheads="1"/>
            </p:cNvSpPr>
            <p:nvPr/>
          </p:nvSpPr>
          <p:spPr bwMode="auto">
            <a:xfrm>
              <a:off x="4191" y="1634"/>
              <a:ext cx="9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gmt</a:t>
              </a:r>
              <a:endParaRPr lang="en-US" sz="1800" b="0" kern="0" baseline="0">
                <a:solidFill>
                  <a:sysClr val="windowText" lastClr="000000"/>
                </a:solidFill>
                <a:latin typeface="Arial" charset="0"/>
                <a:ea typeface="ＭＳ Ｐゴシック"/>
                <a:cs typeface="ＭＳ Ｐゴシック"/>
              </a:endParaRPr>
            </a:p>
          </p:txBody>
        </p:sp>
        <p:sp>
          <p:nvSpPr>
            <p:cNvPr id="191" name="Freeform 747"/>
            <p:cNvSpPr>
              <a:spLocks/>
            </p:cNvSpPr>
            <p:nvPr/>
          </p:nvSpPr>
          <p:spPr bwMode="auto">
            <a:xfrm>
              <a:off x="3589" y="1549"/>
              <a:ext cx="246" cy="1427"/>
            </a:xfrm>
            <a:custGeom>
              <a:avLst/>
              <a:gdLst>
                <a:gd name="T0" fmla="*/ 74 w 738"/>
                <a:gd name="T1" fmla="*/ 347 h 5880"/>
                <a:gd name="T2" fmla="*/ 76 w 738"/>
                <a:gd name="T3" fmla="*/ 347 h 5880"/>
                <a:gd name="T4" fmla="*/ 77 w 738"/>
                <a:gd name="T5" fmla="*/ 347 h 5880"/>
                <a:gd name="T6" fmla="*/ 79 w 738"/>
                <a:gd name="T7" fmla="*/ 346 h 5880"/>
                <a:gd name="T8" fmla="*/ 80 w 738"/>
                <a:gd name="T9" fmla="*/ 346 h 5880"/>
                <a:gd name="T10" fmla="*/ 81 w 738"/>
                <a:gd name="T11" fmla="*/ 345 h 5880"/>
                <a:gd name="T12" fmla="*/ 81 w 738"/>
                <a:gd name="T13" fmla="*/ 344 h 5880"/>
                <a:gd name="T14" fmla="*/ 82 w 738"/>
                <a:gd name="T15" fmla="*/ 344 h 5880"/>
                <a:gd name="T16" fmla="*/ 82 w 738"/>
                <a:gd name="T17" fmla="*/ 343 h 5880"/>
                <a:gd name="T18" fmla="*/ 82 w 738"/>
                <a:gd name="T19" fmla="*/ 4 h 5880"/>
                <a:gd name="T20" fmla="*/ 82 w 738"/>
                <a:gd name="T21" fmla="*/ 3 h 5880"/>
                <a:gd name="T22" fmla="*/ 81 w 738"/>
                <a:gd name="T23" fmla="*/ 2 h 5880"/>
                <a:gd name="T24" fmla="*/ 81 w 738"/>
                <a:gd name="T25" fmla="*/ 2 h 5880"/>
                <a:gd name="T26" fmla="*/ 80 w 738"/>
                <a:gd name="T27" fmla="*/ 1 h 5880"/>
                <a:gd name="T28" fmla="*/ 79 w 738"/>
                <a:gd name="T29" fmla="*/ 1 h 5880"/>
                <a:gd name="T30" fmla="*/ 77 w 738"/>
                <a:gd name="T31" fmla="*/ 0 h 5880"/>
                <a:gd name="T32" fmla="*/ 76 w 738"/>
                <a:gd name="T33" fmla="*/ 0 h 5880"/>
                <a:gd name="T34" fmla="*/ 74 w 738"/>
                <a:gd name="T35" fmla="*/ 0 h 5880"/>
                <a:gd name="T36" fmla="*/ 7 w 738"/>
                <a:gd name="T37" fmla="*/ 0 h 5880"/>
                <a:gd name="T38" fmla="*/ 5 w 738"/>
                <a:gd name="T39" fmla="*/ 0 h 5880"/>
                <a:gd name="T40" fmla="*/ 4 w 738"/>
                <a:gd name="T41" fmla="*/ 0 h 5880"/>
                <a:gd name="T42" fmla="*/ 3 w 738"/>
                <a:gd name="T43" fmla="*/ 1 h 5880"/>
                <a:gd name="T44" fmla="*/ 2 w 738"/>
                <a:gd name="T45" fmla="*/ 1 h 5880"/>
                <a:gd name="T46" fmla="*/ 1 w 738"/>
                <a:gd name="T47" fmla="*/ 2 h 5880"/>
                <a:gd name="T48" fmla="*/ 0 w 738"/>
                <a:gd name="T49" fmla="*/ 3 h 5880"/>
                <a:gd name="T50" fmla="*/ 0 w 738"/>
                <a:gd name="T51" fmla="*/ 4 h 5880"/>
                <a:gd name="T52" fmla="*/ 0 w 738"/>
                <a:gd name="T53" fmla="*/ 343 h 5880"/>
                <a:gd name="T54" fmla="*/ 0 w 738"/>
                <a:gd name="T55" fmla="*/ 344 h 5880"/>
                <a:gd name="T56" fmla="*/ 1 w 738"/>
                <a:gd name="T57" fmla="*/ 344 h 5880"/>
                <a:gd name="T58" fmla="*/ 1 w 738"/>
                <a:gd name="T59" fmla="*/ 345 h 5880"/>
                <a:gd name="T60" fmla="*/ 2 w 738"/>
                <a:gd name="T61" fmla="*/ 346 h 5880"/>
                <a:gd name="T62" fmla="*/ 3 w 738"/>
                <a:gd name="T63" fmla="*/ 346 h 5880"/>
                <a:gd name="T64" fmla="*/ 5 w 738"/>
                <a:gd name="T65" fmla="*/ 347 h 5880"/>
                <a:gd name="T66" fmla="*/ 6 w 738"/>
                <a:gd name="T67" fmla="*/ 347 h 5880"/>
                <a:gd name="T68" fmla="*/ 8 w 738"/>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8"/>
                <a:gd name="T106" fmla="*/ 0 h 5880"/>
                <a:gd name="T107" fmla="*/ 738 w 738"/>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8" h="5880">
                  <a:moveTo>
                    <a:pt x="68" y="5880"/>
                  </a:moveTo>
                  <a:lnTo>
                    <a:pt x="670" y="5880"/>
                  </a:lnTo>
                  <a:lnTo>
                    <a:pt x="677" y="5880"/>
                  </a:lnTo>
                  <a:lnTo>
                    <a:pt x="684" y="5879"/>
                  </a:lnTo>
                  <a:lnTo>
                    <a:pt x="691" y="5877"/>
                  </a:lnTo>
                  <a:lnTo>
                    <a:pt x="696" y="5874"/>
                  </a:lnTo>
                  <a:lnTo>
                    <a:pt x="703" y="5872"/>
                  </a:lnTo>
                  <a:lnTo>
                    <a:pt x="709" y="5869"/>
                  </a:lnTo>
                  <a:lnTo>
                    <a:pt x="713" y="5864"/>
                  </a:lnTo>
                  <a:lnTo>
                    <a:pt x="718" y="5861"/>
                  </a:lnTo>
                  <a:lnTo>
                    <a:pt x="722" y="5855"/>
                  </a:lnTo>
                  <a:lnTo>
                    <a:pt x="727" y="5851"/>
                  </a:lnTo>
                  <a:lnTo>
                    <a:pt x="730" y="5845"/>
                  </a:lnTo>
                  <a:lnTo>
                    <a:pt x="732" y="5839"/>
                  </a:lnTo>
                  <a:lnTo>
                    <a:pt x="735" y="5833"/>
                  </a:lnTo>
                  <a:lnTo>
                    <a:pt x="737" y="5826"/>
                  </a:lnTo>
                  <a:lnTo>
                    <a:pt x="738" y="5819"/>
                  </a:lnTo>
                  <a:lnTo>
                    <a:pt x="738" y="5812"/>
                  </a:lnTo>
                  <a:lnTo>
                    <a:pt x="738" y="68"/>
                  </a:lnTo>
                  <a:lnTo>
                    <a:pt x="738" y="60"/>
                  </a:lnTo>
                  <a:lnTo>
                    <a:pt x="737" y="53"/>
                  </a:lnTo>
                  <a:lnTo>
                    <a:pt x="735" y="48"/>
                  </a:lnTo>
                  <a:lnTo>
                    <a:pt x="732" y="41"/>
                  </a:lnTo>
                  <a:lnTo>
                    <a:pt x="730" y="35"/>
                  </a:lnTo>
                  <a:lnTo>
                    <a:pt x="727" y="29"/>
                  </a:lnTo>
                  <a:lnTo>
                    <a:pt x="722" y="24"/>
                  </a:lnTo>
                  <a:lnTo>
                    <a:pt x="718" y="19"/>
                  </a:lnTo>
                  <a:lnTo>
                    <a:pt x="713" y="15"/>
                  </a:lnTo>
                  <a:lnTo>
                    <a:pt x="709" y="11"/>
                  </a:lnTo>
                  <a:lnTo>
                    <a:pt x="703" y="8"/>
                  </a:lnTo>
                  <a:lnTo>
                    <a:pt x="696" y="5"/>
                  </a:lnTo>
                  <a:lnTo>
                    <a:pt x="691" y="2"/>
                  </a:lnTo>
                  <a:lnTo>
                    <a:pt x="684" y="1"/>
                  </a:lnTo>
                  <a:lnTo>
                    <a:pt x="677" y="0"/>
                  </a:lnTo>
                  <a:lnTo>
                    <a:pt x="670" y="0"/>
                  </a:lnTo>
                  <a:lnTo>
                    <a:pt x="68" y="0"/>
                  </a:lnTo>
                  <a:lnTo>
                    <a:pt x="60" y="0"/>
                  </a:lnTo>
                  <a:lnTo>
                    <a:pt x="53" y="1"/>
                  </a:lnTo>
                  <a:lnTo>
                    <a:pt x="48" y="2"/>
                  </a:lnTo>
                  <a:lnTo>
                    <a:pt x="41" y="5"/>
                  </a:lnTo>
                  <a:lnTo>
                    <a:pt x="35" y="8"/>
                  </a:lnTo>
                  <a:lnTo>
                    <a:pt x="29" y="11"/>
                  </a:lnTo>
                  <a:lnTo>
                    <a:pt x="24" y="15"/>
                  </a:lnTo>
                  <a:lnTo>
                    <a:pt x="19" y="19"/>
                  </a:lnTo>
                  <a:lnTo>
                    <a:pt x="15" y="24"/>
                  </a:lnTo>
                  <a:lnTo>
                    <a:pt x="11" y="29"/>
                  </a:lnTo>
                  <a:lnTo>
                    <a:pt x="8" y="35"/>
                  </a:lnTo>
                  <a:lnTo>
                    <a:pt x="5" y="41"/>
                  </a:lnTo>
                  <a:lnTo>
                    <a:pt x="2" y="48"/>
                  </a:lnTo>
                  <a:lnTo>
                    <a:pt x="1" y="53"/>
                  </a:lnTo>
                  <a:lnTo>
                    <a:pt x="0" y="60"/>
                  </a:lnTo>
                  <a:lnTo>
                    <a:pt x="0" y="68"/>
                  </a:lnTo>
                  <a:lnTo>
                    <a:pt x="0" y="5812"/>
                  </a:lnTo>
                  <a:lnTo>
                    <a:pt x="0" y="5819"/>
                  </a:lnTo>
                  <a:lnTo>
                    <a:pt x="1" y="5826"/>
                  </a:lnTo>
                  <a:lnTo>
                    <a:pt x="2" y="5833"/>
                  </a:lnTo>
                  <a:lnTo>
                    <a:pt x="5" y="5839"/>
                  </a:lnTo>
                  <a:lnTo>
                    <a:pt x="8" y="5845"/>
                  </a:lnTo>
                  <a:lnTo>
                    <a:pt x="11" y="5851"/>
                  </a:lnTo>
                  <a:lnTo>
                    <a:pt x="15" y="5855"/>
                  </a:lnTo>
                  <a:lnTo>
                    <a:pt x="19" y="5861"/>
                  </a:lnTo>
                  <a:lnTo>
                    <a:pt x="24" y="5864"/>
                  </a:lnTo>
                  <a:lnTo>
                    <a:pt x="29" y="5869"/>
                  </a:lnTo>
                  <a:lnTo>
                    <a:pt x="35" y="5872"/>
                  </a:lnTo>
                  <a:lnTo>
                    <a:pt x="41" y="5874"/>
                  </a:lnTo>
                  <a:lnTo>
                    <a:pt x="48" y="5877"/>
                  </a:lnTo>
                  <a:lnTo>
                    <a:pt x="53" y="5879"/>
                  </a:lnTo>
                  <a:lnTo>
                    <a:pt x="60" y="5880"/>
                  </a:lnTo>
                  <a:lnTo>
                    <a:pt x="68" y="588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92" name="Freeform 748"/>
            <p:cNvSpPr>
              <a:spLocks/>
            </p:cNvSpPr>
            <p:nvPr/>
          </p:nvSpPr>
          <p:spPr bwMode="auto">
            <a:xfrm>
              <a:off x="3589" y="1549"/>
              <a:ext cx="246" cy="1427"/>
            </a:xfrm>
            <a:custGeom>
              <a:avLst/>
              <a:gdLst>
                <a:gd name="T0" fmla="*/ 74 w 738"/>
                <a:gd name="T1" fmla="*/ 347 h 5880"/>
                <a:gd name="T2" fmla="*/ 76 w 738"/>
                <a:gd name="T3" fmla="*/ 347 h 5880"/>
                <a:gd name="T4" fmla="*/ 77 w 738"/>
                <a:gd name="T5" fmla="*/ 347 h 5880"/>
                <a:gd name="T6" fmla="*/ 79 w 738"/>
                <a:gd name="T7" fmla="*/ 346 h 5880"/>
                <a:gd name="T8" fmla="*/ 80 w 738"/>
                <a:gd name="T9" fmla="*/ 346 h 5880"/>
                <a:gd name="T10" fmla="*/ 81 w 738"/>
                <a:gd name="T11" fmla="*/ 345 h 5880"/>
                <a:gd name="T12" fmla="*/ 81 w 738"/>
                <a:gd name="T13" fmla="*/ 344 h 5880"/>
                <a:gd name="T14" fmla="*/ 82 w 738"/>
                <a:gd name="T15" fmla="*/ 344 h 5880"/>
                <a:gd name="T16" fmla="*/ 82 w 738"/>
                <a:gd name="T17" fmla="*/ 343 h 5880"/>
                <a:gd name="T18" fmla="*/ 82 w 738"/>
                <a:gd name="T19" fmla="*/ 4 h 5880"/>
                <a:gd name="T20" fmla="*/ 82 w 738"/>
                <a:gd name="T21" fmla="*/ 3 h 5880"/>
                <a:gd name="T22" fmla="*/ 81 w 738"/>
                <a:gd name="T23" fmla="*/ 2 h 5880"/>
                <a:gd name="T24" fmla="*/ 81 w 738"/>
                <a:gd name="T25" fmla="*/ 2 h 5880"/>
                <a:gd name="T26" fmla="*/ 80 w 738"/>
                <a:gd name="T27" fmla="*/ 1 h 5880"/>
                <a:gd name="T28" fmla="*/ 79 w 738"/>
                <a:gd name="T29" fmla="*/ 1 h 5880"/>
                <a:gd name="T30" fmla="*/ 77 w 738"/>
                <a:gd name="T31" fmla="*/ 0 h 5880"/>
                <a:gd name="T32" fmla="*/ 76 w 738"/>
                <a:gd name="T33" fmla="*/ 0 h 5880"/>
                <a:gd name="T34" fmla="*/ 74 w 738"/>
                <a:gd name="T35" fmla="*/ 0 h 5880"/>
                <a:gd name="T36" fmla="*/ 7 w 738"/>
                <a:gd name="T37" fmla="*/ 0 h 5880"/>
                <a:gd name="T38" fmla="*/ 5 w 738"/>
                <a:gd name="T39" fmla="*/ 0 h 5880"/>
                <a:gd name="T40" fmla="*/ 4 w 738"/>
                <a:gd name="T41" fmla="*/ 0 h 5880"/>
                <a:gd name="T42" fmla="*/ 3 w 738"/>
                <a:gd name="T43" fmla="*/ 1 h 5880"/>
                <a:gd name="T44" fmla="*/ 2 w 738"/>
                <a:gd name="T45" fmla="*/ 1 h 5880"/>
                <a:gd name="T46" fmla="*/ 1 w 738"/>
                <a:gd name="T47" fmla="*/ 2 h 5880"/>
                <a:gd name="T48" fmla="*/ 0 w 738"/>
                <a:gd name="T49" fmla="*/ 3 h 5880"/>
                <a:gd name="T50" fmla="*/ 0 w 738"/>
                <a:gd name="T51" fmla="*/ 4 h 5880"/>
                <a:gd name="T52" fmla="*/ 0 w 738"/>
                <a:gd name="T53" fmla="*/ 343 h 5880"/>
                <a:gd name="T54" fmla="*/ 0 w 738"/>
                <a:gd name="T55" fmla="*/ 344 h 5880"/>
                <a:gd name="T56" fmla="*/ 1 w 738"/>
                <a:gd name="T57" fmla="*/ 344 h 5880"/>
                <a:gd name="T58" fmla="*/ 1 w 738"/>
                <a:gd name="T59" fmla="*/ 345 h 5880"/>
                <a:gd name="T60" fmla="*/ 2 w 738"/>
                <a:gd name="T61" fmla="*/ 346 h 5880"/>
                <a:gd name="T62" fmla="*/ 3 w 738"/>
                <a:gd name="T63" fmla="*/ 346 h 5880"/>
                <a:gd name="T64" fmla="*/ 5 w 738"/>
                <a:gd name="T65" fmla="*/ 347 h 5880"/>
                <a:gd name="T66" fmla="*/ 6 w 738"/>
                <a:gd name="T67" fmla="*/ 347 h 5880"/>
                <a:gd name="T68" fmla="*/ 8 w 738"/>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8"/>
                <a:gd name="T106" fmla="*/ 0 h 5880"/>
                <a:gd name="T107" fmla="*/ 738 w 738"/>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8" h="5880">
                  <a:moveTo>
                    <a:pt x="68" y="5880"/>
                  </a:moveTo>
                  <a:lnTo>
                    <a:pt x="670" y="5880"/>
                  </a:lnTo>
                  <a:lnTo>
                    <a:pt x="677" y="5880"/>
                  </a:lnTo>
                  <a:lnTo>
                    <a:pt x="684" y="5879"/>
                  </a:lnTo>
                  <a:lnTo>
                    <a:pt x="691" y="5877"/>
                  </a:lnTo>
                  <a:lnTo>
                    <a:pt x="696" y="5874"/>
                  </a:lnTo>
                  <a:lnTo>
                    <a:pt x="703" y="5872"/>
                  </a:lnTo>
                  <a:lnTo>
                    <a:pt x="709" y="5869"/>
                  </a:lnTo>
                  <a:lnTo>
                    <a:pt x="713" y="5864"/>
                  </a:lnTo>
                  <a:lnTo>
                    <a:pt x="718" y="5861"/>
                  </a:lnTo>
                  <a:lnTo>
                    <a:pt x="722" y="5855"/>
                  </a:lnTo>
                  <a:lnTo>
                    <a:pt x="727" y="5851"/>
                  </a:lnTo>
                  <a:lnTo>
                    <a:pt x="730" y="5845"/>
                  </a:lnTo>
                  <a:lnTo>
                    <a:pt x="732" y="5839"/>
                  </a:lnTo>
                  <a:lnTo>
                    <a:pt x="735" y="5833"/>
                  </a:lnTo>
                  <a:lnTo>
                    <a:pt x="737" y="5826"/>
                  </a:lnTo>
                  <a:lnTo>
                    <a:pt x="738" y="5819"/>
                  </a:lnTo>
                  <a:lnTo>
                    <a:pt x="738" y="5812"/>
                  </a:lnTo>
                  <a:lnTo>
                    <a:pt x="738" y="68"/>
                  </a:lnTo>
                  <a:lnTo>
                    <a:pt x="738" y="60"/>
                  </a:lnTo>
                  <a:lnTo>
                    <a:pt x="737" y="53"/>
                  </a:lnTo>
                  <a:lnTo>
                    <a:pt x="735" y="48"/>
                  </a:lnTo>
                  <a:lnTo>
                    <a:pt x="732" y="41"/>
                  </a:lnTo>
                  <a:lnTo>
                    <a:pt x="730" y="35"/>
                  </a:lnTo>
                  <a:lnTo>
                    <a:pt x="727" y="29"/>
                  </a:lnTo>
                  <a:lnTo>
                    <a:pt x="722" y="24"/>
                  </a:lnTo>
                  <a:lnTo>
                    <a:pt x="718" y="19"/>
                  </a:lnTo>
                  <a:lnTo>
                    <a:pt x="713" y="15"/>
                  </a:lnTo>
                  <a:lnTo>
                    <a:pt x="709" y="11"/>
                  </a:lnTo>
                  <a:lnTo>
                    <a:pt x="703" y="8"/>
                  </a:lnTo>
                  <a:lnTo>
                    <a:pt x="696" y="5"/>
                  </a:lnTo>
                  <a:lnTo>
                    <a:pt x="691" y="2"/>
                  </a:lnTo>
                  <a:lnTo>
                    <a:pt x="684" y="1"/>
                  </a:lnTo>
                  <a:lnTo>
                    <a:pt x="677" y="0"/>
                  </a:lnTo>
                  <a:lnTo>
                    <a:pt x="670" y="0"/>
                  </a:lnTo>
                  <a:lnTo>
                    <a:pt x="68" y="0"/>
                  </a:lnTo>
                  <a:lnTo>
                    <a:pt x="60" y="0"/>
                  </a:lnTo>
                  <a:lnTo>
                    <a:pt x="53" y="1"/>
                  </a:lnTo>
                  <a:lnTo>
                    <a:pt x="48" y="2"/>
                  </a:lnTo>
                  <a:lnTo>
                    <a:pt x="41" y="5"/>
                  </a:lnTo>
                  <a:lnTo>
                    <a:pt x="35" y="8"/>
                  </a:lnTo>
                  <a:lnTo>
                    <a:pt x="29" y="11"/>
                  </a:lnTo>
                  <a:lnTo>
                    <a:pt x="24" y="15"/>
                  </a:lnTo>
                  <a:lnTo>
                    <a:pt x="19" y="19"/>
                  </a:lnTo>
                  <a:lnTo>
                    <a:pt x="15" y="24"/>
                  </a:lnTo>
                  <a:lnTo>
                    <a:pt x="11" y="29"/>
                  </a:lnTo>
                  <a:lnTo>
                    <a:pt x="8" y="35"/>
                  </a:lnTo>
                  <a:lnTo>
                    <a:pt x="5" y="41"/>
                  </a:lnTo>
                  <a:lnTo>
                    <a:pt x="2" y="48"/>
                  </a:lnTo>
                  <a:lnTo>
                    <a:pt x="1" y="53"/>
                  </a:lnTo>
                  <a:lnTo>
                    <a:pt x="0" y="60"/>
                  </a:lnTo>
                  <a:lnTo>
                    <a:pt x="0" y="68"/>
                  </a:lnTo>
                  <a:lnTo>
                    <a:pt x="0" y="5812"/>
                  </a:lnTo>
                  <a:lnTo>
                    <a:pt x="0" y="5819"/>
                  </a:lnTo>
                  <a:lnTo>
                    <a:pt x="1" y="5826"/>
                  </a:lnTo>
                  <a:lnTo>
                    <a:pt x="2" y="5833"/>
                  </a:lnTo>
                  <a:lnTo>
                    <a:pt x="5" y="5839"/>
                  </a:lnTo>
                  <a:lnTo>
                    <a:pt x="8" y="5845"/>
                  </a:lnTo>
                  <a:lnTo>
                    <a:pt x="11" y="5851"/>
                  </a:lnTo>
                  <a:lnTo>
                    <a:pt x="15" y="5855"/>
                  </a:lnTo>
                  <a:lnTo>
                    <a:pt x="19" y="5861"/>
                  </a:lnTo>
                  <a:lnTo>
                    <a:pt x="24" y="5864"/>
                  </a:lnTo>
                  <a:lnTo>
                    <a:pt x="29" y="5869"/>
                  </a:lnTo>
                  <a:lnTo>
                    <a:pt x="35" y="5872"/>
                  </a:lnTo>
                  <a:lnTo>
                    <a:pt x="41" y="5874"/>
                  </a:lnTo>
                  <a:lnTo>
                    <a:pt x="48" y="5877"/>
                  </a:lnTo>
                  <a:lnTo>
                    <a:pt x="53" y="5879"/>
                  </a:lnTo>
                  <a:lnTo>
                    <a:pt x="60" y="5880"/>
                  </a:lnTo>
                  <a:lnTo>
                    <a:pt x="68" y="5880"/>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193" name="Rectangle 749"/>
            <p:cNvSpPr>
              <a:spLocks noChangeArrowheads="1"/>
            </p:cNvSpPr>
            <p:nvPr/>
          </p:nvSpPr>
          <p:spPr bwMode="auto">
            <a:xfrm>
              <a:off x="3669" y="1564"/>
              <a:ext cx="97"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Field </a:t>
              </a:r>
              <a:endParaRPr lang="en-US" sz="1800" b="0" kern="0" baseline="0">
                <a:solidFill>
                  <a:sysClr val="windowText" lastClr="000000"/>
                </a:solidFill>
                <a:latin typeface="Arial" charset="0"/>
                <a:ea typeface="ＭＳ Ｐゴシック"/>
                <a:cs typeface="ＭＳ Ｐゴシック"/>
              </a:endParaRPr>
            </a:p>
          </p:txBody>
        </p:sp>
        <p:sp>
          <p:nvSpPr>
            <p:cNvPr id="194" name="Rectangle 750"/>
            <p:cNvSpPr>
              <a:spLocks noChangeArrowheads="1"/>
            </p:cNvSpPr>
            <p:nvPr/>
          </p:nvSpPr>
          <p:spPr bwMode="auto">
            <a:xfrm>
              <a:off x="3634" y="1599"/>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Logistics</a:t>
              </a:r>
              <a:endParaRPr lang="en-US" sz="1800" b="0" kern="0" baseline="0">
                <a:solidFill>
                  <a:sysClr val="windowText" lastClr="000000"/>
                </a:solidFill>
                <a:latin typeface="Arial" charset="0"/>
                <a:ea typeface="ＭＳ Ｐゴシック"/>
                <a:cs typeface="ＭＳ Ｐゴシック"/>
              </a:endParaRPr>
            </a:p>
          </p:txBody>
        </p:sp>
        <p:sp>
          <p:nvSpPr>
            <p:cNvPr id="195" name="Rectangle 751"/>
            <p:cNvSpPr>
              <a:spLocks noChangeArrowheads="1"/>
            </p:cNvSpPr>
            <p:nvPr/>
          </p:nvSpPr>
          <p:spPr bwMode="auto">
            <a:xfrm>
              <a:off x="1956" y="1390"/>
              <a:ext cx="1602" cy="1640"/>
            </a:xfrm>
            <a:prstGeom prst="rect">
              <a:avLst/>
            </a:prstGeom>
            <a:solidFill>
              <a:srgbClr val="CCCDFF"/>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196" name="Rectangle 752"/>
            <p:cNvSpPr>
              <a:spLocks noChangeArrowheads="1"/>
            </p:cNvSpPr>
            <p:nvPr/>
          </p:nvSpPr>
          <p:spPr bwMode="auto">
            <a:xfrm>
              <a:off x="1956" y="1390"/>
              <a:ext cx="1602" cy="1640"/>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197" name="Rectangle 753"/>
            <p:cNvSpPr>
              <a:spLocks noChangeArrowheads="1"/>
            </p:cNvSpPr>
            <p:nvPr/>
          </p:nvSpPr>
          <p:spPr bwMode="auto">
            <a:xfrm>
              <a:off x="2532" y="1403"/>
              <a:ext cx="31"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2</a:t>
              </a:r>
              <a:endParaRPr lang="en-US" sz="1800" b="0" kern="0" baseline="0">
                <a:solidFill>
                  <a:sysClr val="windowText" lastClr="000000"/>
                </a:solidFill>
                <a:latin typeface="Arial" charset="0"/>
                <a:ea typeface="ＭＳ Ｐゴシック"/>
                <a:cs typeface="ＭＳ Ｐゴシック"/>
              </a:endParaRPr>
            </a:p>
          </p:txBody>
        </p:sp>
        <p:sp>
          <p:nvSpPr>
            <p:cNvPr id="198" name="Rectangle 754"/>
            <p:cNvSpPr>
              <a:spLocks noChangeArrowheads="1"/>
            </p:cNvSpPr>
            <p:nvPr/>
          </p:nvSpPr>
          <p:spPr bwMode="auto">
            <a:xfrm>
              <a:off x="2562" y="1403"/>
              <a:ext cx="1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199" name="Rectangle 755"/>
            <p:cNvSpPr>
              <a:spLocks noChangeArrowheads="1"/>
            </p:cNvSpPr>
            <p:nvPr/>
          </p:nvSpPr>
          <p:spPr bwMode="auto">
            <a:xfrm>
              <a:off x="2577" y="1403"/>
              <a:ext cx="47"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2 </a:t>
              </a:r>
              <a:endParaRPr lang="en-US" sz="1800" b="0" kern="0" baseline="0">
                <a:solidFill>
                  <a:sysClr val="windowText" lastClr="000000"/>
                </a:solidFill>
                <a:latin typeface="Arial" charset="0"/>
                <a:ea typeface="ＭＳ Ｐゴシック"/>
                <a:cs typeface="ＭＳ Ｐゴシック"/>
              </a:endParaRPr>
            </a:p>
          </p:txBody>
        </p:sp>
        <p:sp>
          <p:nvSpPr>
            <p:cNvPr id="200" name="Rectangle 756"/>
            <p:cNvSpPr>
              <a:spLocks noChangeArrowheads="1"/>
            </p:cNvSpPr>
            <p:nvPr/>
          </p:nvSpPr>
          <p:spPr bwMode="auto">
            <a:xfrm>
              <a:off x="2624" y="1403"/>
              <a:ext cx="364"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Manage Work</a:t>
              </a:r>
              <a:endParaRPr lang="en-US" sz="1800" b="0" kern="0" baseline="0">
                <a:solidFill>
                  <a:sysClr val="windowText" lastClr="000000"/>
                </a:solidFill>
                <a:latin typeface="Arial" charset="0"/>
                <a:ea typeface="ＭＳ Ｐゴシック"/>
                <a:cs typeface="ＭＳ Ｐゴシック"/>
              </a:endParaRPr>
            </a:p>
          </p:txBody>
        </p:sp>
        <p:sp>
          <p:nvSpPr>
            <p:cNvPr id="201" name="Freeform 757"/>
            <p:cNvSpPr>
              <a:spLocks/>
            </p:cNvSpPr>
            <p:nvPr/>
          </p:nvSpPr>
          <p:spPr bwMode="auto">
            <a:xfrm>
              <a:off x="3299" y="1549"/>
              <a:ext cx="253" cy="1427"/>
            </a:xfrm>
            <a:custGeom>
              <a:avLst/>
              <a:gdLst>
                <a:gd name="T0" fmla="*/ 77 w 757"/>
                <a:gd name="T1" fmla="*/ 347 h 5880"/>
                <a:gd name="T2" fmla="*/ 79 w 757"/>
                <a:gd name="T3" fmla="*/ 347 h 5880"/>
                <a:gd name="T4" fmla="*/ 80 w 757"/>
                <a:gd name="T5" fmla="*/ 347 h 5880"/>
                <a:gd name="T6" fmla="*/ 81 w 757"/>
                <a:gd name="T7" fmla="*/ 346 h 5880"/>
                <a:gd name="T8" fmla="*/ 82 w 757"/>
                <a:gd name="T9" fmla="*/ 346 h 5880"/>
                <a:gd name="T10" fmla="*/ 83 w 757"/>
                <a:gd name="T11" fmla="*/ 345 h 5880"/>
                <a:gd name="T12" fmla="*/ 84 w 757"/>
                <a:gd name="T13" fmla="*/ 344 h 5880"/>
                <a:gd name="T14" fmla="*/ 84 w 757"/>
                <a:gd name="T15" fmla="*/ 344 h 5880"/>
                <a:gd name="T16" fmla="*/ 85 w 757"/>
                <a:gd name="T17" fmla="*/ 343 h 5880"/>
                <a:gd name="T18" fmla="*/ 85 w 757"/>
                <a:gd name="T19" fmla="*/ 4 h 5880"/>
                <a:gd name="T20" fmla="*/ 84 w 757"/>
                <a:gd name="T21" fmla="*/ 3 h 5880"/>
                <a:gd name="T22" fmla="*/ 84 w 757"/>
                <a:gd name="T23" fmla="*/ 2 h 5880"/>
                <a:gd name="T24" fmla="*/ 83 w 757"/>
                <a:gd name="T25" fmla="*/ 2 h 5880"/>
                <a:gd name="T26" fmla="*/ 82 w 757"/>
                <a:gd name="T27" fmla="*/ 1 h 5880"/>
                <a:gd name="T28" fmla="*/ 81 w 757"/>
                <a:gd name="T29" fmla="*/ 1 h 5880"/>
                <a:gd name="T30" fmla="*/ 80 w 757"/>
                <a:gd name="T31" fmla="*/ 0 h 5880"/>
                <a:gd name="T32" fmla="*/ 79 w 757"/>
                <a:gd name="T33" fmla="*/ 0 h 5880"/>
                <a:gd name="T34" fmla="*/ 77 w 757"/>
                <a:gd name="T35" fmla="*/ 0 h 5880"/>
                <a:gd name="T36" fmla="*/ 7 w 757"/>
                <a:gd name="T37" fmla="*/ 0 h 5880"/>
                <a:gd name="T38" fmla="*/ 5 w 757"/>
                <a:gd name="T39" fmla="*/ 0 h 5880"/>
                <a:gd name="T40" fmla="*/ 4 w 757"/>
                <a:gd name="T41" fmla="*/ 0 h 5880"/>
                <a:gd name="T42" fmla="*/ 3 w 757"/>
                <a:gd name="T43" fmla="*/ 1 h 5880"/>
                <a:gd name="T44" fmla="*/ 2 w 757"/>
                <a:gd name="T45" fmla="*/ 1 h 5880"/>
                <a:gd name="T46" fmla="*/ 1 w 757"/>
                <a:gd name="T47" fmla="*/ 2 h 5880"/>
                <a:gd name="T48" fmla="*/ 0 w 757"/>
                <a:gd name="T49" fmla="*/ 3 h 5880"/>
                <a:gd name="T50" fmla="*/ 0 w 757"/>
                <a:gd name="T51" fmla="*/ 4 h 5880"/>
                <a:gd name="T52" fmla="*/ 0 w 757"/>
                <a:gd name="T53" fmla="*/ 343 h 5880"/>
                <a:gd name="T54" fmla="*/ 0 w 757"/>
                <a:gd name="T55" fmla="*/ 344 h 5880"/>
                <a:gd name="T56" fmla="*/ 1 w 757"/>
                <a:gd name="T57" fmla="*/ 344 h 5880"/>
                <a:gd name="T58" fmla="*/ 1 w 757"/>
                <a:gd name="T59" fmla="*/ 345 h 5880"/>
                <a:gd name="T60" fmla="*/ 2 w 757"/>
                <a:gd name="T61" fmla="*/ 346 h 5880"/>
                <a:gd name="T62" fmla="*/ 3 w 757"/>
                <a:gd name="T63" fmla="*/ 346 h 5880"/>
                <a:gd name="T64" fmla="*/ 5 w 757"/>
                <a:gd name="T65" fmla="*/ 347 h 5880"/>
                <a:gd name="T66" fmla="*/ 6 w 757"/>
                <a:gd name="T67" fmla="*/ 347 h 5880"/>
                <a:gd name="T68" fmla="*/ 8 w 757"/>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7"/>
                <a:gd name="T106" fmla="*/ 0 h 5880"/>
                <a:gd name="T107" fmla="*/ 757 w 757"/>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7" h="5880">
                  <a:moveTo>
                    <a:pt x="68" y="5880"/>
                  </a:moveTo>
                  <a:lnTo>
                    <a:pt x="689" y="5880"/>
                  </a:lnTo>
                  <a:lnTo>
                    <a:pt x="696" y="5880"/>
                  </a:lnTo>
                  <a:lnTo>
                    <a:pt x="702" y="5879"/>
                  </a:lnTo>
                  <a:lnTo>
                    <a:pt x="708" y="5877"/>
                  </a:lnTo>
                  <a:lnTo>
                    <a:pt x="715" y="5874"/>
                  </a:lnTo>
                  <a:lnTo>
                    <a:pt x="720" y="5872"/>
                  </a:lnTo>
                  <a:lnTo>
                    <a:pt x="726" y="5869"/>
                  </a:lnTo>
                  <a:lnTo>
                    <a:pt x="732" y="5864"/>
                  </a:lnTo>
                  <a:lnTo>
                    <a:pt x="736" y="5861"/>
                  </a:lnTo>
                  <a:lnTo>
                    <a:pt x="741" y="5855"/>
                  </a:lnTo>
                  <a:lnTo>
                    <a:pt x="744" y="5851"/>
                  </a:lnTo>
                  <a:lnTo>
                    <a:pt x="748" y="5845"/>
                  </a:lnTo>
                  <a:lnTo>
                    <a:pt x="751" y="5839"/>
                  </a:lnTo>
                  <a:lnTo>
                    <a:pt x="753" y="5833"/>
                  </a:lnTo>
                  <a:lnTo>
                    <a:pt x="754" y="5826"/>
                  </a:lnTo>
                  <a:lnTo>
                    <a:pt x="755" y="5819"/>
                  </a:lnTo>
                  <a:lnTo>
                    <a:pt x="757" y="5812"/>
                  </a:lnTo>
                  <a:lnTo>
                    <a:pt x="757" y="68"/>
                  </a:lnTo>
                  <a:lnTo>
                    <a:pt x="755" y="60"/>
                  </a:lnTo>
                  <a:lnTo>
                    <a:pt x="754" y="53"/>
                  </a:lnTo>
                  <a:lnTo>
                    <a:pt x="753" y="48"/>
                  </a:lnTo>
                  <a:lnTo>
                    <a:pt x="751" y="41"/>
                  </a:lnTo>
                  <a:lnTo>
                    <a:pt x="748" y="35"/>
                  </a:lnTo>
                  <a:lnTo>
                    <a:pt x="744" y="29"/>
                  </a:lnTo>
                  <a:lnTo>
                    <a:pt x="741" y="24"/>
                  </a:lnTo>
                  <a:lnTo>
                    <a:pt x="736" y="19"/>
                  </a:lnTo>
                  <a:lnTo>
                    <a:pt x="732" y="15"/>
                  </a:lnTo>
                  <a:lnTo>
                    <a:pt x="726" y="11"/>
                  </a:lnTo>
                  <a:lnTo>
                    <a:pt x="720" y="8"/>
                  </a:lnTo>
                  <a:lnTo>
                    <a:pt x="715" y="5"/>
                  </a:lnTo>
                  <a:lnTo>
                    <a:pt x="708" y="2"/>
                  </a:lnTo>
                  <a:lnTo>
                    <a:pt x="702" y="1"/>
                  </a:lnTo>
                  <a:lnTo>
                    <a:pt x="696" y="0"/>
                  </a:lnTo>
                  <a:lnTo>
                    <a:pt x="689" y="0"/>
                  </a:lnTo>
                  <a:lnTo>
                    <a:pt x="68" y="0"/>
                  </a:lnTo>
                  <a:lnTo>
                    <a:pt x="60" y="0"/>
                  </a:lnTo>
                  <a:lnTo>
                    <a:pt x="54" y="1"/>
                  </a:lnTo>
                  <a:lnTo>
                    <a:pt x="48" y="2"/>
                  </a:lnTo>
                  <a:lnTo>
                    <a:pt x="41" y="5"/>
                  </a:lnTo>
                  <a:lnTo>
                    <a:pt x="36" y="8"/>
                  </a:lnTo>
                  <a:lnTo>
                    <a:pt x="30" y="11"/>
                  </a:lnTo>
                  <a:lnTo>
                    <a:pt x="24" y="15"/>
                  </a:lnTo>
                  <a:lnTo>
                    <a:pt x="20" y="19"/>
                  </a:lnTo>
                  <a:lnTo>
                    <a:pt x="15" y="24"/>
                  </a:lnTo>
                  <a:lnTo>
                    <a:pt x="12" y="29"/>
                  </a:lnTo>
                  <a:lnTo>
                    <a:pt x="8" y="35"/>
                  </a:lnTo>
                  <a:lnTo>
                    <a:pt x="5" y="41"/>
                  </a:lnTo>
                  <a:lnTo>
                    <a:pt x="3" y="48"/>
                  </a:lnTo>
                  <a:lnTo>
                    <a:pt x="2" y="53"/>
                  </a:lnTo>
                  <a:lnTo>
                    <a:pt x="0" y="60"/>
                  </a:lnTo>
                  <a:lnTo>
                    <a:pt x="0" y="68"/>
                  </a:lnTo>
                  <a:lnTo>
                    <a:pt x="0" y="5812"/>
                  </a:lnTo>
                  <a:lnTo>
                    <a:pt x="0" y="5819"/>
                  </a:lnTo>
                  <a:lnTo>
                    <a:pt x="2" y="5826"/>
                  </a:lnTo>
                  <a:lnTo>
                    <a:pt x="3" y="5833"/>
                  </a:lnTo>
                  <a:lnTo>
                    <a:pt x="5" y="5839"/>
                  </a:lnTo>
                  <a:lnTo>
                    <a:pt x="8" y="5845"/>
                  </a:lnTo>
                  <a:lnTo>
                    <a:pt x="12" y="5851"/>
                  </a:lnTo>
                  <a:lnTo>
                    <a:pt x="15" y="5855"/>
                  </a:lnTo>
                  <a:lnTo>
                    <a:pt x="20" y="5861"/>
                  </a:lnTo>
                  <a:lnTo>
                    <a:pt x="24" y="5864"/>
                  </a:lnTo>
                  <a:lnTo>
                    <a:pt x="30" y="5869"/>
                  </a:lnTo>
                  <a:lnTo>
                    <a:pt x="36" y="5872"/>
                  </a:lnTo>
                  <a:lnTo>
                    <a:pt x="41" y="5874"/>
                  </a:lnTo>
                  <a:lnTo>
                    <a:pt x="48" y="5877"/>
                  </a:lnTo>
                  <a:lnTo>
                    <a:pt x="54" y="5879"/>
                  </a:lnTo>
                  <a:lnTo>
                    <a:pt x="60" y="5880"/>
                  </a:lnTo>
                  <a:lnTo>
                    <a:pt x="68" y="588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02" name="Freeform 758"/>
            <p:cNvSpPr>
              <a:spLocks/>
            </p:cNvSpPr>
            <p:nvPr/>
          </p:nvSpPr>
          <p:spPr bwMode="auto">
            <a:xfrm>
              <a:off x="3289" y="1549"/>
              <a:ext cx="253" cy="1427"/>
            </a:xfrm>
            <a:custGeom>
              <a:avLst/>
              <a:gdLst>
                <a:gd name="T0" fmla="*/ 77 w 757"/>
                <a:gd name="T1" fmla="*/ 347 h 5880"/>
                <a:gd name="T2" fmla="*/ 79 w 757"/>
                <a:gd name="T3" fmla="*/ 347 h 5880"/>
                <a:gd name="T4" fmla="*/ 80 w 757"/>
                <a:gd name="T5" fmla="*/ 347 h 5880"/>
                <a:gd name="T6" fmla="*/ 81 w 757"/>
                <a:gd name="T7" fmla="*/ 346 h 5880"/>
                <a:gd name="T8" fmla="*/ 82 w 757"/>
                <a:gd name="T9" fmla="*/ 346 h 5880"/>
                <a:gd name="T10" fmla="*/ 83 w 757"/>
                <a:gd name="T11" fmla="*/ 345 h 5880"/>
                <a:gd name="T12" fmla="*/ 84 w 757"/>
                <a:gd name="T13" fmla="*/ 344 h 5880"/>
                <a:gd name="T14" fmla="*/ 84 w 757"/>
                <a:gd name="T15" fmla="*/ 344 h 5880"/>
                <a:gd name="T16" fmla="*/ 85 w 757"/>
                <a:gd name="T17" fmla="*/ 343 h 5880"/>
                <a:gd name="T18" fmla="*/ 85 w 757"/>
                <a:gd name="T19" fmla="*/ 4 h 5880"/>
                <a:gd name="T20" fmla="*/ 84 w 757"/>
                <a:gd name="T21" fmla="*/ 3 h 5880"/>
                <a:gd name="T22" fmla="*/ 84 w 757"/>
                <a:gd name="T23" fmla="*/ 2 h 5880"/>
                <a:gd name="T24" fmla="*/ 83 w 757"/>
                <a:gd name="T25" fmla="*/ 2 h 5880"/>
                <a:gd name="T26" fmla="*/ 82 w 757"/>
                <a:gd name="T27" fmla="*/ 1 h 5880"/>
                <a:gd name="T28" fmla="*/ 81 w 757"/>
                <a:gd name="T29" fmla="*/ 1 h 5880"/>
                <a:gd name="T30" fmla="*/ 80 w 757"/>
                <a:gd name="T31" fmla="*/ 0 h 5880"/>
                <a:gd name="T32" fmla="*/ 79 w 757"/>
                <a:gd name="T33" fmla="*/ 0 h 5880"/>
                <a:gd name="T34" fmla="*/ 77 w 757"/>
                <a:gd name="T35" fmla="*/ 0 h 5880"/>
                <a:gd name="T36" fmla="*/ 7 w 757"/>
                <a:gd name="T37" fmla="*/ 0 h 5880"/>
                <a:gd name="T38" fmla="*/ 5 w 757"/>
                <a:gd name="T39" fmla="*/ 0 h 5880"/>
                <a:gd name="T40" fmla="*/ 4 w 757"/>
                <a:gd name="T41" fmla="*/ 0 h 5880"/>
                <a:gd name="T42" fmla="*/ 3 w 757"/>
                <a:gd name="T43" fmla="*/ 1 h 5880"/>
                <a:gd name="T44" fmla="*/ 2 w 757"/>
                <a:gd name="T45" fmla="*/ 1 h 5880"/>
                <a:gd name="T46" fmla="*/ 1 w 757"/>
                <a:gd name="T47" fmla="*/ 2 h 5880"/>
                <a:gd name="T48" fmla="*/ 0 w 757"/>
                <a:gd name="T49" fmla="*/ 3 h 5880"/>
                <a:gd name="T50" fmla="*/ 0 w 757"/>
                <a:gd name="T51" fmla="*/ 4 h 5880"/>
                <a:gd name="T52" fmla="*/ 0 w 757"/>
                <a:gd name="T53" fmla="*/ 343 h 5880"/>
                <a:gd name="T54" fmla="*/ 0 w 757"/>
                <a:gd name="T55" fmla="*/ 344 h 5880"/>
                <a:gd name="T56" fmla="*/ 1 w 757"/>
                <a:gd name="T57" fmla="*/ 344 h 5880"/>
                <a:gd name="T58" fmla="*/ 1 w 757"/>
                <a:gd name="T59" fmla="*/ 345 h 5880"/>
                <a:gd name="T60" fmla="*/ 2 w 757"/>
                <a:gd name="T61" fmla="*/ 346 h 5880"/>
                <a:gd name="T62" fmla="*/ 3 w 757"/>
                <a:gd name="T63" fmla="*/ 346 h 5880"/>
                <a:gd name="T64" fmla="*/ 5 w 757"/>
                <a:gd name="T65" fmla="*/ 347 h 5880"/>
                <a:gd name="T66" fmla="*/ 6 w 757"/>
                <a:gd name="T67" fmla="*/ 347 h 5880"/>
                <a:gd name="T68" fmla="*/ 8 w 757"/>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7"/>
                <a:gd name="T106" fmla="*/ 0 h 5880"/>
                <a:gd name="T107" fmla="*/ 757 w 757"/>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7" h="5880">
                  <a:moveTo>
                    <a:pt x="68" y="5880"/>
                  </a:moveTo>
                  <a:lnTo>
                    <a:pt x="689" y="5880"/>
                  </a:lnTo>
                  <a:lnTo>
                    <a:pt x="696" y="5880"/>
                  </a:lnTo>
                  <a:lnTo>
                    <a:pt x="702" y="5879"/>
                  </a:lnTo>
                  <a:lnTo>
                    <a:pt x="708" y="5877"/>
                  </a:lnTo>
                  <a:lnTo>
                    <a:pt x="715" y="5874"/>
                  </a:lnTo>
                  <a:lnTo>
                    <a:pt x="720" y="5872"/>
                  </a:lnTo>
                  <a:lnTo>
                    <a:pt x="726" y="5869"/>
                  </a:lnTo>
                  <a:lnTo>
                    <a:pt x="732" y="5864"/>
                  </a:lnTo>
                  <a:lnTo>
                    <a:pt x="736" y="5861"/>
                  </a:lnTo>
                  <a:lnTo>
                    <a:pt x="741" y="5855"/>
                  </a:lnTo>
                  <a:lnTo>
                    <a:pt x="744" y="5851"/>
                  </a:lnTo>
                  <a:lnTo>
                    <a:pt x="748" y="5845"/>
                  </a:lnTo>
                  <a:lnTo>
                    <a:pt x="751" y="5839"/>
                  </a:lnTo>
                  <a:lnTo>
                    <a:pt x="753" y="5833"/>
                  </a:lnTo>
                  <a:lnTo>
                    <a:pt x="754" y="5826"/>
                  </a:lnTo>
                  <a:lnTo>
                    <a:pt x="755" y="5819"/>
                  </a:lnTo>
                  <a:lnTo>
                    <a:pt x="757" y="5812"/>
                  </a:lnTo>
                  <a:lnTo>
                    <a:pt x="757" y="68"/>
                  </a:lnTo>
                  <a:lnTo>
                    <a:pt x="755" y="60"/>
                  </a:lnTo>
                  <a:lnTo>
                    <a:pt x="754" y="53"/>
                  </a:lnTo>
                  <a:lnTo>
                    <a:pt x="753" y="48"/>
                  </a:lnTo>
                  <a:lnTo>
                    <a:pt x="751" y="41"/>
                  </a:lnTo>
                  <a:lnTo>
                    <a:pt x="748" y="35"/>
                  </a:lnTo>
                  <a:lnTo>
                    <a:pt x="744" y="29"/>
                  </a:lnTo>
                  <a:lnTo>
                    <a:pt x="741" y="24"/>
                  </a:lnTo>
                  <a:lnTo>
                    <a:pt x="736" y="19"/>
                  </a:lnTo>
                  <a:lnTo>
                    <a:pt x="732" y="15"/>
                  </a:lnTo>
                  <a:lnTo>
                    <a:pt x="726" y="11"/>
                  </a:lnTo>
                  <a:lnTo>
                    <a:pt x="720" y="8"/>
                  </a:lnTo>
                  <a:lnTo>
                    <a:pt x="715" y="5"/>
                  </a:lnTo>
                  <a:lnTo>
                    <a:pt x="708" y="2"/>
                  </a:lnTo>
                  <a:lnTo>
                    <a:pt x="702" y="1"/>
                  </a:lnTo>
                  <a:lnTo>
                    <a:pt x="696" y="0"/>
                  </a:lnTo>
                  <a:lnTo>
                    <a:pt x="689" y="0"/>
                  </a:lnTo>
                  <a:lnTo>
                    <a:pt x="68" y="0"/>
                  </a:lnTo>
                  <a:lnTo>
                    <a:pt x="60" y="0"/>
                  </a:lnTo>
                  <a:lnTo>
                    <a:pt x="54" y="1"/>
                  </a:lnTo>
                  <a:lnTo>
                    <a:pt x="48" y="2"/>
                  </a:lnTo>
                  <a:lnTo>
                    <a:pt x="41" y="5"/>
                  </a:lnTo>
                  <a:lnTo>
                    <a:pt x="36" y="8"/>
                  </a:lnTo>
                  <a:lnTo>
                    <a:pt x="30" y="11"/>
                  </a:lnTo>
                  <a:lnTo>
                    <a:pt x="24" y="15"/>
                  </a:lnTo>
                  <a:lnTo>
                    <a:pt x="20" y="19"/>
                  </a:lnTo>
                  <a:lnTo>
                    <a:pt x="15" y="24"/>
                  </a:lnTo>
                  <a:lnTo>
                    <a:pt x="12" y="29"/>
                  </a:lnTo>
                  <a:lnTo>
                    <a:pt x="8" y="35"/>
                  </a:lnTo>
                  <a:lnTo>
                    <a:pt x="5" y="41"/>
                  </a:lnTo>
                  <a:lnTo>
                    <a:pt x="3" y="48"/>
                  </a:lnTo>
                  <a:lnTo>
                    <a:pt x="2" y="53"/>
                  </a:lnTo>
                  <a:lnTo>
                    <a:pt x="0" y="60"/>
                  </a:lnTo>
                  <a:lnTo>
                    <a:pt x="0" y="68"/>
                  </a:lnTo>
                  <a:lnTo>
                    <a:pt x="0" y="5812"/>
                  </a:lnTo>
                  <a:lnTo>
                    <a:pt x="0" y="5819"/>
                  </a:lnTo>
                  <a:lnTo>
                    <a:pt x="2" y="5826"/>
                  </a:lnTo>
                  <a:lnTo>
                    <a:pt x="3" y="5833"/>
                  </a:lnTo>
                  <a:lnTo>
                    <a:pt x="5" y="5839"/>
                  </a:lnTo>
                  <a:lnTo>
                    <a:pt x="8" y="5845"/>
                  </a:lnTo>
                  <a:lnTo>
                    <a:pt x="12" y="5851"/>
                  </a:lnTo>
                  <a:lnTo>
                    <a:pt x="15" y="5855"/>
                  </a:lnTo>
                  <a:lnTo>
                    <a:pt x="20" y="5861"/>
                  </a:lnTo>
                  <a:lnTo>
                    <a:pt x="24" y="5864"/>
                  </a:lnTo>
                  <a:lnTo>
                    <a:pt x="30" y="5869"/>
                  </a:lnTo>
                  <a:lnTo>
                    <a:pt x="36" y="5872"/>
                  </a:lnTo>
                  <a:lnTo>
                    <a:pt x="41" y="5874"/>
                  </a:lnTo>
                  <a:lnTo>
                    <a:pt x="48" y="5877"/>
                  </a:lnTo>
                  <a:lnTo>
                    <a:pt x="54" y="5879"/>
                  </a:lnTo>
                  <a:lnTo>
                    <a:pt x="60" y="5880"/>
                  </a:lnTo>
                  <a:lnTo>
                    <a:pt x="68" y="588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03" name="Rectangle 759"/>
            <p:cNvSpPr>
              <a:spLocks noChangeArrowheads="1"/>
            </p:cNvSpPr>
            <p:nvPr/>
          </p:nvSpPr>
          <p:spPr bwMode="auto">
            <a:xfrm>
              <a:off x="3368" y="1564"/>
              <a:ext cx="10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Work </a:t>
              </a:r>
              <a:endParaRPr lang="en-US" sz="1800" b="0" kern="0" baseline="0">
                <a:solidFill>
                  <a:sysClr val="windowText" lastClr="000000"/>
                </a:solidFill>
                <a:latin typeface="Arial" charset="0"/>
                <a:ea typeface="ＭＳ Ｐゴシック"/>
                <a:cs typeface="ＭＳ Ｐゴシック"/>
              </a:endParaRPr>
            </a:p>
          </p:txBody>
        </p:sp>
        <p:sp>
          <p:nvSpPr>
            <p:cNvPr id="204" name="Rectangle 760"/>
            <p:cNvSpPr>
              <a:spLocks noChangeArrowheads="1"/>
            </p:cNvSpPr>
            <p:nvPr/>
          </p:nvSpPr>
          <p:spPr bwMode="auto">
            <a:xfrm>
              <a:off x="3344" y="1599"/>
              <a:ext cx="13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ssign </a:t>
              </a:r>
              <a:endParaRPr lang="en-US" sz="1800" b="0" kern="0" baseline="0">
                <a:solidFill>
                  <a:sysClr val="windowText" lastClr="000000"/>
                </a:solidFill>
                <a:latin typeface="Arial" charset="0"/>
                <a:ea typeface="ＭＳ Ｐゴシック"/>
                <a:cs typeface="ＭＳ Ｐゴシック"/>
              </a:endParaRPr>
            </a:p>
          </p:txBody>
        </p:sp>
        <p:sp>
          <p:nvSpPr>
            <p:cNvPr id="205" name="Rectangle 761"/>
            <p:cNvSpPr>
              <a:spLocks noChangeArrowheads="1"/>
            </p:cNvSpPr>
            <p:nvPr/>
          </p:nvSpPr>
          <p:spPr bwMode="auto">
            <a:xfrm>
              <a:off x="3476" y="1599"/>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206" name="Rectangle 762"/>
            <p:cNvSpPr>
              <a:spLocks noChangeArrowheads="1"/>
            </p:cNvSpPr>
            <p:nvPr/>
          </p:nvSpPr>
          <p:spPr bwMode="auto">
            <a:xfrm>
              <a:off x="3318" y="1634"/>
              <a:ext cx="16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ispatch </a:t>
              </a:r>
              <a:endParaRPr lang="en-US" sz="1800" b="0" kern="0" baseline="0">
                <a:solidFill>
                  <a:sysClr val="windowText" lastClr="000000"/>
                </a:solidFill>
                <a:latin typeface="Arial" charset="0"/>
                <a:ea typeface="ＭＳ Ｐゴシック"/>
                <a:cs typeface="ＭＳ Ｐゴシック"/>
              </a:endParaRPr>
            </a:p>
          </p:txBody>
        </p:sp>
        <p:sp>
          <p:nvSpPr>
            <p:cNvPr id="207" name="Rectangle 763"/>
            <p:cNvSpPr>
              <a:spLocks noChangeArrowheads="1"/>
            </p:cNvSpPr>
            <p:nvPr/>
          </p:nvSpPr>
          <p:spPr bwMode="auto">
            <a:xfrm>
              <a:off x="3486" y="1634"/>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208" name="Rectangle 764"/>
            <p:cNvSpPr>
              <a:spLocks noChangeArrowheads="1"/>
            </p:cNvSpPr>
            <p:nvPr/>
          </p:nvSpPr>
          <p:spPr bwMode="auto">
            <a:xfrm>
              <a:off x="3348" y="1669"/>
              <a:ext cx="14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onitor </a:t>
              </a:r>
              <a:endParaRPr lang="en-US" sz="1800" b="0" kern="0" baseline="0">
                <a:solidFill>
                  <a:sysClr val="windowText" lastClr="000000"/>
                </a:solidFill>
                <a:latin typeface="Arial" charset="0"/>
                <a:ea typeface="ＭＳ Ｐゴシック"/>
                <a:cs typeface="ＭＳ Ｐゴシック"/>
              </a:endParaRPr>
            </a:p>
          </p:txBody>
        </p:sp>
        <p:sp>
          <p:nvSpPr>
            <p:cNvPr id="209" name="Freeform 765"/>
            <p:cNvSpPr>
              <a:spLocks/>
            </p:cNvSpPr>
            <p:nvPr/>
          </p:nvSpPr>
          <p:spPr bwMode="auto">
            <a:xfrm>
              <a:off x="1956" y="1549"/>
              <a:ext cx="252" cy="1427"/>
            </a:xfrm>
            <a:custGeom>
              <a:avLst/>
              <a:gdLst>
                <a:gd name="T0" fmla="*/ 76 w 756"/>
                <a:gd name="T1" fmla="*/ 347 h 5880"/>
                <a:gd name="T2" fmla="*/ 78 w 756"/>
                <a:gd name="T3" fmla="*/ 347 h 5880"/>
                <a:gd name="T4" fmla="*/ 79 w 756"/>
                <a:gd name="T5" fmla="*/ 347 h 5880"/>
                <a:gd name="T6" fmla="*/ 81 w 756"/>
                <a:gd name="T7" fmla="*/ 346 h 5880"/>
                <a:gd name="T8" fmla="*/ 82 w 756"/>
                <a:gd name="T9" fmla="*/ 346 h 5880"/>
                <a:gd name="T10" fmla="*/ 83 w 756"/>
                <a:gd name="T11" fmla="*/ 345 h 5880"/>
                <a:gd name="T12" fmla="*/ 83 w 756"/>
                <a:gd name="T13" fmla="*/ 344 h 5880"/>
                <a:gd name="T14" fmla="*/ 84 w 756"/>
                <a:gd name="T15" fmla="*/ 344 h 5880"/>
                <a:gd name="T16" fmla="*/ 84 w 756"/>
                <a:gd name="T17" fmla="*/ 343 h 5880"/>
                <a:gd name="T18" fmla="*/ 84 w 756"/>
                <a:gd name="T19" fmla="*/ 4 h 5880"/>
                <a:gd name="T20" fmla="*/ 84 w 756"/>
                <a:gd name="T21" fmla="*/ 3 h 5880"/>
                <a:gd name="T22" fmla="*/ 83 w 756"/>
                <a:gd name="T23" fmla="*/ 2 h 5880"/>
                <a:gd name="T24" fmla="*/ 83 w 756"/>
                <a:gd name="T25" fmla="*/ 2 h 5880"/>
                <a:gd name="T26" fmla="*/ 82 w 756"/>
                <a:gd name="T27" fmla="*/ 1 h 5880"/>
                <a:gd name="T28" fmla="*/ 81 w 756"/>
                <a:gd name="T29" fmla="*/ 1 h 5880"/>
                <a:gd name="T30" fmla="*/ 79 w 756"/>
                <a:gd name="T31" fmla="*/ 0 h 5880"/>
                <a:gd name="T32" fmla="*/ 78 w 756"/>
                <a:gd name="T33" fmla="*/ 0 h 5880"/>
                <a:gd name="T34" fmla="*/ 76 w 756"/>
                <a:gd name="T35" fmla="*/ 0 h 5880"/>
                <a:gd name="T36" fmla="*/ 7 w 756"/>
                <a:gd name="T37" fmla="*/ 0 h 5880"/>
                <a:gd name="T38" fmla="*/ 5 w 756"/>
                <a:gd name="T39" fmla="*/ 0 h 5880"/>
                <a:gd name="T40" fmla="*/ 4 w 756"/>
                <a:gd name="T41" fmla="*/ 0 h 5880"/>
                <a:gd name="T42" fmla="*/ 3 w 756"/>
                <a:gd name="T43" fmla="*/ 1 h 5880"/>
                <a:gd name="T44" fmla="*/ 2 w 756"/>
                <a:gd name="T45" fmla="*/ 1 h 5880"/>
                <a:gd name="T46" fmla="*/ 1 w 756"/>
                <a:gd name="T47" fmla="*/ 2 h 5880"/>
                <a:gd name="T48" fmla="*/ 0 w 756"/>
                <a:gd name="T49" fmla="*/ 3 h 5880"/>
                <a:gd name="T50" fmla="*/ 0 w 756"/>
                <a:gd name="T51" fmla="*/ 4 h 5880"/>
                <a:gd name="T52" fmla="*/ 0 w 756"/>
                <a:gd name="T53" fmla="*/ 343 h 5880"/>
                <a:gd name="T54" fmla="*/ 0 w 756"/>
                <a:gd name="T55" fmla="*/ 344 h 5880"/>
                <a:gd name="T56" fmla="*/ 1 w 756"/>
                <a:gd name="T57" fmla="*/ 344 h 5880"/>
                <a:gd name="T58" fmla="*/ 1 w 756"/>
                <a:gd name="T59" fmla="*/ 345 h 5880"/>
                <a:gd name="T60" fmla="*/ 2 w 756"/>
                <a:gd name="T61" fmla="*/ 346 h 5880"/>
                <a:gd name="T62" fmla="*/ 3 w 756"/>
                <a:gd name="T63" fmla="*/ 346 h 5880"/>
                <a:gd name="T64" fmla="*/ 5 w 756"/>
                <a:gd name="T65" fmla="*/ 347 h 5880"/>
                <a:gd name="T66" fmla="*/ 6 w 756"/>
                <a:gd name="T67" fmla="*/ 347 h 5880"/>
                <a:gd name="T68" fmla="*/ 8 w 756"/>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6"/>
                <a:gd name="T106" fmla="*/ 0 h 5880"/>
                <a:gd name="T107" fmla="*/ 756 w 756"/>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6" h="5880">
                  <a:moveTo>
                    <a:pt x="68" y="5880"/>
                  </a:moveTo>
                  <a:lnTo>
                    <a:pt x="688" y="5880"/>
                  </a:lnTo>
                  <a:lnTo>
                    <a:pt x="695" y="5880"/>
                  </a:lnTo>
                  <a:lnTo>
                    <a:pt x="702" y="5879"/>
                  </a:lnTo>
                  <a:lnTo>
                    <a:pt x="708" y="5878"/>
                  </a:lnTo>
                  <a:lnTo>
                    <a:pt x="714" y="5876"/>
                  </a:lnTo>
                  <a:lnTo>
                    <a:pt x="720" y="5872"/>
                  </a:lnTo>
                  <a:lnTo>
                    <a:pt x="725" y="5869"/>
                  </a:lnTo>
                  <a:lnTo>
                    <a:pt x="731" y="5865"/>
                  </a:lnTo>
                  <a:lnTo>
                    <a:pt x="735" y="5861"/>
                  </a:lnTo>
                  <a:lnTo>
                    <a:pt x="740" y="5855"/>
                  </a:lnTo>
                  <a:lnTo>
                    <a:pt x="745" y="5851"/>
                  </a:lnTo>
                  <a:lnTo>
                    <a:pt x="748" y="5845"/>
                  </a:lnTo>
                  <a:lnTo>
                    <a:pt x="750" y="5839"/>
                  </a:lnTo>
                  <a:lnTo>
                    <a:pt x="752" y="5833"/>
                  </a:lnTo>
                  <a:lnTo>
                    <a:pt x="755" y="5826"/>
                  </a:lnTo>
                  <a:lnTo>
                    <a:pt x="755" y="5819"/>
                  </a:lnTo>
                  <a:lnTo>
                    <a:pt x="756" y="5812"/>
                  </a:lnTo>
                  <a:lnTo>
                    <a:pt x="756" y="68"/>
                  </a:lnTo>
                  <a:lnTo>
                    <a:pt x="755" y="60"/>
                  </a:lnTo>
                  <a:lnTo>
                    <a:pt x="755" y="53"/>
                  </a:lnTo>
                  <a:lnTo>
                    <a:pt x="752" y="48"/>
                  </a:lnTo>
                  <a:lnTo>
                    <a:pt x="750" y="41"/>
                  </a:lnTo>
                  <a:lnTo>
                    <a:pt x="748" y="35"/>
                  </a:lnTo>
                  <a:lnTo>
                    <a:pt x="745" y="29"/>
                  </a:lnTo>
                  <a:lnTo>
                    <a:pt x="740" y="24"/>
                  </a:lnTo>
                  <a:lnTo>
                    <a:pt x="735" y="19"/>
                  </a:lnTo>
                  <a:lnTo>
                    <a:pt x="731" y="15"/>
                  </a:lnTo>
                  <a:lnTo>
                    <a:pt x="725" y="11"/>
                  </a:lnTo>
                  <a:lnTo>
                    <a:pt x="720" y="8"/>
                  </a:lnTo>
                  <a:lnTo>
                    <a:pt x="714" y="5"/>
                  </a:lnTo>
                  <a:lnTo>
                    <a:pt x="708" y="2"/>
                  </a:lnTo>
                  <a:lnTo>
                    <a:pt x="702" y="1"/>
                  </a:lnTo>
                  <a:lnTo>
                    <a:pt x="695" y="0"/>
                  </a:lnTo>
                  <a:lnTo>
                    <a:pt x="688" y="0"/>
                  </a:lnTo>
                  <a:lnTo>
                    <a:pt x="68" y="0"/>
                  </a:lnTo>
                  <a:lnTo>
                    <a:pt x="61" y="0"/>
                  </a:lnTo>
                  <a:lnTo>
                    <a:pt x="54" y="1"/>
                  </a:lnTo>
                  <a:lnTo>
                    <a:pt x="47" y="2"/>
                  </a:lnTo>
                  <a:lnTo>
                    <a:pt x="42" y="5"/>
                  </a:lnTo>
                  <a:lnTo>
                    <a:pt x="36" y="8"/>
                  </a:lnTo>
                  <a:lnTo>
                    <a:pt x="30" y="11"/>
                  </a:lnTo>
                  <a:lnTo>
                    <a:pt x="25" y="15"/>
                  </a:lnTo>
                  <a:lnTo>
                    <a:pt x="20" y="19"/>
                  </a:lnTo>
                  <a:lnTo>
                    <a:pt x="16" y="24"/>
                  </a:lnTo>
                  <a:lnTo>
                    <a:pt x="11" y="29"/>
                  </a:lnTo>
                  <a:lnTo>
                    <a:pt x="8" y="35"/>
                  </a:lnTo>
                  <a:lnTo>
                    <a:pt x="5" y="41"/>
                  </a:lnTo>
                  <a:lnTo>
                    <a:pt x="3" y="48"/>
                  </a:lnTo>
                  <a:lnTo>
                    <a:pt x="1" y="53"/>
                  </a:lnTo>
                  <a:lnTo>
                    <a:pt x="1" y="60"/>
                  </a:lnTo>
                  <a:lnTo>
                    <a:pt x="0" y="68"/>
                  </a:lnTo>
                  <a:lnTo>
                    <a:pt x="0" y="5812"/>
                  </a:lnTo>
                  <a:lnTo>
                    <a:pt x="1" y="5819"/>
                  </a:lnTo>
                  <a:lnTo>
                    <a:pt x="1" y="5826"/>
                  </a:lnTo>
                  <a:lnTo>
                    <a:pt x="3" y="5833"/>
                  </a:lnTo>
                  <a:lnTo>
                    <a:pt x="5" y="5839"/>
                  </a:lnTo>
                  <a:lnTo>
                    <a:pt x="8" y="5845"/>
                  </a:lnTo>
                  <a:lnTo>
                    <a:pt x="11" y="5851"/>
                  </a:lnTo>
                  <a:lnTo>
                    <a:pt x="16" y="5855"/>
                  </a:lnTo>
                  <a:lnTo>
                    <a:pt x="20" y="5861"/>
                  </a:lnTo>
                  <a:lnTo>
                    <a:pt x="25" y="5865"/>
                  </a:lnTo>
                  <a:lnTo>
                    <a:pt x="30" y="5869"/>
                  </a:lnTo>
                  <a:lnTo>
                    <a:pt x="36" y="5872"/>
                  </a:lnTo>
                  <a:lnTo>
                    <a:pt x="42" y="5876"/>
                  </a:lnTo>
                  <a:lnTo>
                    <a:pt x="47" y="5878"/>
                  </a:lnTo>
                  <a:lnTo>
                    <a:pt x="54" y="5879"/>
                  </a:lnTo>
                  <a:lnTo>
                    <a:pt x="61" y="5880"/>
                  </a:lnTo>
                  <a:lnTo>
                    <a:pt x="68" y="5880"/>
                  </a:lnTo>
                  <a:close/>
                </a:path>
              </a:pathLst>
            </a:custGeom>
            <a:solidFill>
              <a:srgbClr val="00CC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10" name="Freeform 766"/>
            <p:cNvSpPr>
              <a:spLocks/>
            </p:cNvSpPr>
            <p:nvPr/>
          </p:nvSpPr>
          <p:spPr bwMode="auto">
            <a:xfrm>
              <a:off x="1956" y="1549"/>
              <a:ext cx="252" cy="1427"/>
            </a:xfrm>
            <a:custGeom>
              <a:avLst/>
              <a:gdLst>
                <a:gd name="T0" fmla="*/ 76 w 756"/>
                <a:gd name="T1" fmla="*/ 347 h 5880"/>
                <a:gd name="T2" fmla="*/ 78 w 756"/>
                <a:gd name="T3" fmla="*/ 347 h 5880"/>
                <a:gd name="T4" fmla="*/ 79 w 756"/>
                <a:gd name="T5" fmla="*/ 347 h 5880"/>
                <a:gd name="T6" fmla="*/ 81 w 756"/>
                <a:gd name="T7" fmla="*/ 346 h 5880"/>
                <a:gd name="T8" fmla="*/ 82 w 756"/>
                <a:gd name="T9" fmla="*/ 346 h 5880"/>
                <a:gd name="T10" fmla="*/ 83 w 756"/>
                <a:gd name="T11" fmla="*/ 345 h 5880"/>
                <a:gd name="T12" fmla="*/ 83 w 756"/>
                <a:gd name="T13" fmla="*/ 344 h 5880"/>
                <a:gd name="T14" fmla="*/ 84 w 756"/>
                <a:gd name="T15" fmla="*/ 344 h 5880"/>
                <a:gd name="T16" fmla="*/ 84 w 756"/>
                <a:gd name="T17" fmla="*/ 343 h 5880"/>
                <a:gd name="T18" fmla="*/ 84 w 756"/>
                <a:gd name="T19" fmla="*/ 4 h 5880"/>
                <a:gd name="T20" fmla="*/ 84 w 756"/>
                <a:gd name="T21" fmla="*/ 3 h 5880"/>
                <a:gd name="T22" fmla="*/ 83 w 756"/>
                <a:gd name="T23" fmla="*/ 2 h 5880"/>
                <a:gd name="T24" fmla="*/ 83 w 756"/>
                <a:gd name="T25" fmla="*/ 2 h 5880"/>
                <a:gd name="T26" fmla="*/ 82 w 756"/>
                <a:gd name="T27" fmla="*/ 1 h 5880"/>
                <a:gd name="T28" fmla="*/ 81 w 756"/>
                <a:gd name="T29" fmla="*/ 1 h 5880"/>
                <a:gd name="T30" fmla="*/ 79 w 756"/>
                <a:gd name="T31" fmla="*/ 0 h 5880"/>
                <a:gd name="T32" fmla="*/ 78 w 756"/>
                <a:gd name="T33" fmla="*/ 0 h 5880"/>
                <a:gd name="T34" fmla="*/ 76 w 756"/>
                <a:gd name="T35" fmla="*/ 0 h 5880"/>
                <a:gd name="T36" fmla="*/ 7 w 756"/>
                <a:gd name="T37" fmla="*/ 0 h 5880"/>
                <a:gd name="T38" fmla="*/ 5 w 756"/>
                <a:gd name="T39" fmla="*/ 0 h 5880"/>
                <a:gd name="T40" fmla="*/ 4 w 756"/>
                <a:gd name="T41" fmla="*/ 0 h 5880"/>
                <a:gd name="T42" fmla="*/ 3 w 756"/>
                <a:gd name="T43" fmla="*/ 1 h 5880"/>
                <a:gd name="T44" fmla="*/ 2 w 756"/>
                <a:gd name="T45" fmla="*/ 1 h 5880"/>
                <a:gd name="T46" fmla="*/ 1 w 756"/>
                <a:gd name="T47" fmla="*/ 2 h 5880"/>
                <a:gd name="T48" fmla="*/ 0 w 756"/>
                <a:gd name="T49" fmla="*/ 3 h 5880"/>
                <a:gd name="T50" fmla="*/ 0 w 756"/>
                <a:gd name="T51" fmla="*/ 4 h 5880"/>
                <a:gd name="T52" fmla="*/ 0 w 756"/>
                <a:gd name="T53" fmla="*/ 343 h 5880"/>
                <a:gd name="T54" fmla="*/ 0 w 756"/>
                <a:gd name="T55" fmla="*/ 344 h 5880"/>
                <a:gd name="T56" fmla="*/ 1 w 756"/>
                <a:gd name="T57" fmla="*/ 344 h 5880"/>
                <a:gd name="T58" fmla="*/ 1 w 756"/>
                <a:gd name="T59" fmla="*/ 345 h 5880"/>
                <a:gd name="T60" fmla="*/ 2 w 756"/>
                <a:gd name="T61" fmla="*/ 346 h 5880"/>
                <a:gd name="T62" fmla="*/ 3 w 756"/>
                <a:gd name="T63" fmla="*/ 346 h 5880"/>
                <a:gd name="T64" fmla="*/ 5 w 756"/>
                <a:gd name="T65" fmla="*/ 347 h 5880"/>
                <a:gd name="T66" fmla="*/ 6 w 756"/>
                <a:gd name="T67" fmla="*/ 347 h 5880"/>
                <a:gd name="T68" fmla="*/ 8 w 756"/>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6"/>
                <a:gd name="T106" fmla="*/ 0 h 5880"/>
                <a:gd name="T107" fmla="*/ 756 w 756"/>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6" h="5880">
                  <a:moveTo>
                    <a:pt x="68" y="5880"/>
                  </a:moveTo>
                  <a:lnTo>
                    <a:pt x="688" y="5880"/>
                  </a:lnTo>
                  <a:lnTo>
                    <a:pt x="695" y="5880"/>
                  </a:lnTo>
                  <a:lnTo>
                    <a:pt x="702" y="5879"/>
                  </a:lnTo>
                  <a:lnTo>
                    <a:pt x="708" y="5878"/>
                  </a:lnTo>
                  <a:lnTo>
                    <a:pt x="714" y="5876"/>
                  </a:lnTo>
                  <a:lnTo>
                    <a:pt x="720" y="5872"/>
                  </a:lnTo>
                  <a:lnTo>
                    <a:pt x="725" y="5869"/>
                  </a:lnTo>
                  <a:lnTo>
                    <a:pt x="731" y="5865"/>
                  </a:lnTo>
                  <a:lnTo>
                    <a:pt x="735" y="5861"/>
                  </a:lnTo>
                  <a:lnTo>
                    <a:pt x="740" y="5855"/>
                  </a:lnTo>
                  <a:lnTo>
                    <a:pt x="745" y="5851"/>
                  </a:lnTo>
                  <a:lnTo>
                    <a:pt x="748" y="5845"/>
                  </a:lnTo>
                  <a:lnTo>
                    <a:pt x="750" y="5839"/>
                  </a:lnTo>
                  <a:lnTo>
                    <a:pt x="752" y="5833"/>
                  </a:lnTo>
                  <a:lnTo>
                    <a:pt x="755" y="5826"/>
                  </a:lnTo>
                  <a:lnTo>
                    <a:pt x="755" y="5819"/>
                  </a:lnTo>
                  <a:lnTo>
                    <a:pt x="756" y="5812"/>
                  </a:lnTo>
                  <a:lnTo>
                    <a:pt x="756" y="68"/>
                  </a:lnTo>
                  <a:lnTo>
                    <a:pt x="755" y="60"/>
                  </a:lnTo>
                  <a:lnTo>
                    <a:pt x="755" y="53"/>
                  </a:lnTo>
                  <a:lnTo>
                    <a:pt x="752" y="48"/>
                  </a:lnTo>
                  <a:lnTo>
                    <a:pt x="750" y="41"/>
                  </a:lnTo>
                  <a:lnTo>
                    <a:pt x="748" y="35"/>
                  </a:lnTo>
                  <a:lnTo>
                    <a:pt x="745" y="29"/>
                  </a:lnTo>
                  <a:lnTo>
                    <a:pt x="740" y="24"/>
                  </a:lnTo>
                  <a:lnTo>
                    <a:pt x="735" y="19"/>
                  </a:lnTo>
                  <a:lnTo>
                    <a:pt x="731" y="15"/>
                  </a:lnTo>
                  <a:lnTo>
                    <a:pt x="725" y="11"/>
                  </a:lnTo>
                  <a:lnTo>
                    <a:pt x="720" y="8"/>
                  </a:lnTo>
                  <a:lnTo>
                    <a:pt x="714" y="5"/>
                  </a:lnTo>
                  <a:lnTo>
                    <a:pt x="708" y="2"/>
                  </a:lnTo>
                  <a:lnTo>
                    <a:pt x="702" y="1"/>
                  </a:lnTo>
                  <a:lnTo>
                    <a:pt x="695" y="0"/>
                  </a:lnTo>
                  <a:lnTo>
                    <a:pt x="688" y="0"/>
                  </a:lnTo>
                  <a:lnTo>
                    <a:pt x="68" y="0"/>
                  </a:lnTo>
                  <a:lnTo>
                    <a:pt x="61" y="0"/>
                  </a:lnTo>
                  <a:lnTo>
                    <a:pt x="54" y="1"/>
                  </a:lnTo>
                  <a:lnTo>
                    <a:pt x="47" y="2"/>
                  </a:lnTo>
                  <a:lnTo>
                    <a:pt x="42" y="5"/>
                  </a:lnTo>
                  <a:lnTo>
                    <a:pt x="36" y="8"/>
                  </a:lnTo>
                  <a:lnTo>
                    <a:pt x="30" y="11"/>
                  </a:lnTo>
                  <a:lnTo>
                    <a:pt x="25" y="15"/>
                  </a:lnTo>
                  <a:lnTo>
                    <a:pt x="20" y="19"/>
                  </a:lnTo>
                  <a:lnTo>
                    <a:pt x="16" y="24"/>
                  </a:lnTo>
                  <a:lnTo>
                    <a:pt x="11" y="29"/>
                  </a:lnTo>
                  <a:lnTo>
                    <a:pt x="8" y="35"/>
                  </a:lnTo>
                  <a:lnTo>
                    <a:pt x="5" y="41"/>
                  </a:lnTo>
                  <a:lnTo>
                    <a:pt x="3" y="48"/>
                  </a:lnTo>
                  <a:lnTo>
                    <a:pt x="1" y="53"/>
                  </a:lnTo>
                  <a:lnTo>
                    <a:pt x="1" y="60"/>
                  </a:lnTo>
                  <a:lnTo>
                    <a:pt x="0" y="68"/>
                  </a:lnTo>
                  <a:lnTo>
                    <a:pt x="0" y="5812"/>
                  </a:lnTo>
                  <a:lnTo>
                    <a:pt x="1" y="5819"/>
                  </a:lnTo>
                  <a:lnTo>
                    <a:pt x="1" y="5826"/>
                  </a:lnTo>
                  <a:lnTo>
                    <a:pt x="3" y="5833"/>
                  </a:lnTo>
                  <a:lnTo>
                    <a:pt x="5" y="5839"/>
                  </a:lnTo>
                  <a:lnTo>
                    <a:pt x="8" y="5845"/>
                  </a:lnTo>
                  <a:lnTo>
                    <a:pt x="11" y="5851"/>
                  </a:lnTo>
                  <a:lnTo>
                    <a:pt x="16" y="5855"/>
                  </a:lnTo>
                  <a:lnTo>
                    <a:pt x="20" y="5861"/>
                  </a:lnTo>
                  <a:lnTo>
                    <a:pt x="25" y="5865"/>
                  </a:lnTo>
                  <a:lnTo>
                    <a:pt x="30" y="5869"/>
                  </a:lnTo>
                  <a:lnTo>
                    <a:pt x="36" y="5872"/>
                  </a:lnTo>
                  <a:lnTo>
                    <a:pt x="42" y="5876"/>
                  </a:lnTo>
                  <a:lnTo>
                    <a:pt x="47" y="5878"/>
                  </a:lnTo>
                  <a:lnTo>
                    <a:pt x="54" y="5879"/>
                  </a:lnTo>
                  <a:lnTo>
                    <a:pt x="61" y="5880"/>
                  </a:lnTo>
                  <a:lnTo>
                    <a:pt x="68" y="588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11" name="Rectangle 767"/>
            <p:cNvSpPr>
              <a:spLocks noChangeArrowheads="1"/>
            </p:cNvSpPr>
            <p:nvPr/>
          </p:nvSpPr>
          <p:spPr bwMode="auto">
            <a:xfrm>
              <a:off x="2035" y="1564"/>
              <a:ext cx="10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Work </a:t>
              </a:r>
              <a:endParaRPr lang="en-US" sz="1800" b="0" kern="0" baseline="0">
                <a:solidFill>
                  <a:sysClr val="windowText" lastClr="000000"/>
                </a:solidFill>
                <a:latin typeface="Arial" charset="0"/>
                <a:ea typeface="ＭＳ Ｐゴシック"/>
                <a:cs typeface="ＭＳ Ｐゴシック"/>
              </a:endParaRPr>
            </a:p>
          </p:txBody>
        </p:sp>
        <p:sp>
          <p:nvSpPr>
            <p:cNvPr id="212" name="Rectangle 768"/>
            <p:cNvSpPr>
              <a:spLocks noChangeArrowheads="1"/>
            </p:cNvSpPr>
            <p:nvPr/>
          </p:nvSpPr>
          <p:spPr bwMode="auto">
            <a:xfrm>
              <a:off x="1977" y="1599"/>
              <a:ext cx="15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Initiation </a:t>
              </a:r>
              <a:endParaRPr lang="en-US" sz="1800" b="0" kern="0" baseline="0">
                <a:solidFill>
                  <a:sysClr val="windowText" lastClr="000000"/>
                </a:solidFill>
                <a:latin typeface="Arial" charset="0"/>
                <a:ea typeface="ＭＳ Ｐゴシック"/>
                <a:cs typeface="ＭＳ Ｐゴシック"/>
              </a:endParaRPr>
            </a:p>
          </p:txBody>
        </p:sp>
        <p:sp>
          <p:nvSpPr>
            <p:cNvPr id="213" name="Rectangle 769"/>
            <p:cNvSpPr>
              <a:spLocks noChangeArrowheads="1"/>
            </p:cNvSpPr>
            <p:nvPr/>
          </p:nvSpPr>
          <p:spPr bwMode="auto">
            <a:xfrm>
              <a:off x="2138" y="1599"/>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214" name="Rectangle 770"/>
            <p:cNvSpPr>
              <a:spLocks noChangeArrowheads="1"/>
            </p:cNvSpPr>
            <p:nvPr/>
          </p:nvSpPr>
          <p:spPr bwMode="auto">
            <a:xfrm>
              <a:off x="2176" y="1599"/>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215" name="Rectangle 771"/>
            <p:cNvSpPr>
              <a:spLocks noChangeArrowheads="1"/>
            </p:cNvSpPr>
            <p:nvPr/>
          </p:nvSpPr>
          <p:spPr bwMode="auto">
            <a:xfrm>
              <a:off x="1980" y="1634"/>
              <a:ext cx="20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or Bundling</a:t>
              </a:r>
              <a:endParaRPr lang="en-US" sz="1800" b="0" kern="0" baseline="0">
                <a:solidFill>
                  <a:sysClr val="windowText" lastClr="000000"/>
                </a:solidFill>
                <a:latin typeface="Arial" charset="0"/>
                <a:ea typeface="ＭＳ Ｐゴシック"/>
                <a:cs typeface="ＭＳ Ｐゴシック"/>
              </a:endParaRPr>
            </a:p>
          </p:txBody>
        </p:sp>
        <p:sp>
          <p:nvSpPr>
            <p:cNvPr id="216" name="Freeform 772"/>
            <p:cNvSpPr>
              <a:spLocks/>
            </p:cNvSpPr>
            <p:nvPr/>
          </p:nvSpPr>
          <p:spPr bwMode="auto">
            <a:xfrm>
              <a:off x="3026" y="1549"/>
              <a:ext cx="252" cy="1431"/>
            </a:xfrm>
            <a:custGeom>
              <a:avLst/>
              <a:gdLst>
                <a:gd name="T0" fmla="*/ 76 w 757"/>
                <a:gd name="T1" fmla="*/ 347 h 5894"/>
                <a:gd name="T2" fmla="*/ 78 w 757"/>
                <a:gd name="T3" fmla="*/ 347 h 5894"/>
                <a:gd name="T4" fmla="*/ 79 w 757"/>
                <a:gd name="T5" fmla="*/ 347 h 5894"/>
                <a:gd name="T6" fmla="*/ 81 w 757"/>
                <a:gd name="T7" fmla="*/ 347 h 5894"/>
                <a:gd name="T8" fmla="*/ 82 w 757"/>
                <a:gd name="T9" fmla="*/ 346 h 5894"/>
                <a:gd name="T10" fmla="*/ 83 w 757"/>
                <a:gd name="T11" fmla="*/ 345 h 5894"/>
                <a:gd name="T12" fmla="*/ 83 w 757"/>
                <a:gd name="T13" fmla="*/ 345 h 5894"/>
                <a:gd name="T14" fmla="*/ 84 w 757"/>
                <a:gd name="T15" fmla="*/ 344 h 5894"/>
                <a:gd name="T16" fmla="*/ 84 w 757"/>
                <a:gd name="T17" fmla="*/ 343 h 5894"/>
                <a:gd name="T18" fmla="*/ 84 w 757"/>
                <a:gd name="T19" fmla="*/ 4 h 5894"/>
                <a:gd name="T20" fmla="*/ 84 w 757"/>
                <a:gd name="T21" fmla="*/ 3 h 5894"/>
                <a:gd name="T22" fmla="*/ 83 w 757"/>
                <a:gd name="T23" fmla="*/ 2 h 5894"/>
                <a:gd name="T24" fmla="*/ 83 w 757"/>
                <a:gd name="T25" fmla="*/ 2 h 5894"/>
                <a:gd name="T26" fmla="*/ 82 w 757"/>
                <a:gd name="T27" fmla="*/ 1 h 5894"/>
                <a:gd name="T28" fmla="*/ 81 w 757"/>
                <a:gd name="T29" fmla="*/ 1 h 5894"/>
                <a:gd name="T30" fmla="*/ 79 w 757"/>
                <a:gd name="T31" fmla="*/ 0 h 5894"/>
                <a:gd name="T32" fmla="*/ 78 w 757"/>
                <a:gd name="T33" fmla="*/ 0 h 5894"/>
                <a:gd name="T34" fmla="*/ 76 w 757"/>
                <a:gd name="T35" fmla="*/ 0 h 5894"/>
                <a:gd name="T36" fmla="*/ 7 w 757"/>
                <a:gd name="T37" fmla="*/ 0 h 5894"/>
                <a:gd name="T38" fmla="*/ 5 w 757"/>
                <a:gd name="T39" fmla="*/ 0 h 5894"/>
                <a:gd name="T40" fmla="*/ 4 w 757"/>
                <a:gd name="T41" fmla="*/ 0 h 5894"/>
                <a:gd name="T42" fmla="*/ 3 w 757"/>
                <a:gd name="T43" fmla="*/ 1 h 5894"/>
                <a:gd name="T44" fmla="*/ 2 w 757"/>
                <a:gd name="T45" fmla="*/ 1 h 5894"/>
                <a:gd name="T46" fmla="*/ 1 w 757"/>
                <a:gd name="T47" fmla="*/ 2 h 5894"/>
                <a:gd name="T48" fmla="*/ 0 w 757"/>
                <a:gd name="T49" fmla="*/ 3 h 5894"/>
                <a:gd name="T50" fmla="*/ 0 w 757"/>
                <a:gd name="T51" fmla="*/ 4 h 5894"/>
                <a:gd name="T52" fmla="*/ 0 w 757"/>
                <a:gd name="T53" fmla="*/ 343 h 5894"/>
                <a:gd name="T54" fmla="*/ 0 w 757"/>
                <a:gd name="T55" fmla="*/ 344 h 5894"/>
                <a:gd name="T56" fmla="*/ 1 w 757"/>
                <a:gd name="T57" fmla="*/ 345 h 5894"/>
                <a:gd name="T58" fmla="*/ 1 w 757"/>
                <a:gd name="T59" fmla="*/ 345 h 5894"/>
                <a:gd name="T60" fmla="*/ 2 w 757"/>
                <a:gd name="T61" fmla="*/ 346 h 5894"/>
                <a:gd name="T62" fmla="*/ 3 w 757"/>
                <a:gd name="T63" fmla="*/ 347 h 5894"/>
                <a:gd name="T64" fmla="*/ 5 w 757"/>
                <a:gd name="T65" fmla="*/ 347 h 5894"/>
                <a:gd name="T66" fmla="*/ 6 w 757"/>
                <a:gd name="T67" fmla="*/ 347 h 5894"/>
                <a:gd name="T68" fmla="*/ 8 w 757"/>
                <a:gd name="T69" fmla="*/ 347 h 58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7"/>
                <a:gd name="T106" fmla="*/ 0 h 5894"/>
                <a:gd name="T107" fmla="*/ 757 w 757"/>
                <a:gd name="T108" fmla="*/ 5894 h 58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7" h="5894">
                  <a:moveTo>
                    <a:pt x="68" y="5894"/>
                  </a:moveTo>
                  <a:lnTo>
                    <a:pt x="689" y="5894"/>
                  </a:lnTo>
                  <a:lnTo>
                    <a:pt x="696" y="5892"/>
                  </a:lnTo>
                  <a:lnTo>
                    <a:pt x="702" y="5891"/>
                  </a:lnTo>
                  <a:lnTo>
                    <a:pt x="708" y="5890"/>
                  </a:lnTo>
                  <a:lnTo>
                    <a:pt x="715" y="5888"/>
                  </a:lnTo>
                  <a:lnTo>
                    <a:pt x="720" y="5885"/>
                  </a:lnTo>
                  <a:lnTo>
                    <a:pt x="726" y="5881"/>
                  </a:lnTo>
                  <a:lnTo>
                    <a:pt x="732" y="5878"/>
                  </a:lnTo>
                  <a:lnTo>
                    <a:pt x="736" y="5873"/>
                  </a:lnTo>
                  <a:lnTo>
                    <a:pt x="741" y="5869"/>
                  </a:lnTo>
                  <a:lnTo>
                    <a:pt x="744" y="5863"/>
                  </a:lnTo>
                  <a:lnTo>
                    <a:pt x="748" y="5857"/>
                  </a:lnTo>
                  <a:lnTo>
                    <a:pt x="751" y="5852"/>
                  </a:lnTo>
                  <a:lnTo>
                    <a:pt x="753" y="5845"/>
                  </a:lnTo>
                  <a:lnTo>
                    <a:pt x="754" y="5839"/>
                  </a:lnTo>
                  <a:lnTo>
                    <a:pt x="755" y="5833"/>
                  </a:lnTo>
                  <a:lnTo>
                    <a:pt x="757" y="5826"/>
                  </a:lnTo>
                  <a:lnTo>
                    <a:pt x="757" y="68"/>
                  </a:lnTo>
                  <a:lnTo>
                    <a:pt x="755" y="60"/>
                  </a:lnTo>
                  <a:lnTo>
                    <a:pt x="754" y="53"/>
                  </a:lnTo>
                  <a:lnTo>
                    <a:pt x="753" y="48"/>
                  </a:lnTo>
                  <a:lnTo>
                    <a:pt x="751" y="41"/>
                  </a:lnTo>
                  <a:lnTo>
                    <a:pt x="748" y="35"/>
                  </a:lnTo>
                  <a:lnTo>
                    <a:pt x="744" y="29"/>
                  </a:lnTo>
                  <a:lnTo>
                    <a:pt x="741" y="24"/>
                  </a:lnTo>
                  <a:lnTo>
                    <a:pt x="736" y="19"/>
                  </a:lnTo>
                  <a:lnTo>
                    <a:pt x="732" y="15"/>
                  </a:lnTo>
                  <a:lnTo>
                    <a:pt x="726" y="11"/>
                  </a:lnTo>
                  <a:lnTo>
                    <a:pt x="720" y="8"/>
                  </a:lnTo>
                  <a:lnTo>
                    <a:pt x="715" y="5"/>
                  </a:lnTo>
                  <a:lnTo>
                    <a:pt x="708" y="2"/>
                  </a:lnTo>
                  <a:lnTo>
                    <a:pt x="702" y="1"/>
                  </a:lnTo>
                  <a:lnTo>
                    <a:pt x="696" y="0"/>
                  </a:lnTo>
                  <a:lnTo>
                    <a:pt x="689" y="0"/>
                  </a:lnTo>
                  <a:lnTo>
                    <a:pt x="68" y="0"/>
                  </a:lnTo>
                  <a:lnTo>
                    <a:pt x="62" y="0"/>
                  </a:lnTo>
                  <a:lnTo>
                    <a:pt x="55" y="1"/>
                  </a:lnTo>
                  <a:lnTo>
                    <a:pt x="48" y="2"/>
                  </a:lnTo>
                  <a:lnTo>
                    <a:pt x="42" y="5"/>
                  </a:lnTo>
                  <a:lnTo>
                    <a:pt x="36" y="8"/>
                  </a:lnTo>
                  <a:lnTo>
                    <a:pt x="31" y="11"/>
                  </a:lnTo>
                  <a:lnTo>
                    <a:pt x="25" y="15"/>
                  </a:lnTo>
                  <a:lnTo>
                    <a:pt x="21" y="19"/>
                  </a:lnTo>
                  <a:lnTo>
                    <a:pt x="16" y="24"/>
                  </a:lnTo>
                  <a:lnTo>
                    <a:pt x="12" y="29"/>
                  </a:lnTo>
                  <a:lnTo>
                    <a:pt x="8" y="35"/>
                  </a:lnTo>
                  <a:lnTo>
                    <a:pt x="6" y="41"/>
                  </a:lnTo>
                  <a:lnTo>
                    <a:pt x="4" y="48"/>
                  </a:lnTo>
                  <a:lnTo>
                    <a:pt x="2" y="53"/>
                  </a:lnTo>
                  <a:lnTo>
                    <a:pt x="0" y="60"/>
                  </a:lnTo>
                  <a:lnTo>
                    <a:pt x="0" y="68"/>
                  </a:lnTo>
                  <a:lnTo>
                    <a:pt x="0" y="5826"/>
                  </a:lnTo>
                  <a:lnTo>
                    <a:pt x="0" y="5833"/>
                  </a:lnTo>
                  <a:lnTo>
                    <a:pt x="2" y="5839"/>
                  </a:lnTo>
                  <a:lnTo>
                    <a:pt x="4" y="5845"/>
                  </a:lnTo>
                  <a:lnTo>
                    <a:pt x="6" y="5852"/>
                  </a:lnTo>
                  <a:lnTo>
                    <a:pt x="8" y="5857"/>
                  </a:lnTo>
                  <a:lnTo>
                    <a:pt x="12" y="5863"/>
                  </a:lnTo>
                  <a:lnTo>
                    <a:pt x="16" y="5869"/>
                  </a:lnTo>
                  <a:lnTo>
                    <a:pt x="21" y="5873"/>
                  </a:lnTo>
                  <a:lnTo>
                    <a:pt x="25" y="5878"/>
                  </a:lnTo>
                  <a:lnTo>
                    <a:pt x="31" y="5881"/>
                  </a:lnTo>
                  <a:lnTo>
                    <a:pt x="36" y="5885"/>
                  </a:lnTo>
                  <a:lnTo>
                    <a:pt x="42" y="5888"/>
                  </a:lnTo>
                  <a:lnTo>
                    <a:pt x="48" y="5890"/>
                  </a:lnTo>
                  <a:lnTo>
                    <a:pt x="55" y="5891"/>
                  </a:lnTo>
                  <a:lnTo>
                    <a:pt x="62" y="5892"/>
                  </a:lnTo>
                  <a:lnTo>
                    <a:pt x="68" y="5894"/>
                  </a:lnTo>
                  <a:close/>
                </a:path>
              </a:pathLst>
            </a:custGeom>
            <a:solidFill>
              <a:srgbClr val="00CC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17" name="Freeform 773"/>
            <p:cNvSpPr>
              <a:spLocks/>
            </p:cNvSpPr>
            <p:nvPr/>
          </p:nvSpPr>
          <p:spPr bwMode="auto">
            <a:xfrm>
              <a:off x="3026" y="1549"/>
              <a:ext cx="252" cy="1431"/>
            </a:xfrm>
            <a:custGeom>
              <a:avLst/>
              <a:gdLst>
                <a:gd name="T0" fmla="*/ 76 w 757"/>
                <a:gd name="T1" fmla="*/ 347 h 5894"/>
                <a:gd name="T2" fmla="*/ 78 w 757"/>
                <a:gd name="T3" fmla="*/ 347 h 5894"/>
                <a:gd name="T4" fmla="*/ 79 w 757"/>
                <a:gd name="T5" fmla="*/ 347 h 5894"/>
                <a:gd name="T6" fmla="*/ 81 w 757"/>
                <a:gd name="T7" fmla="*/ 347 h 5894"/>
                <a:gd name="T8" fmla="*/ 82 w 757"/>
                <a:gd name="T9" fmla="*/ 346 h 5894"/>
                <a:gd name="T10" fmla="*/ 83 w 757"/>
                <a:gd name="T11" fmla="*/ 345 h 5894"/>
                <a:gd name="T12" fmla="*/ 83 w 757"/>
                <a:gd name="T13" fmla="*/ 345 h 5894"/>
                <a:gd name="T14" fmla="*/ 84 w 757"/>
                <a:gd name="T15" fmla="*/ 344 h 5894"/>
                <a:gd name="T16" fmla="*/ 84 w 757"/>
                <a:gd name="T17" fmla="*/ 343 h 5894"/>
                <a:gd name="T18" fmla="*/ 84 w 757"/>
                <a:gd name="T19" fmla="*/ 4 h 5894"/>
                <a:gd name="T20" fmla="*/ 84 w 757"/>
                <a:gd name="T21" fmla="*/ 3 h 5894"/>
                <a:gd name="T22" fmla="*/ 83 w 757"/>
                <a:gd name="T23" fmla="*/ 2 h 5894"/>
                <a:gd name="T24" fmla="*/ 83 w 757"/>
                <a:gd name="T25" fmla="*/ 2 h 5894"/>
                <a:gd name="T26" fmla="*/ 82 w 757"/>
                <a:gd name="T27" fmla="*/ 1 h 5894"/>
                <a:gd name="T28" fmla="*/ 81 w 757"/>
                <a:gd name="T29" fmla="*/ 1 h 5894"/>
                <a:gd name="T30" fmla="*/ 79 w 757"/>
                <a:gd name="T31" fmla="*/ 0 h 5894"/>
                <a:gd name="T32" fmla="*/ 78 w 757"/>
                <a:gd name="T33" fmla="*/ 0 h 5894"/>
                <a:gd name="T34" fmla="*/ 76 w 757"/>
                <a:gd name="T35" fmla="*/ 0 h 5894"/>
                <a:gd name="T36" fmla="*/ 7 w 757"/>
                <a:gd name="T37" fmla="*/ 0 h 5894"/>
                <a:gd name="T38" fmla="*/ 5 w 757"/>
                <a:gd name="T39" fmla="*/ 0 h 5894"/>
                <a:gd name="T40" fmla="*/ 4 w 757"/>
                <a:gd name="T41" fmla="*/ 0 h 5894"/>
                <a:gd name="T42" fmla="*/ 3 w 757"/>
                <a:gd name="T43" fmla="*/ 1 h 5894"/>
                <a:gd name="T44" fmla="*/ 2 w 757"/>
                <a:gd name="T45" fmla="*/ 1 h 5894"/>
                <a:gd name="T46" fmla="*/ 1 w 757"/>
                <a:gd name="T47" fmla="*/ 2 h 5894"/>
                <a:gd name="T48" fmla="*/ 0 w 757"/>
                <a:gd name="T49" fmla="*/ 3 h 5894"/>
                <a:gd name="T50" fmla="*/ 0 w 757"/>
                <a:gd name="T51" fmla="*/ 4 h 5894"/>
                <a:gd name="T52" fmla="*/ 0 w 757"/>
                <a:gd name="T53" fmla="*/ 343 h 5894"/>
                <a:gd name="T54" fmla="*/ 0 w 757"/>
                <a:gd name="T55" fmla="*/ 344 h 5894"/>
                <a:gd name="T56" fmla="*/ 1 w 757"/>
                <a:gd name="T57" fmla="*/ 345 h 5894"/>
                <a:gd name="T58" fmla="*/ 1 w 757"/>
                <a:gd name="T59" fmla="*/ 345 h 5894"/>
                <a:gd name="T60" fmla="*/ 2 w 757"/>
                <a:gd name="T61" fmla="*/ 346 h 5894"/>
                <a:gd name="T62" fmla="*/ 3 w 757"/>
                <a:gd name="T63" fmla="*/ 347 h 5894"/>
                <a:gd name="T64" fmla="*/ 5 w 757"/>
                <a:gd name="T65" fmla="*/ 347 h 5894"/>
                <a:gd name="T66" fmla="*/ 6 w 757"/>
                <a:gd name="T67" fmla="*/ 347 h 5894"/>
                <a:gd name="T68" fmla="*/ 8 w 757"/>
                <a:gd name="T69" fmla="*/ 347 h 58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7"/>
                <a:gd name="T106" fmla="*/ 0 h 5894"/>
                <a:gd name="T107" fmla="*/ 757 w 757"/>
                <a:gd name="T108" fmla="*/ 5894 h 58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7" h="5894">
                  <a:moveTo>
                    <a:pt x="68" y="5894"/>
                  </a:moveTo>
                  <a:lnTo>
                    <a:pt x="689" y="5894"/>
                  </a:lnTo>
                  <a:lnTo>
                    <a:pt x="696" y="5892"/>
                  </a:lnTo>
                  <a:lnTo>
                    <a:pt x="702" y="5891"/>
                  </a:lnTo>
                  <a:lnTo>
                    <a:pt x="708" y="5890"/>
                  </a:lnTo>
                  <a:lnTo>
                    <a:pt x="715" y="5888"/>
                  </a:lnTo>
                  <a:lnTo>
                    <a:pt x="720" y="5885"/>
                  </a:lnTo>
                  <a:lnTo>
                    <a:pt x="726" y="5881"/>
                  </a:lnTo>
                  <a:lnTo>
                    <a:pt x="732" y="5878"/>
                  </a:lnTo>
                  <a:lnTo>
                    <a:pt x="736" y="5873"/>
                  </a:lnTo>
                  <a:lnTo>
                    <a:pt x="741" y="5869"/>
                  </a:lnTo>
                  <a:lnTo>
                    <a:pt x="744" y="5863"/>
                  </a:lnTo>
                  <a:lnTo>
                    <a:pt x="748" y="5857"/>
                  </a:lnTo>
                  <a:lnTo>
                    <a:pt x="751" y="5852"/>
                  </a:lnTo>
                  <a:lnTo>
                    <a:pt x="753" y="5845"/>
                  </a:lnTo>
                  <a:lnTo>
                    <a:pt x="754" y="5839"/>
                  </a:lnTo>
                  <a:lnTo>
                    <a:pt x="755" y="5833"/>
                  </a:lnTo>
                  <a:lnTo>
                    <a:pt x="757" y="5826"/>
                  </a:lnTo>
                  <a:lnTo>
                    <a:pt x="757" y="68"/>
                  </a:lnTo>
                  <a:lnTo>
                    <a:pt x="755" y="60"/>
                  </a:lnTo>
                  <a:lnTo>
                    <a:pt x="754" y="53"/>
                  </a:lnTo>
                  <a:lnTo>
                    <a:pt x="753" y="48"/>
                  </a:lnTo>
                  <a:lnTo>
                    <a:pt x="751" y="41"/>
                  </a:lnTo>
                  <a:lnTo>
                    <a:pt x="748" y="35"/>
                  </a:lnTo>
                  <a:lnTo>
                    <a:pt x="744" y="29"/>
                  </a:lnTo>
                  <a:lnTo>
                    <a:pt x="741" y="24"/>
                  </a:lnTo>
                  <a:lnTo>
                    <a:pt x="736" y="19"/>
                  </a:lnTo>
                  <a:lnTo>
                    <a:pt x="732" y="15"/>
                  </a:lnTo>
                  <a:lnTo>
                    <a:pt x="726" y="11"/>
                  </a:lnTo>
                  <a:lnTo>
                    <a:pt x="720" y="8"/>
                  </a:lnTo>
                  <a:lnTo>
                    <a:pt x="715" y="5"/>
                  </a:lnTo>
                  <a:lnTo>
                    <a:pt x="708" y="2"/>
                  </a:lnTo>
                  <a:lnTo>
                    <a:pt x="702" y="1"/>
                  </a:lnTo>
                  <a:lnTo>
                    <a:pt x="696" y="0"/>
                  </a:lnTo>
                  <a:lnTo>
                    <a:pt x="689" y="0"/>
                  </a:lnTo>
                  <a:lnTo>
                    <a:pt x="68" y="0"/>
                  </a:lnTo>
                  <a:lnTo>
                    <a:pt x="62" y="0"/>
                  </a:lnTo>
                  <a:lnTo>
                    <a:pt x="55" y="1"/>
                  </a:lnTo>
                  <a:lnTo>
                    <a:pt x="48" y="2"/>
                  </a:lnTo>
                  <a:lnTo>
                    <a:pt x="42" y="5"/>
                  </a:lnTo>
                  <a:lnTo>
                    <a:pt x="36" y="8"/>
                  </a:lnTo>
                  <a:lnTo>
                    <a:pt x="31" y="11"/>
                  </a:lnTo>
                  <a:lnTo>
                    <a:pt x="25" y="15"/>
                  </a:lnTo>
                  <a:lnTo>
                    <a:pt x="21" y="19"/>
                  </a:lnTo>
                  <a:lnTo>
                    <a:pt x="16" y="24"/>
                  </a:lnTo>
                  <a:lnTo>
                    <a:pt x="12" y="29"/>
                  </a:lnTo>
                  <a:lnTo>
                    <a:pt x="8" y="35"/>
                  </a:lnTo>
                  <a:lnTo>
                    <a:pt x="6" y="41"/>
                  </a:lnTo>
                  <a:lnTo>
                    <a:pt x="4" y="48"/>
                  </a:lnTo>
                  <a:lnTo>
                    <a:pt x="2" y="53"/>
                  </a:lnTo>
                  <a:lnTo>
                    <a:pt x="0" y="60"/>
                  </a:lnTo>
                  <a:lnTo>
                    <a:pt x="0" y="68"/>
                  </a:lnTo>
                  <a:lnTo>
                    <a:pt x="0" y="5826"/>
                  </a:lnTo>
                  <a:lnTo>
                    <a:pt x="0" y="5833"/>
                  </a:lnTo>
                  <a:lnTo>
                    <a:pt x="2" y="5839"/>
                  </a:lnTo>
                  <a:lnTo>
                    <a:pt x="4" y="5845"/>
                  </a:lnTo>
                  <a:lnTo>
                    <a:pt x="6" y="5852"/>
                  </a:lnTo>
                  <a:lnTo>
                    <a:pt x="8" y="5857"/>
                  </a:lnTo>
                  <a:lnTo>
                    <a:pt x="12" y="5863"/>
                  </a:lnTo>
                  <a:lnTo>
                    <a:pt x="16" y="5869"/>
                  </a:lnTo>
                  <a:lnTo>
                    <a:pt x="21" y="5873"/>
                  </a:lnTo>
                  <a:lnTo>
                    <a:pt x="25" y="5878"/>
                  </a:lnTo>
                  <a:lnTo>
                    <a:pt x="31" y="5881"/>
                  </a:lnTo>
                  <a:lnTo>
                    <a:pt x="36" y="5885"/>
                  </a:lnTo>
                  <a:lnTo>
                    <a:pt x="42" y="5888"/>
                  </a:lnTo>
                  <a:lnTo>
                    <a:pt x="48" y="5890"/>
                  </a:lnTo>
                  <a:lnTo>
                    <a:pt x="55" y="5891"/>
                  </a:lnTo>
                  <a:lnTo>
                    <a:pt x="62" y="5892"/>
                  </a:lnTo>
                  <a:lnTo>
                    <a:pt x="68" y="589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18" name="Rectangle 774"/>
            <p:cNvSpPr>
              <a:spLocks noChangeArrowheads="1"/>
            </p:cNvSpPr>
            <p:nvPr/>
          </p:nvSpPr>
          <p:spPr bwMode="auto">
            <a:xfrm>
              <a:off x="3068" y="1564"/>
              <a:ext cx="16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Schedule</a:t>
              </a:r>
              <a:endParaRPr lang="en-US" sz="1800" b="0" kern="0" baseline="0">
                <a:solidFill>
                  <a:sysClr val="windowText" lastClr="000000"/>
                </a:solidFill>
                <a:latin typeface="Arial" charset="0"/>
                <a:ea typeface="ＭＳ Ｐゴシック"/>
                <a:cs typeface="ＭＳ Ｐゴシック"/>
              </a:endParaRPr>
            </a:p>
          </p:txBody>
        </p:sp>
        <p:sp>
          <p:nvSpPr>
            <p:cNvPr id="219" name="Freeform 775"/>
            <p:cNvSpPr>
              <a:spLocks/>
            </p:cNvSpPr>
            <p:nvPr/>
          </p:nvSpPr>
          <p:spPr bwMode="auto">
            <a:xfrm>
              <a:off x="2763" y="1549"/>
              <a:ext cx="252" cy="1427"/>
            </a:xfrm>
            <a:custGeom>
              <a:avLst/>
              <a:gdLst>
                <a:gd name="T0" fmla="*/ 76 w 756"/>
                <a:gd name="T1" fmla="*/ 347 h 5880"/>
                <a:gd name="T2" fmla="*/ 78 w 756"/>
                <a:gd name="T3" fmla="*/ 347 h 5880"/>
                <a:gd name="T4" fmla="*/ 79 w 756"/>
                <a:gd name="T5" fmla="*/ 347 h 5880"/>
                <a:gd name="T6" fmla="*/ 81 w 756"/>
                <a:gd name="T7" fmla="*/ 346 h 5880"/>
                <a:gd name="T8" fmla="*/ 82 w 756"/>
                <a:gd name="T9" fmla="*/ 346 h 5880"/>
                <a:gd name="T10" fmla="*/ 83 w 756"/>
                <a:gd name="T11" fmla="*/ 345 h 5880"/>
                <a:gd name="T12" fmla="*/ 83 w 756"/>
                <a:gd name="T13" fmla="*/ 344 h 5880"/>
                <a:gd name="T14" fmla="*/ 84 w 756"/>
                <a:gd name="T15" fmla="*/ 344 h 5880"/>
                <a:gd name="T16" fmla="*/ 84 w 756"/>
                <a:gd name="T17" fmla="*/ 343 h 5880"/>
                <a:gd name="T18" fmla="*/ 84 w 756"/>
                <a:gd name="T19" fmla="*/ 4 h 5880"/>
                <a:gd name="T20" fmla="*/ 84 w 756"/>
                <a:gd name="T21" fmla="*/ 3 h 5880"/>
                <a:gd name="T22" fmla="*/ 83 w 756"/>
                <a:gd name="T23" fmla="*/ 2 h 5880"/>
                <a:gd name="T24" fmla="*/ 83 w 756"/>
                <a:gd name="T25" fmla="*/ 2 h 5880"/>
                <a:gd name="T26" fmla="*/ 82 w 756"/>
                <a:gd name="T27" fmla="*/ 1 h 5880"/>
                <a:gd name="T28" fmla="*/ 81 w 756"/>
                <a:gd name="T29" fmla="*/ 1 h 5880"/>
                <a:gd name="T30" fmla="*/ 79 w 756"/>
                <a:gd name="T31" fmla="*/ 0 h 5880"/>
                <a:gd name="T32" fmla="*/ 78 w 756"/>
                <a:gd name="T33" fmla="*/ 0 h 5880"/>
                <a:gd name="T34" fmla="*/ 76 w 756"/>
                <a:gd name="T35" fmla="*/ 0 h 5880"/>
                <a:gd name="T36" fmla="*/ 7 w 756"/>
                <a:gd name="T37" fmla="*/ 0 h 5880"/>
                <a:gd name="T38" fmla="*/ 5 w 756"/>
                <a:gd name="T39" fmla="*/ 0 h 5880"/>
                <a:gd name="T40" fmla="*/ 4 w 756"/>
                <a:gd name="T41" fmla="*/ 0 h 5880"/>
                <a:gd name="T42" fmla="*/ 3 w 756"/>
                <a:gd name="T43" fmla="*/ 1 h 5880"/>
                <a:gd name="T44" fmla="*/ 2 w 756"/>
                <a:gd name="T45" fmla="*/ 1 h 5880"/>
                <a:gd name="T46" fmla="*/ 1 w 756"/>
                <a:gd name="T47" fmla="*/ 2 h 5880"/>
                <a:gd name="T48" fmla="*/ 0 w 756"/>
                <a:gd name="T49" fmla="*/ 3 h 5880"/>
                <a:gd name="T50" fmla="*/ 0 w 756"/>
                <a:gd name="T51" fmla="*/ 4 h 5880"/>
                <a:gd name="T52" fmla="*/ 0 w 756"/>
                <a:gd name="T53" fmla="*/ 343 h 5880"/>
                <a:gd name="T54" fmla="*/ 0 w 756"/>
                <a:gd name="T55" fmla="*/ 344 h 5880"/>
                <a:gd name="T56" fmla="*/ 1 w 756"/>
                <a:gd name="T57" fmla="*/ 344 h 5880"/>
                <a:gd name="T58" fmla="*/ 1 w 756"/>
                <a:gd name="T59" fmla="*/ 345 h 5880"/>
                <a:gd name="T60" fmla="*/ 2 w 756"/>
                <a:gd name="T61" fmla="*/ 346 h 5880"/>
                <a:gd name="T62" fmla="*/ 3 w 756"/>
                <a:gd name="T63" fmla="*/ 346 h 5880"/>
                <a:gd name="T64" fmla="*/ 5 w 756"/>
                <a:gd name="T65" fmla="*/ 347 h 5880"/>
                <a:gd name="T66" fmla="*/ 6 w 756"/>
                <a:gd name="T67" fmla="*/ 347 h 5880"/>
                <a:gd name="T68" fmla="*/ 7 w 756"/>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6"/>
                <a:gd name="T106" fmla="*/ 0 h 5880"/>
                <a:gd name="T107" fmla="*/ 756 w 756"/>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6" h="5880">
                  <a:moveTo>
                    <a:pt x="67" y="5880"/>
                  </a:moveTo>
                  <a:lnTo>
                    <a:pt x="688" y="5880"/>
                  </a:lnTo>
                  <a:lnTo>
                    <a:pt x="695" y="5880"/>
                  </a:lnTo>
                  <a:lnTo>
                    <a:pt x="701" y="5879"/>
                  </a:lnTo>
                  <a:lnTo>
                    <a:pt x="708" y="5878"/>
                  </a:lnTo>
                  <a:lnTo>
                    <a:pt x="714" y="5876"/>
                  </a:lnTo>
                  <a:lnTo>
                    <a:pt x="721" y="5872"/>
                  </a:lnTo>
                  <a:lnTo>
                    <a:pt x="726" y="5869"/>
                  </a:lnTo>
                  <a:lnTo>
                    <a:pt x="731" y="5865"/>
                  </a:lnTo>
                  <a:lnTo>
                    <a:pt x="735" y="5861"/>
                  </a:lnTo>
                  <a:lnTo>
                    <a:pt x="740" y="5855"/>
                  </a:lnTo>
                  <a:lnTo>
                    <a:pt x="744" y="5851"/>
                  </a:lnTo>
                  <a:lnTo>
                    <a:pt x="748" y="5845"/>
                  </a:lnTo>
                  <a:lnTo>
                    <a:pt x="750" y="5839"/>
                  </a:lnTo>
                  <a:lnTo>
                    <a:pt x="752" y="5833"/>
                  </a:lnTo>
                  <a:lnTo>
                    <a:pt x="754" y="5826"/>
                  </a:lnTo>
                  <a:lnTo>
                    <a:pt x="756" y="5819"/>
                  </a:lnTo>
                  <a:lnTo>
                    <a:pt x="756" y="5812"/>
                  </a:lnTo>
                  <a:lnTo>
                    <a:pt x="756" y="68"/>
                  </a:lnTo>
                  <a:lnTo>
                    <a:pt x="756" y="60"/>
                  </a:lnTo>
                  <a:lnTo>
                    <a:pt x="754" y="53"/>
                  </a:lnTo>
                  <a:lnTo>
                    <a:pt x="752" y="48"/>
                  </a:lnTo>
                  <a:lnTo>
                    <a:pt x="750" y="41"/>
                  </a:lnTo>
                  <a:lnTo>
                    <a:pt x="748" y="35"/>
                  </a:lnTo>
                  <a:lnTo>
                    <a:pt x="744" y="29"/>
                  </a:lnTo>
                  <a:lnTo>
                    <a:pt x="740" y="24"/>
                  </a:lnTo>
                  <a:lnTo>
                    <a:pt x="735" y="19"/>
                  </a:lnTo>
                  <a:lnTo>
                    <a:pt x="731" y="15"/>
                  </a:lnTo>
                  <a:lnTo>
                    <a:pt x="726" y="11"/>
                  </a:lnTo>
                  <a:lnTo>
                    <a:pt x="721" y="8"/>
                  </a:lnTo>
                  <a:lnTo>
                    <a:pt x="714" y="5"/>
                  </a:lnTo>
                  <a:lnTo>
                    <a:pt x="708" y="2"/>
                  </a:lnTo>
                  <a:lnTo>
                    <a:pt x="701" y="1"/>
                  </a:lnTo>
                  <a:lnTo>
                    <a:pt x="695" y="0"/>
                  </a:lnTo>
                  <a:lnTo>
                    <a:pt x="688" y="0"/>
                  </a:lnTo>
                  <a:lnTo>
                    <a:pt x="67" y="0"/>
                  </a:lnTo>
                  <a:lnTo>
                    <a:pt x="61" y="0"/>
                  </a:lnTo>
                  <a:lnTo>
                    <a:pt x="54" y="1"/>
                  </a:lnTo>
                  <a:lnTo>
                    <a:pt x="47" y="2"/>
                  </a:lnTo>
                  <a:lnTo>
                    <a:pt x="41" y="5"/>
                  </a:lnTo>
                  <a:lnTo>
                    <a:pt x="36" y="8"/>
                  </a:lnTo>
                  <a:lnTo>
                    <a:pt x="30" y="11"/>
                  </a:lnTo>
                  <a:lnTo>
                    <a:pt x="24" y="15"/>
                  </a:lnTo>
                  <a:lnTo>
                    <a:pt x="20" y="19"/>
                  </a:lnTo>
                  <a:lnTo>
                    <a:pt x="15" y="24"/>
                  </a:lnTo>
                  <a:lnTo>
                    <a:pt x="11" y="29"/>
                  </a:lnTo>
                  <a:lnTo>
                    <a:pt x="7" y="35"/>
                  </a:lnTo>
                  <a:lnTo>
                    <a:pt x="5" y="41"/>
                  </a:lnTo>
                  <a:lnTo>
                    <a:pt x="3" y="48"/>
                  </a:lnTo>
                  <a:lnTo>
                    <a:pt x="1" y="53"/>
                  </a:lnTo>
                  <a:lnTo>
                    <a:pt x="1" y="60"/>
                  </a:lnTo>
                  <a:lnTo>
                    <a:pt x="0" y="68"/>
                  </a:lnTo>
                  <a:lnTo>
                    <a:pt x="0" y="5812"/>
                  </a:lnTo>
                  <a:lnTo>
                    <a:pt x="1" y="5819"/>
                  </a:lnTo>
                  <a:lnTo>
                    <a:pt x="1" y="5826"/>
                  </a:lnTo>
                  <a:lnTo>
                    <a:pt x="3" y="5833"/>
                  </a:lnTo>
                  <a:lnTo>
                    <a:pt x="5" y="5839"/>
                  </a:lnTo>
                  <a:lnTo>
                    <a:pt x="7" y="5845"/>
                  </a:lnTo>
                  <a:lnTo>
                    <a:pt x="11" y="5851"/>
                  </a:lnTo>
                  <a:lnTo>
                    <a:pt x="15" y="5855"/>
                  </a:lnTo>
                  <a:lnTo>
                    <a:pt x="20" y="5861"/>
                  </a:lnTo>
                  <a:lnTo>
                    <a:pt x="24" y="5865"/>
                  </a:lnTo>
                  <a:lnTo>
                    <a:pt x="30" y="5869"/>
                  </a:lnTo>
                  <a:lnTo>
                    <a:pt x="36" y="5872"/>
                  </a:lnTo>
                  <a:lnTo>
                    <a:pt x="41" y="5876"/>
                  </a:lnTo>
                  <a:lnTo>
                    <a:pt x="47" y="5878"/>
                  </a:lnTo>
                  <a:lnTo>
                    <a:pt x="54" y="5879"/>
                  </a:lnTo>
                  <a:lnTo>
                    <a:pt x="61" y="5880"/>
                  </a:lnTo>
                  <a:lnTo>
                    <a:pt x="67" y="588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20" name="Freeform 776"/>
            <p:cNvSpPr>
              <a:spLocks/>
            </p:cNvSpPr>
            <p:nvPr/>
          </p:nvSpPr>
          <p:spPr bwMode="auto">
            <a:xfrm>
              <a:off x="2763" y="1549"/>
              <a:ext cx="252" cy="1427"/>
            </a:xfrm>
            <a:custGeom>
              <a:avLst/>
              <a:gdLst>
                <a:gd name="T0" fmla="*/ 76 w 756"/>
                <a:gd name="T1" fmla="*/ 347 h 5880"/>
                <a:gd name="T2" fmla="*/ 78 w 756"/>
                <a:gd name="T3" fmla="*/ 347 h 5880"/>
                <a:gd name="T4" fmla="*/ 79 w 756"/>
                <a:gd name="T5" fmla="*/ 347 h 5880"/>
                <a:gd name="T6" fmla="*/ 81 w 756"/>
                <a:gd name="T7" fmla="*/ 346 h 5880"/>
                <a:gd name="T8" fmla="*/ 82 w 756"/>
                <a:gd name="T9" fmla="*/ 346 h 5880"/>
                <a:gd name="T10" fmla="*/ 83 w 756"/>
                <a:gd name="T11" fmla="*/ 345 h 5880"/>
                <a:gd name="T12" fmla="*/ 83 w 756"/>
                <a:gd name="T13" fmla="*/ 344 h 5880"/>
                <a:gd name="T14" fmla="*/ 84 w 756"/>
                <a:gd name="T15" fmla="*/ 344 h 5880"/>
                <a:gd name="T16" fmla="*/ 84 w 756"/>
                <a:gd name="T17" fmla="*/ 343 h 5880"/>
                <a:gd name="T18" fmla="*/ 84 w 756"/>
                <a:gd name="T19" fmla="*/ 4 h 5880"/>
                <a:gd name="T20" fmla="*/ 84 w 756"/>
                <a:gd name="T21" fmla="*/ 3 h 5880"/>
                <a:gd name="T22" fmla="*/ 83 w 756"/>
                <a:gd name="T23" fmla="*/ 2 h 5880"/>
                <a:gd name="T24" fmla="*/ 83 w 756"/>
                <a:gd name="T25" fmla="*/ 2 h 5880"/>
                <a:gd name="T26" fmla="*/ 82 w 756"/>
                <a:gd name="T27" fmla="*/ 1 h 5880"/>
                <a:gd name="T28" fmla="*/ 81 w 756"/>
                <a:gd name="T29" fmla="*/ 1 h 5880"/>
                <a:gd name="T30" fmla="*/ 79 w 756"/>
                <a:gd name="T31" fmla="*/ 0 h 5880"/>
                <a:gd name="T32" fmla="*/ 78 w 756"/>
                <a:gd name="T33" fmla="*/ 0 h 5880"/>
                <a:gd name="T34" fmla="*/ 76 w 756"/>
                <a:gd name="T35" fmla="*/ 0 h 5880"/>
                <a:gd name="T36" fmla="*/ 7 w 756"/>
                <a:gd name="T37" fmla="*/ 0 h 5880"/>
                <a:gd name="T38" fmla="*/ 5 w 756"/>
                <a:gd name="T39" fmla="*/ 0 h 5880"/>
                <a:gd name="T40" fmla="*/ 4 w 756"/>
                <a:gd name="T41" fmla="*/ 0 h 5880"/>
                <a:gd name="T42" fmla="*/ 3 w 756"/>
                <a:gd name="T43" fmla="*/ 1 h 5880"/>
                <a:gd name="T44" fmla="*/ 2 w 756"/>
                <a:gd name="T45" fmla="*/ 1 h 5880"/>
                <a:gd name="T46" fmla="*/ 1 w 756"/>
                <a:gd name="T47" fmla="*/ 2 h 5880"/>
                <a:gd name="T48" fmla="*/ 0 w 756"/>
                <a:gd name="T49" fmla="*/ 3 h 5880"/>
                <a:gd name="T50" fmla="*/ 0 w 756"/>
                <a:gd name="T51" fmla="*/ 4 h 5880"/>
                <a:gd name="T52" fmla="*/ 0 w 756"/>
                <a:gd name="T53" fmla="*/ 343 h 5880"/>
                <a:gd name="T54" fmla="*/ 0 w 756"/>
                <a:gd name="T55" fmla="*/ 344 h 5880"/>
                <a:gd name="T56" fmla="*/ 1 w 756"/>
                <a:gd name="T57" fmla="*/ 344 h 5880"/>
                <a:gd name="T58" fmla="*/ 1 w 756"/>
                <a:gd name="T59" fmla="*/ 345 h 5880"/>
                <a:gd name="T60" fmla="*/ 2 w 756"/>
                <a:gd name="T61" fmla="*/ 346 h 5880"/>
                <a:gd name="T62" fmla="*/ 3 w 756"/>
                <a:gd name="T63" fmla="*/ 346 h 5880"/>
                <a:gd name="T64" fmla="*/ 5 w 756"/>
                <a:gd name="T65" fmla="*/ 347 h 5880"/>
                <a:gd name="T66" fmla="*/ 6 w 756"/>
                <a:gd name="T67" fmla="*/ 347 h 5880"/>
                <a:gd name="T68" fmla="*/ 7 w 756"/>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6"/>
                <a:gd name="T106" fmla="*/ 0 h 5880"/>
                <a:gd name="T107" fmla="*/ 756 w 756"/>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6" h="5880">
                  <a:moveTo>
                    <a:pt x="67" y="5880"/>
                  </a:moveTo>
                  <a:lnTo>
                    <a:pt x="688" y="5880"/>
                  </a:lnTo>
                  <a:lnTo>
                    <a:pt x="695" y="5880"/>
                  </a:lnTo>
                  <a:lnTo>
                    <a:pt x="701" y="5879"/>
                  </a:lnTo>
                  <a:lnTo>
                    <a:pt x="708" y="5878"/>
                  </a:lnTo>
                  <a:lnTo>
                    <a:pt x="714" y="5876"/>
                  </a:lnTo>
                  <a:lnTo>
                    <a:pt x="721" y="5872"/>
                  </a:lnTo>
                  <a:lnTo>
                    <a:pt x="726" y="5869"/>
                  </a:lnTo>
                  <a:lnTo>
                    <a:pt x="731" y="5865"/>
                  </a:lnTo>
                  <a:lnTo>
                    <a:pt x="735" y="5861"/>
                  </a:lnTo>
                  <a:lnTo>
                    <a:pt x="740" y="5855"/>
                  </a:lnTo>
                  <a:lnTo>
                    <a:pt x="744" y="5851"/>
                  </a:lnTo>
                  <a:lnTo>
                    <a:pt x="748" y="5845"/>
                  </a:lnTo>
                  <a:lnTo>
                    <a:pt x="750" y="5839"/>
                  </a:lnTo>
                  <a:lnTo>
                    <a:pt x="752" y="5833"/>
                  </a:lnTo>
                  <a:lnTo>
                    <a:pt x="754" y="5826"/>
                  </a:lnTo>
                  <a:lnTo>
                    <a:pt x="756" y="5819"/>
                  </a:lnTo>
                  <a:lnTo>
                    <a:pt x="756" y="5812"/>
                  </a:lnTo>
                  <a:lnTo>
                    <a:pt x="756" y="68"/>
                  </a:lnTo>
                  <a:lnTo>
                    <a:pt x="756" y="60"/>
                  </a:lnTo>
                  <a:lnTo>
                    <a:pt x="754" y="53"/>
                  </a:lnTo>
                  <a:lnTo>
                    <a:pt x="752" y="48"/>
                  </a:lnTo>
                  <a:lnTo>
                    <a:pt x="750" y="41"/>
                  </a:lnTo>
                  <a:lnTo>
                    <a:pt x="748" y="35"/>
                  </a:lnTo>
                  <a:lnTo>
                    <a:pt x="744" y="29"/>
                  </a:lnTo>
                  <a:lnTo>
                    <a:pt x="740" y="24"/>
                  </a:lnTo>
                  <a:lnTo>
                    <a:pt x="735" y="19"/>
                  </a:lnTo>
                  <a:lnTo>
                    <a:pt x="731" y="15"/>
                  </a:lnTo>
                  <a:lnTo>
                    <a:pt x="726" y="11"/>
                  </a:lnTo>
                  <a:lnTo>
                    <a:pt x="721" y="8"/>
                  </a:lnTo>
                  <a:lnTo>
                    <a:pt x="714" y="5"/>
                  </a:lnTo>
                  <a:lnTo>
                    <a:pt x="708" y="2"/>
                  </a:lnTo>
                  <a:lnTo>
                    <a:pt x="701" y="1"/>
                  </a:lnTo>
                  <a:lnTo>
                    <a:pt x="695" y="0"/>
                  </a:lnTo>
                  <a:lnTo>
                    <a:pt x="688" y="0"/>
                  </a:lnTo>
                  <a:lnTo>
                    <a:pt x="67" y="0"/>
                  </a:lnTo>
                  <a:lnTo>
                    <a:pt x="61" y="0"/>
                  </a:lnTo>
                  <a:lnTo>
                    <a:pt x="54" y="1"/>
                  </a:lnTo>
                  <a:lnTo>
                    <a:pt x="47" y="2"/>
                  </a:lnTo>
                  <a:lnTo>
                    <a:pt x="41" y="5"/>
                  </a:lnTo>
                  <a:lnTo>
                    <a:pt x="36" y="8"/>
                  </a:lnTo>
                  <a:lnTo>
                    <a:pt x="30" y="11"/>
                  </a:lnTo>
                  <a:lnTo>
                    <a:pt x="24" y="15"/>
                  </a:lnTo>
                  <a:lnTo>
                    <a:pt x="20" y="19"/>
                  </a:lnTo>
                  <a:lnTo>
                    <a:pt x="15" y="24"/>
                  </a:lnTo>
                  <a:lnTo>
                    <a:pt x="11" y="29"/>
                  </a:lnTo>
                  <a:lnTo>
                    <a:pt x="7" y="35"/>
                  </a:lnTo>
                  <a:lnTo>
                    <a:pt x="5" y="41"/>
                  </a:lnTo>
                  <a:lnTo>
                    <a:pt x="3" y="48"/>
                  </a:lnTo>
                  <a:lnTo>
                    <a:pt x="1" y="53"/>
                  </a:lnTo>
                  <a:lnTo>
                    <a:pt x="1" y="60"/>
                  </a:lnTo>
                  <a:lnTo>
                    <a:pt x="0" y="68"/>
                  </a:lnTo>
                  <a:lnTo>
                    <a:pt x="0" y="5812"/>
                  </a:lnTo>
                  <a:lnTo>
                    <a:pt x="1" y="5819"/>
                  </a:lnTo>
                  <a:lnTo>
                    <a:pt x="1" y="5826"/>
                  </a:lnTo>
                  <a:lnTo>
                    <a:pt x="3" y="5833"/>
                  </a:lnTo>
                  <a:lnTo>
                    <a:pt x="5" y="5839"/>
                  </a:lnTo>
                  <a:lnTo>
                    <a:pt x="7" y="5845"/>
                  </a:lnTo>
                  <a:lnTo>
                    <a:pt x="11" y="5851"/>
                  </a:lnTo>
                  <a:lnTo>
                    <a:pt x="15" y="5855"/>
                  </a:lnTo>
                  <a:lnTo>
                    <a:pt x="20" y="5861"/>
                  </a:lnTo>
                  <a:lnTo>
                    <a:pt x="24" y="5865"/>
                  </a:lnTo>
                  <a:lnTo>
                    <a:pt x="30" y="5869"/>
                  </a:lnTo>
                  <a:lnTo>
                    <a:pt x="36" y="5872"/>
                  </a:lnTo>
                  <a:lnTo>
                    <a:pt x="41" y="5876"/>
                  </a:lnTo>
                  <a:lnTo>
                    <a:pt x="47" y="5878"/>
                  </a:lnTo>
                  <a:lnTo>
                    <a:pt x="54" y="5879"/>
                  </a:lnTo>
                  <a:lnTo>
                    <a:pt x="61" y="5880"/>
                  </a:lnTo>
                  <a:lnTo>
                    <a:pt x="67" y="5880"/>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21" name="Rectangle 777"/>
            <p:cNvSpPr>
              <a:spLocks noChangeArrowheads="1"/>
            </p:cNvSpPr>
            <p:nvPr/>
          </p:nvSpPr>
          <p:spPr bwMode="auto">
            <a:xfrm>
              <a:off x="2807" y="1564"/>
              <a:ext cx="17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terials </a:t>
              </a:r>
              <a:endParaRPr lang="en-US" sz="1800" b="0" kern="0" baseline="0">
                <a:solidFill>
                  <a:sysClr val="windowText" lastClr="000000"/>
                </a:solidFill>
                <a:latin typeface="Arial" charset="0"/>
                <a:ea typeface="ＭＳ Ｐゴシック"/>
                <a:cs typeface="ＭＳ Ｐゴシック"/>
              </a:endParaRPr>
            </a:p>
          </p:txBody>
        </p:sp>
        <p:sp>
          <p:nvSpPr>
            <p:cNvPr id="222" name="Rectangle 778"/>
            <p:cNvSpPr>
              <a:spLocks noChangeArrowheads="1"/>
            </p:cNvSpPr>
            <p:nvPr/>
          </p:nvSpPr>
          <p:spPr bwMode="auto">
            <a:xfrm>
              <a:off x="2813" y="1599"/>
              <a:ext cx="13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quire</a:t>
              </a:r>
              <a:endParaRPr lang="en-US" sz="1800" b="0" kern="0" baseline="0">
                <a:solidFill>
                  <a:sysClr val="windowText" lastClr="000000"/>
                </a:solidFill>
                <a:latin typeface="Arial" charset="0"/>
                <a:ea typeface="ＭＳ Ｐゴシック"/>
                <a:cs typeface="ＭＳ Ｐゴシック"/>
              </a:endParaRPr>
            </a:p>
          </p:txBody>
        </p:sp>
        <p:sp>
          <p:nvSpPr>
            <p:cNvPr id="223" name="Rectangle 779"/>
            <p:cNvSpPr>
              <a:spLocks noChangeArrowheads="1"/>
            </p:cNvSpPr>
            <p:nvPr/>
          </p:nvSpPr>
          <p:spPr bwMode="auto">
            <a:xfrm>
              <a:off x="2953" y="1599"/>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224" name="Rectangle 780"/>
            <p:cNvSpPr>
              <a:spLocks noChangeArrowheads="1"/>
            </p:cNvSpPr>
            <p:nvPr/>
          </p:nvSpPr>
          <p:spPr bwMode="auto">
            <a:xfrm>
              <a:off x="2811" y="1634"/>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lanning</a:t>
              </a:r>
              <a:endParaRPr lang="en-US" sz="1800" b="0" kern="0" baseline="0">
                <a:solidFill>
                  <a:sysClr val="windowText" lastClr="000000"/>
                </a:solidFill>
                <a:latin typeface="Arial" charset="0"/>
                <a:ea typeface="ＭＳ Ｐゴシック"/>
                <a:cs typeface="ＭＳ Ｐゴシック"/>
              </a:endParaRPr>
            </a:p>
          </p:txBody>
        </p:sp>
        <p:sp>
          <p:nvSpPr>
            <p:cNvPr id="225" name="Freeform 781"/>
            <p:cNvSpPr>
              <a:spLocks/>
            </p:cNvSpPr>
            <p:nvPr/>
          </p:nvSpPr>
          <p:spPr bwMode="auto">
            <a:xfrm>
              <a:off x="2500" y="1549"/>
              <a:ext cx="252" cy="1427"/>
            </a:xfrm>
            <a:custGeom>
              <a:avLst/>
              <a:gdLst>
                <a:gd name="T0" fmla="*/ 76 w 755"/>
                <a:gd name="T1" fmla="*/ 347 h 5880"/>
                <a:gd name="T2" fmla="*/ 78 w 755"/>
                <a:gd name="T3" fmla="*/ 347 h 5880"/>
                <a:gd name="T4" fmla="*/ 79 w 755"/>
                <a:gd name="T5" fmla="*/ 347 h 5880"/>
                <a:gd name="T6" fmla="*/ 81 w 755"/>
                <a:gd name="T7" fmla="*/ 346 h 5880"/>
                <a:gd name="T8" fmla="*/ 82 w 755"/>
                <a:gd name="T9" fmla="*/ 346 h 5880"/>
                <a:gd name="T10" fmla="*/ 83 w 755"/>
                <a:gd name="T11" fmla="*/ 345 h 5880"/>
                <a:gd name="T12" fmla="*/ 83 w 755"/>
                <a:gd name="T13" fmla="*/ 344 h 5880"/>
                <a:gd name="T14" fmla="*/ 84 w 755"/>
                <a:gd name="T15" fmla="*/ 344 h 5880"/>
                <a:gd name="T16" fmla="*/ 84 w 755"/>
                <a:gd name="T17" fmla="*/ 343 h 5880"/>
                <a:gd name="T18" fmla="*/ 84 w 755"/>
                <a:gd name="T19" fmla="*/ 4 h 5880"/>
                <a:gd name="T20" fmla="*/ 84 w 755"/>
                <a:gd name="T21" fmla="*/ 3 h 5880"/>
                <a:gd name="T22" fmla="*/ 83 w 755"/>
                <a:gd name="T23" fmla="*/ 2 h 5880"/>
                <a:gd name="T24" fmla="*/ 83 w 755"/>
                <a:gd name="T25" fmla="*/ 2 h 5880"/>
                <a:gd name="T26" fmla="*/ 82 w 755"/>
                <a:gd name="T27" fmla="*/ 1 h 5880"/>
                <a:gd name="T28" fmla="*/ 81 w 755"/>
                <a:gd name="T29" fmla="*/ 1 h 5880"/>
                <a:gd name="T30" fmla="*/ 79 w 755"/>
                <a:gd name="T31" fmla="*/ 0 h 5880"/>
                <a:gd name="T32" fmla="*/ 78 w 755"/>
                <a:gd name="T33" fmla="*/ 0 h 5880"/>
                <a:gd name="T34" fmla="*/ 76 w 755"/>
                <a:gd name="T35" fmla="*/ 0 h 5880"/>
                <a:gd name="T36" fmla="*/ 7 w 755"/>
                <a:gd name="T37" fmla="*/ 0 h 5880"/>
                <a:gd name="T38" fmla="*/ 5 w 755"/>
                <a:gd name="T39" fmla="*/ 0 h 5880"/>
                <a:gd name="T40" fmla="*/ 4 w 755"/>
                <a:gd name="T41" fmla="*/ 0 h 5880"/>
                <a:gd name="T42" fmla="*/ 3 w 755"/>
                <a:gd name="T43" fmla="*/ 1 h 5880"/>
                <a:gd name="T44" fmla="*/ 2 w 755"/>
                <a:gd name="T45" fmla="*/ 1 h 5880"/>
                <a:gd name="T46" fmla="*/ 1 w 755"/>
                <a:gd name="T47" fmla="*/ 2 h 5880"/>
                <a:gd name="T48" fmla="*/ 0 w 755"/>
                <a:gd name="T49" fmla="*/ 3 h 5880"/>
                <a:gd name="T50" fmla="*/ 0 w 755"/>
                <a:gd name="T51" fmla="*/ 4 h 5880"/>
                <a:gd name="T52" fmla="*/ 0 w 755"/>
                <a:gd name="T53" fmla="*/ 343 h 5880"/>
                <a:gd name="T54" fmla="*/ 0 w 755"/>
                <a:gd name="T55" fmla="*/ 344 h 5880"/>
                <a:gd name="T56" fmla="*/ 0 w 755"/>
                <a:gd name="T57" fmla="*/ 344 h 5880"/>
                <a:gd name="T58" fmla="*/ 1 w 755"/>
                <a:gd name="T59" fmla="*/ 345 h 5880"/>
                <a:gd name="T60" fmla="*/ 2 w 755"/>
                <a:gd name="T61" fmla="*/ 346 h 5880"/>
                <a:gd name="T62" fmla="*/ 3 w 755"/>
                <a:gd name="T63" fmla="*/ 346 h 5880"/>
                <a:gd name="T64" fmla="*/ 4 w 755"/>
                <a:gd name="T65" fmla="*/ 347 h 5880"/>
                <a:gd name="T66" fmla="*/ 6 w 755"/>
                <a:gd name="T67" fmla="*/ 347 h 5880"/>
                <a:gd name="T68" fmla="*/ 7 w 755"/>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5"/>
                <a:gd name="T106" fmla="*/ 0 h 5880"/>
                <a:gd name="T107" fmla="*/ 755 w 755"/>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5" h="5880">
                  <a:moveTo>
                    <a:pt x="67" y="5880"/>
                  </a:moveTo>
                  <a:lnTo>
                    <a:pt x="687" y="5880"/>
                  </a:lnTo>
                  <a:lnTo>
                    <a:pt x="694" y="5880"/>
                  </a:lnTo>
                  <a:lnTo>
                    <a:pt x="700" y="5879"/>
                  </a:lnTo>
                  <a:lnTo>
                    <a:pt x="707" y="5878"/>
                  </a:lnTo>
                  <a:lnTo>
                    <a:pt x="714" y="5876"/>
                  </a:lnTo>
                  <a:lnTo>
                    <a:pt x="720" y="5872"/>
                  </a:lnTo>
                  <a:lnTo>
                    <a:pt x="725" y="5869"/>
                  </a:lnTo>
                  <a:lnTo>
                    <a:pt x="730" y="5865"/>
                  </a:lnTo>
                  <a:lnTo>
                    <a:pt x="735" y="5861"/>
                  </a:lnTo>
                  <a:lnTo>
                    <a:pt x="740" y="5855"/>
                  </a:lnTo>
                  <a:lnTo>
                    <a:pt x="743" y="5851"/>
                  </a:lnTo>
                  <a:lnTo>
                    <a:pt x="747" y="5845"/>
                  </a:lnTo>
                  <a:lnTo>
                    <a:pt x="750" y="5839"/>
                  </a:lnTo>
                  <a:lnTo>
                    <a:pt x="752" y="5833"/>
                  </a:lnTo>
                  <a:lnTo>
                    <a:pt x="753" y="5826"/>
                  </a:lnTo>
                  <a:lnTo>
                    <a:pt x="755" y="5819"/>
                  </a:lnTo>
                  <a:lnTo>
                    <a:pt x="755" y="5812"/>
                  </a:lnTo>
                  <a:lnTo>
                    <a:pt x="755" y="68"/>
                  </a:lnTo>
                  <a:lnTo>
                    <a:pt x="755" y="60"/>
                  </a:lnTo>
                  <a:lnTo>
                    <a:pt x="753" y="53"/>
                  </a:lnTo>
                  <a:lnTo>
                    <a:pt x="752" y="48"/>
                  </a:lnTo>
                  <a:lnTo>
                    <a:pt x="750" y="41"/>
                  </a:lnTo>
                  <a:lnTo>
                    <a:pt x="747" y="35"/>
                  </a:lnTo>
                  <a:lnTo>
                    <a:pt x="743" y="29"/>
                  </a:lnTo>
                  <a:lnTo>
                    <a:pt x="740" y="24"/>
                  </a:lnTo>
                  <a:lnTo>
                    <a:pt x="735" y="19"/>
                  </a:lnTo>
                  <a:lnTo>
                    <a:pt x="730" y="15"/>
                  </a:lnTo>
                  <a:lnTo>
                    <a:pt x="725" y="11"/>
                  </a:lnTo>
                  <a:lnTo>
                    <a:pt x="720" y="8"/>
                  </a:lnTo>
                  <a:lnTo>
                    <a:pt x="714" y="5"/>
                  </a:lnTo>
                  <a:lnTo>
                    <a:pt x="707" y="2"/>
                  </a:lnTo>
                  <a:lnTo>
                    <a:pt x="700" y="1"/>
                  </a:lnTo>
                  <a:lnTo>
                    <a:pt x="694" y="0"/>
                  </a:lnTo>
                  <a:lnTo>
                    <a:pt x="687" y="0"/>
                  </a:lnTo>
                  <a:lnTo>
                    <a:pt x="67" y="0"/>
                  </a:lnTo>
                  <a:lnTo>
                    <a:pt x="60" y="0"/>
                  </a:lnTo>
                  <a:lnTo>
                    <a:pt x="53" y="1"/>
                  </a:lnTo>
                  <a:lnTo>
                    <a:pt x="47" y="2"/>
                  </a:lnTo>
                  <a:lnTo>
                    <a:pt x="40" y="5"/>
                  </a:lnTo>
                  <a:lnTo>
                    <a:pt x="35" y="8"/>
                  </a:lnTo>
                  <a:lnTo>
                    <a:pt x="29" y="11"/>
                  </a:lnTo>
                  <a:lnTo>
                    <a:pt x="23" y="15"/>
                  </a:lnTo>
                  <a:lnTo>
                    <a:pt x="19" y="19"/>
                  </a:lnTo>
                  <a:lnTo>
                    <a:pt x="14" y="24"/>
                  </a:lnTo>
                  <a:lnTo>
                    <a:pt x="11" y="29"/>
                  </a:lnTo>
                  <a:lnTo>
                    <a:pt x="8" y="35"/>
                  </a:lnTo>
                  <a:lnTo>
                    <a:pt x="4" y="41"/>
                  </a:lnTo>
                  <a:lnTo>
                    <a:pt x="2" y="48"/>
                  </a:lnTo>
                  <a:lnTo>
                    <a:pt x="1" y="53"/>
                  </a:lnTo>
                  <a:lnTo>
                    <a:pt x="0" y="60"/>
                  </a:lnTo>
                  <a:lnTo>
                    <a:pt x="0" y="68"/>
                  </a:lnTo>
                  <a:lnTo>
                    <a:pt x="0" y="5812"/>
                  </a:lnTo>
                  <a:lnTo>
                    <a:pt x="0" y="5819"/>
                  </a:lnTo>
                  <a:lnTo>
                    <a:pt x="1" y="5826"/>
                  </a:lnTo>
                  <a:lnTo>
                    <a:pt x="2" y="5833"/>
                  </a:lnTo>
                  <a:lnTo>
                    <a:pt x="4" y="5839"/>
                  </a:lnTo>
                  <a:lnTo>
                    <a:pt x="8" y="5845"/>
                  </a:lnTo>
                  <a:lnTo>
                    <a:pt x="11" y="5851"/>
                  </a:lnTo>
                  <a:lnTo>
                    <a:pt x="14" y="5855"/>
                  </a:lnTo>
                  <a:lnTo>
                    <a:pt x="19" y="5861"/>
                  </a:lnTo>
                  <a:lnTo>
                    <a:pt x="23" y="5865"/>
                  </a:lnTo>
                  <a:lnTo>
                    <a:pt x="29" y="5869"/>
                  </a:lnTo>
                  <a:lnTo>
                    <a:pt x="35" y="5872"/>
                  </a:lnTo>
                  <a:lnTo>
                    <a:pt x="40" y="5876"/>
                  </a:lnTo>
                  <a:lnTo>
                    <a:pt x="47" y="5878"/>
                  </a:lnTo>
                  <a:lnTo>
                    <a:pt x="53" y="5879"/>
                  </a:lnTo>
                  <a:lnTo>
                    <a:pt x="60" y="5880"/>
                  </a:lnTo>
                  <a:lnTo>
                    <a:pt x="67" y="588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26" name="Freeform 782"/>
            <p:cNvSpPr>
              <a:spLocks/>
            </p:cNvSpPr>
            <p:nvPr/>
          </p:nvSpPr>
          <p:spPr bwMode="auto">
            <a:xfrm>
              <a:off x="2500" y="1549"/>
              <a:ext cx="252" cy="1427"/>
            </a:xfrm>
            <a:custGeom>
              <a:avLst/>
              <a:gdLst>
                <a:gd name="T0" fmla="*/ 76 w 755"/>
                <a:gd name="T1" fmla="*/ 347 h 5880"/>
                <a:gd name="T2" fmla="*/ 78 w 755"/>
                <a:gd name="T3" fmla="*/ 347 h 5880"/>
                <a:gd name="T4" fmla="*/ 79 w 755"/>
                <a:gd name="T5" fmla="*/ 347 h 5880"/>
                <a:gd name="T6" fmla="*/ 81 w 755"/>
                <a:gd name="T7" fmla="*/ 346 h 5880"/>
                <a:gd name="T8" fmla="*/ 82 w 755"/>
                <a:gd name="T9" fmla="*/ 346 h 5880"/>
                <a:gd name="T10" fmla="*/ 83 w 755"/>
                <a:gd name="T11" fmla="*/ 345 h 5880"/>
                <a:gd name="T12" fmla="*/ 83 w 755"/>
                <a:gd name="T13" fmla="*/ 344 h 5880"/>
                <a:gd name="T14" fmla="*/ 84 w 755"/>
                <a:gd name="T15" fmla="*/ 344 h 5880"/>
                <a:gd name="T16" fmla="*/ 84 w 755"/>
                <a:gd name="T17" fmla="*/ 343 h 5880"/>
                <a:gd name="T18" fmla="*/ 84 w 755"/>
                <a:gd name="T19" fmla="*/ 4 h 5880"/>
                <a:gd name="T20" fmla="*/ 84 w 755"/>
                <a:gd name="T21" fmla="*/ 3 h 5880"/>
                <a:gd name="T22" fmla="*/ 83 w 755"/>
                <a:gd name="T23" fmla="*/ 2 h 5880"/>
                <a:gd name="T24" fmla="*/ 83 w 755"/>
                <a:gd name="T25" fmla="*/ 2 h 5880"/>
                <a:gd name="T26" fmla="*/ 82 w 755"/>
                <a:gd name="T27" fmla="*/ 1 h 5880"/>
                <a:gd name="T28" fmla="*/ 81 w 755"/>
                <a:gd name="T29" fmla="*/ 1 h 5880"/>
                <a:gd name="T30" fmla="*/ 79 w 755"/>
                <a:gd name="T31" fmla="*/ 0 h 5880"/>
                <a:gd name="T32" fmla="*/ 78 w 755"/>
                <a:gd name="T33" fmla="*/ 0 h 5880"/>
                <a:gd name="T34" fmla="*/ 76 w 755"/>
                <a:gd name="T35" fmla="*/ 0 h 5880"/>
                <a:gd name="T36" fmla="*/ 7 w 755"/>
                <a:gd name="T37" fmla="*/ 0 h 5880"/>
                <a:gd name="T38" fmla="*/ 5 w 755"/>
                <a:gd name="T39" fmla="*/ 0 h 5880"/>
                <a:gd name="T40" fmla="*/ 4 w 755"/>
                <a:gd name="T41" fmla="*/ 0 h 5880"/>
                <a:gd name="T42" fmla="*/ 3 w 755"/>
                <a:gd name="T43" fmla="*/ 1 h 5880"/>
                <a:gd name="T44" fmla="*/ 2 w 755"/>
                <a:gd name="T45" fmla="*/ 1 h 5880"/>
                <a:gd name="T46" fmla="*/ 1 w 755"/>
                <a:gd name="T47" fmla="*/ 2 h 5880"/>
                <a:gd name="T48" fmla="*/ 0 w 755"/>
                <a:gd name="T49" fmla="*/ 3 h 5880"/>
                <a:gd name="T50" fmla="*/ 0 w 755"/>
                <a:gd name="T51" fmla="*/ 4 h 5880"/>
                <a:gd name="T52" fmla="*/ 0 w 755"/>
                <a:gd name="T53" fmla="*/ 343 h 5880"/>
                <a:gd name="T54" fmla="*/ 0 w 755"/>
                <a:gd name="T55" fmla="*/ 344 h 5880"/>
                <a:gd name="T56" fmla="*/ 0 w 755"/>
                <a:gd name="T57" fmla="*/ 344 h 5880"/>
                <a:gd name="T58" fmla="*/ 1 w 755"/>
                <a:gd name="T59" fmla="*/ 345 h 5880"/>
                <a:gd name="T60" fmla="*/ 2 w 755"/>
                <a:gd name="T61" fmla="*/ 346 h 5880"/>
                <a:gd name="T62" fmla="*/ 3 w 755"/>
                <a:gd name="T63" fmla="*/ 346 h 5880"/>
                <a:gd name="T64" fmla="*/ 4 w 755"/>
                <a:gd name="T65" fmla="*/ 347 h 5880"/>
                <a:gd name="T66" fmla="*/ 6 w 755"/>
                <a:gd name="T67" fmla="*/ 347 h 5880"/>
                <a:gd name="T68" fmla="*/ 7 w 755"/>
                <a:gd name="T69" fmla="*/ 347 h 58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5"/>
                <a:gd name="T106" fmla="*/ 0 h 5880"/>
                <a:gd name="T107" fmla="*/ 755 w 755"/>
                <a:gd name="T108" fmla="*/ 5880 h 58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5" h="5880">
                  <a:moveTo>
                    <a:pt x="67" y="5880"/>
                  </a:moveTo>
                  <a:lnTo>
                    <a:pt x="687" y="5880"/>
                  </a:lnTo>
                  <a:lnTo>
                    <a:pt x="694" y="5880"/>
                  </a:lnTo>
                  <a:lnTo>
                    <a:pt x="700" y="5879"/>
                  </a:lnTo>
                  <a:lnTo>
                    <a:pt x="707" y="5878"/>
                  </a:lnTo>
                  <a:lnTo>
                    <a:pt x="714" y="5876"/>
                  </a:lnTo>
                  <a:lnTo>
                    <a:pt x="720" y="5872"/>
                  </a:lnTo>
                  <a:lnTo>
                    <a:pt x="725" y="5869"/>
                  </a:lnTo>
                  <a:lnTo>
                    <a:pt x="730" y="5865"/>
                  </a:lnTo>
                  <a:lnTo>
                    <a:pt x="735" y="5861"/>
                  </a:lnTo>
                  <a:lnTo>
                    <a:pt x="740" y="5855"/>
                  </a:lnTo>
                  <a:lnTo>
                    <a:pt x="743" y="5851"/>
                  </a:lnTo>
                  <a:lnTo>
                    <a:pt x="747" y="5845"/>
                  </a:lnTo>
                  <a:lnTo>
                    <a:pt x="750" y="5839"/>
                  </a:lnTo>
                  <a:lnTo>
                    <a:pt x="752" y="5833"/>
                  </a:lnTo>
                  <a:lnTo>
                    <a:pt x="753" y="5826"/>
                  </a:lnTo>
                  <a:lnTo>
                    <a:pt x="755" y="5819"/>
                  </a:lnTo>
                  <a:lnTo>
                    <a:pt x="755" y="5812"/>
                  </a:lnTo>
                  <a:lnTo>
                    <a:pt x="755" y="68"/>
                  </a:lnTo>
                  <a:lnTo>
                    <a:pt x="755" y="60"/>
                  </a:lnTo>
                  <a:lnTo>
                    <a:pt x="753" y="53"/>
                  </a:lnTo>
                  <a:lnTo>
                    <a:pt x="752" y="48"/>
                  </a:lnTo>
                  <a:lnTo>
                    <a:pt x="750" y="41"/>
                  </a:lnTo>
                  <a:lnTo>
                    <a:pt x="747" y="35"/>
                  </a:lnTo>
                  <a:lnTo>
                    <a:pt x="743" y="29"/>
                  </a:lnTo>
                  <a:lnTo>
                    <a:pt x="740" y="24"/>
                  </a:lnTo>
                  <a:lnTo>
                    <a:pt x="735" y="19"/>
                  </a:lnTo>
                  <a:lnTo>
                    <a:pt x="730" y="15"/>
                  </a:lnTo>
                  <a:lnTo>
                    <a:pt x="725" y="11"/>
                  </a:lnTo>
                  <a:lnTo>
                    <a:pt x="720" y="8"/>
                  </a:lnTo>
                  <a:lnTo>
                    <a:pt x="714" y="5"/>
                  </a:lnTo>
                  <a:lnTo>
                    <a:pt x="707" y="2"/>
                  </a:lnTo>
                  <a:lnTo>
                    <a:pt x="700" y="1"/>
                  </a:lnTo>
                  <a:lnTo>
                    <a:pt x="694" y="0"/>
                  </a:lnTo>
                  <a:lnTo>
                    <a:pt x="687" y="0"/>
                  </a:lnTo>
                  <a:lnTo>
                    <a:pt x="67" y="0"/>
                  </a:lnTo>
                  <a:lnTo>
                    <a:pt x="60" y="0"/>
                  </a:lnTo>
                  <a:lnTo>
                    <a:pt x="53" y="1"/>
                  </a:lnTo>
                  <a:lnTo>
                    <a:pt x="47" y="2"/>
                  </a:lnTo>
                  <a:lnTo>
                    <a:pt x="40" y="5"/>
                  </a:lnTo>
                  <a:lnTo>
                    <a:pt x="35" y="8"/>
                  </a:lnTo>
                  <a:lnTo>
                    <a:pt x="29" y="11"/>
                  </a:lnTo>
                  <a:lnTo>
                    <a:pt x="23" y="15"/>
                  </a:lnTo>
                  <a:lnTo>
                    <a:pt x="19" y="19"/>
                  </a:lnTo>
                  <a:lnTo>
                    <a:pt x="14" y="24"/>
                  </a:lnTo>
                  <a:lnTo>
                    <a:pt x="11" y="29"/>
                  </a:lnTo>
                  <a:lnTo>
                    <a:pt x="8" y="35"/>
                  </a:lnTo>
                  <a:lnTo>
                    <a:pt x="4" y="41"/>
                  </a:lnTo>
                  <a:lnTo>
                    <a:pt x="2" y="48"/>
                  </a:lnTo>
                  <a:lnTo>
                    <a:pt x="1" y="53"/>
                  </a:lnTo>
                  <a:lnTo>
                    <a:pt x="0" y="60"/>
                  </a:lnTo>
                  <a:lnTo>
                    <a:pt x="0" y="68"/>
                  </a:lnTo>
                  <a:lnTo>
                    <a:pt x="0" y="5812"/>
                  </a:lnTo>
                  <a:lnTo>
                    <a:pt x="0" y="5819"/>
                  </a:lnTo>
                  <a:lnTo>
                    <a:pt x="1" y="5826"/>
                  </a:lnTo>
                  <a:lnTo>
                    <a:pt x="2" y="5833"/>
                  </a:lnTo>
                  <a:lnTo>
                    <a:pt x="4" y="5839"/>
                  </a:lnTo>
                  <a:lnTo>
                    <a:pt x="8" y="5845"/>
                  </a:lnTo>
                  <a:lnTo>
                    <a:pt x="11" y="5851"/>
                  </a:lnTo>
                  <a:lnTo>
                    <a:pt x="14" y="5855"/>
                  </a:lnTo>
                  <a:lnTo>
                    <a:pt x="19" y="5861"/>
                  </a:lnTo>
                  <a:lnTo>
                    <a:pt x="23" y="5865"/>
                  </a:lnTo>
                  <a:lnTo>
                    <a:pt x="29" y="5869"/>
                  </a:lnTo>
                  <a:lnTo>
                    <a:pt x="35" y="5872"/>
                  </a:lnTo>
                  <a:lnTo>
                    <a:pt x="40" y="5876"/>
                  </a:lnTo>
                  <a:lnTo>
                    <a:pt x="47" y="5878"/>
                  </a:lnTo>
                  <a:lnTo>
                    <a:pt x="53" y="5879"/>
                  </a:lnTo>
                  <a:lnTo>
                    <a:pt x="60" y="5880"/>
                  </a:lnTo>
                  <a:lnTo>
                    <a:pt x="67" y="5880"/>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27" name="Rectangle 783"/>
            <p:cNvSpPr>
              <a:spLocks noChangeArrowheads="1"/>
            </p:cNvSpPr>
            <p:nvPr/>
          </p:nvSpPr>
          <p:spPr bwMode="auto">
            <a:xfrm>
              <a:off x="2527" y="1564"/>
              <a:ext cx="19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eq Mgmt</a:t>
              </a:r>
              <a:endParaRPr lang="en-US" sz="1800" b="0" kern="0" baseline="0">
                <a:solidFill>
                  <a:sysClr val="windowText" lastClr="000000"/>
                </a:solidFill>
                <a:latin typeface="Arial" charset="0"/>
                <a:ea typeface="ＭＳ Ｐゴシック"/>
                <a:cs typeface="ＭＳ Ｐゴシック"/>
              </a:endParaRPr>
            </a:p>
          </p:txBody>
        </p:sp>
        <p:sp>
          <p:nvSpPr>
            <p:cNvPr id="228" name="Freeform 784"/>
            <p:cNvSpPr>
              <a:spLocks/>
            </p:cNvSpPr>
            <p:nvPr/>
          </p:nvSpPr>
          <p:spPr bwMode="auto">
            <a:xfrm>
              <a:off x="2221" y="1549"/>
              <a:ext cx="262" cy="490"/>
            </a:xfrm>
            <a:custGeom>
              <a:avLst/>
              <a:gdLst>
                <a:gd name="T0" fmla="*/ 80 w 787"/>
                <a:gd name="T1" fmla="*/ 119 h 2022"/>
                <a:gd name="T2" fmla="*/ 81 w 787"/>
                <a:gd name="T3" fmla="*/ 119 h 2022"/>
                <a:gd name="T4" fmla="*/ 83 w 787"/>
                <a:gd name="T5" fmla="*/ 119 h 2022"/>
                <a:gd name="T6" fmla="*/ 84 w 787"/>
                <a:gd name="T7" fmla="*/ 119 h 2022"/>
                <a:gd name="T8" fmla="*/ 85 w 787"/>
                <a:gd name="T9" fmla="*/ 118 h 2022"/>
                <a:gd name="T10" fmla="*/ 86 w 787"/>
                <a:gd name="T11" fmla="*/ 118 h 2022"/>
                <a:gd name="T12" fmla="*/ 87 w 787"/>
                <a:gd name="T13" fmla="*/ 117 h 2022"/>
                <a:gd name="T14" fmla="*/ 87 w 787"/>
                <a:gd name="T15" fmla="*/ 116 h 2022"/>
                <a:gd name="T16" fmla="*/ 87 w 787"/>
                <a:gd name="T17" fmla="*/ 115 h 2022"/>
                <a:gd name="T18" fmla="*/ 87 w 787"/>
                <a:gd name="T19" fmla="*/ 4 h 2022"/>
                <a:gd name="T20" fmla="*/ 87 w 787"/>
                <a:gd name="T21" fmla="*/ 3 h 2022"/>
                <a:gd name="T22" fmla="*/ 87 w 787"/>
                <a:gd name="T23" fmla="*/ 2 h 2022"/>
                <a:gd name="T24" fmla="*/ 86 w 787"/>
                <a:gd name="T25" fmla="*/ 2 h 2022"/>
                <a:gd name="T26" fmla="*/ 85 w 787"/>
                <a:gd name="T27" fmla="*/ 1 h 2022"/>
                <a:gd name="T28" fmla="*/ 84 w 787"/>
                <a:gd name="T29" fmla="*/ 1 h 2022"/>
                <a:gd name="T30" fmla="*/ 83 w 787"/>
                <a:gd name="T31" fmla="*/ 0 h 2022"/>
                <a:gd name="T32" fmla="*/ 81 w 787"/>
                <a:gd name="T33" fmla="*/ 0 h 2022"/>
                <a:gd name="T34" fmla="*/ 80 w 787"/>
                <a:gd name="T35" fmla="*/ 0 h 2022"/>
                <a:gd name="T36" fmla="*/ 7 w 787"/>
                <a:gd name="T37" fmla="*/ 0 h 2022"/>
                <a:gd name="T38" fmla="*/ 5 w 787"/>
                <a:gd name="T39" fmla="*/ 0 h 2022"/>
                <a:gd name="T40" fmla="*/ 4 w 787"/>
                <a:gd name="T41" fmla="*/ 0 h 2022"/>
                <a:gd name="T42" fmla="*/ 3 w 787"/>
                <a:gd name="T43" fmla="*/ 1 h 2022"/>
                <a:gd name="T44" fmla="*/ 2 w 787"/>
                <a:gd name="T45" fmla="*/ 1 h 2022"/>
                <a:gd name="T46" fmla="*/ 1 w 787"/>
                <a:gd name="T47" fmla="*/ 2 h 2022"/>
                <a:gd name="T48" fmla="*/ 0 w 787"/>
                <a:gd name="T49" fmla="*/ 3 h 2022"/>
                <a:gd name="T50" fmla="*/ 0 w 787"/>
                <a:gd name="T51" fmla="*/ 4 h 2022"/>
                <a:gd name="T52" fmla="*/ 0 w 787"/>
                <a:gd name="T53" fmla="*/ 115 h 2022"/>
                <a:gd name="T54" fmla="*/ 0 w 787"/>
                <a:gd name="T55" fmla="*/ 116 h 2022"/>
                <a:gd name="T56" fmla="*/ 1 w 787"/>
                <a:gd name="T57" fmla="*/ 117 h 2022"/>
                <a:gd name="T58" fmla="*/ 1 w 787"/>
                <a:gd name="T59" fmla="*/ 118 h 2022"/>
                <a:gd name="T60" fmla="*/ 2 w 787"/>
                <a:gd name="T61" fmla="*/ 118 h 2022"/>
                <a:gd name="T62" fmla="*/ 3 w 787"/>
                <a:gd name="T63" fmla="*/ 119 h 2022"/>
                <a:gd name="T64" fmla="*/ 5 w 787"/>
                <a:gd name="T65" fmla="*/ 119 h 2022"/>
                <a:gd name="T66" fmla="*/ 6 w 787"/>
                <a:gd name="T67" fmla="*/ 119 h 2022"/>
                <a:gd name="T68" fmla="*/ 8 w 787"/>
                <a:gd name="T69" fmla="*/ 119 h 20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87"/>
                <a:gd name="T106" fmla="*/ 0 h 2022"/>
                <a:gd name="T107" fmla="*/ 787 w 787"/>
                <a:gd name="T108" fmla="*/ 2022 h 202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87" h="2022">
                  <a:moveTo>
                    <a:pt x="68" y="2022"/>
                  </a:moveTo>
                  <a:lnTo>
                    <a:pt x="719" y="2022"/>
                  </a:lnTo>
                  <a:lnTo>
                    <a:pt x="726" y="2021"/>
                  </a:lnTo>
                  <a:lnTo>
                    <a:pt x="733" y="2021"/>
                  </a:lnTo>
                  <a:lnTo>
                    <a:pt x="739" y="2019"/>
                  </a:lnTo>
                  <a:lnTo>
                    <a:pt x="745" y="2017"/>
                  </a:lnTo>
                  <a:lnTo>
                    <a:pt x="751" y="2014"/>
                  </a:lnTo>
                  <a:lnTo>
                    <a:pt x="756" y="2010"/>
                  </a:lnTo>
                  <a:lnTo>
                    <a:pt x="762" y="2006"/>
                  </a:lnTo>
                  <a:lnTo>
                    <a:pt x="767" y="2002"/>
                  </a:lnTo>
                  <a:lnTo>
                    <a:pt x="771" y="1997"/>
                  </a:lnTo>
                  <a:lnTo>
                    <a:pt x="776" y="1992"/>
                  </a:lnTo>
                  <a:lnTo>
                    <a:pt x="779" y="1986"/>
                  </a:lnTo>
                  <a:lnTo>
                    <a:pt x="781" y="1980"/>
                  </a:lnTo>
                  <a:lnTo>
                    <a:pt x="784" y="1975"/>
                  </a:lnTo>
                  <a:lnTo>
                    <a:pt x="786" y="1968"/>
                  </a:lnTo>
                  <a:lnTo>
                    <a:pt x="786" y="1961"/>
                  </a:lnTo>
                  <a:lnTo>
                    <a:pt x="787" y="1954"/>
                  </a:lnTo>
                  <a:lnTo>
                    <a:pt x="787" y="68"/>
                  </a:lnTo>
                  <a:lnTo>
                    <a:pt x="786" y="60"/>
                  </a:lnTo>
                  <a:lnTo>
                    <a:pt x="786" y="53"/>
                  </a:lnTo>
                  <a:lnTo>
                    <a:pt x="784" y="48"/>
                  </a:lnTo>
                  <a:lnTo>
                    <a:pt x="781" y="41"/>
                  </a:lnTo>
                  <a:lnTo>
                    <a:pt x="779" y="35"/>
                  </a:lnTo>
                  <a:lnTo>
                    <a:pt x="776" y="29"/>
                  </a:lnTo>
                  <a:lnTo>
                    <a:pt x="771" y="24"/>
                  </a:lnTo>
                  <a:lnTo>
                    <a:pt x="767" y="19"/>
                  </a:lnTo>
                  <a:lnTo>
                    <a:pt x="762" y="15"/>
                  </a:lnTo>
                  <a:lnTo>
                    <a:pt x="756" y="11"/>
                  </a:lnTo>
                  <a:lnTo>
                    <a:pt x="751" y="8"/>
                  </a:lnTo>
                  <a:lnTo>
                    <a:pt x="745" y="5"/>
                  </a:lnTo>
                  <a:lnTo>
                    <a:pt x="739" y="2"/>
                  </a:lnTo>
                  <a:lnTo>
                    <a:pt x="733" y="1"/>
                  </a:lnTo>
                  <a:lnTo>
                    <a:pt x="726" y="0"/>
                  </a:lnTo>
                  <a:lnTo>
                    <a:pt x="719" y="0"/>
                  </a:lnTo>
                  <a:lnTo>
                    <a:pt x="68" y="0"/>
                  </a:lnTo>
                  <a:lnTo>
                    <a:pt x="60" y="0"/>
                  </a:lnTo>
                  <a:lnTo>
                    <a:pt x="53" y="1"/>
                  </a:lnTo>
                  <a:lnTo>
                    <a:pt x="48" y="2"/>
                  </a:lnTo>
                  <a:lnTo>
                    <a:pt x="41" y="5"/>
                  </a:lnTo>
                  <a:lnTo>
                    <a:pt x="35" y="8"/>
                  </a:lnTo>
                  <a:lnTo>
                    <a:pt x="30" y="11"/>
                  </a:lnTo>
                  <a:lnTo>
                    <a:pt x="24" y="15"/>
                  </a:lnTo>
                  <a:lnTo>
                    <a:pt x="20" y="19"/>
                  </a:lnTo>
                  <a:lnTo>
                    <a:pt x="15" y="24"/>
                  </a:lnTo>
                  <a:lnTo>
                    <a:pt x="12" y="29"/>
                  </a:lnTo>
                  <a:lnTo>
                    <a:pt x="8" y="35"/>
                  </a:lnTo>
                  <a:lnTo>
                    <a:pt x="5" y="41"/>
                  </a:lnTo>
                  <a:lnTo>
                    <a:pt x="3" y="48"/>
                  </a:lnTo>
                  <a:lnTo>
                    <a:pt x="1" y="53"/>
                  </a:lnTo>
                  <a:lnTo>
                    <a:pt x="0" y="60"/>
                  </a:lnTo>
                  <a:lnTo>
                    <a:pt x="0" y="68"/>
                  </a:lnTo>
                  <a:lnTo>
                    <a:pt x="0" y="1954"/>
                  </a:lnTo>
                  <a:lnTo>
                    <a:pt x="0" y="1961"/>
                  </a:lnTo>
                  <a:lnTo>
                    <a:pt x="1" y="1968"/>
                  </a:lnTo>
                  <a:lnTo>
                    <a:pt x="3" y="1975"/>
                  </a:lnTo>
                  <a:lnTo>
                    <a:pt x="5" y="1980"/>
                  </a:lnTo>
                  <a:lnTo>
                    <a:pt x="8" y="1986"/>
                  </a:lnTo>
                  <a:lnTo>
                    <a:pt x="12" y="1992"/>
                  </a:lnTo>
                  <a:lnTo>
                    <a:pt x="15" y="1997"/>
                  </a:lnTo>
                  <a:lnTo>
                    <a:pt x="20" y="2002"/>
                  </a:lnTo>
                  <a:lnTo>
                    <a:pt x="24" y="2006"/>
                  </a:lnTo>
                  <a:lnTo>
                    <a:pt x="30" y="2010"/>
                  </a:lnTo>
                  <a:lnTo>
                    <a:pt x="35" y="2014"/>
                  </a:lnTo>
                  <a:lnTo>
                    <a:pt x="41" y="2017"/>
                  </a:lnTo>
                  <a:lnTo>
                    <a:pt x="48" y="2019"/>
                  </a:lnTo>
                  <a:lnTo>
                    <a:pt x="53" y="2021"/>
                  </a:lnTo>
                  <a:lnTo>
                    <a:pt x="60" y="2021"/>
                  </a:lnTo>
                  <a:lnTo>
                    <a:pt x="68" y="2022"/>
                  </a:lnTo>
                  <a:close/>
                </a:path>
              </a:pathLst>
            </a:custGeom>
            <a:solidFill>
              <a:srgbClr val="00CC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29" name="Freeform 785"/>
            <p:cNvSpPr>
              <a:spLocks/>
            </p:cNvSpPr>
            <p:nvPr/>
          </p:nvSpPr>
          <p:spPr bwMode="auto">
            <a:xfrm>
              <a:off x="2221" y="1549"/>
              <a:ext cx="262" cy="490"/>
            </a:xfrm>
            <a:custGeom>
              <a:avLst/>
              <a:gdLst>
                <a:gd name="T0" fmla="*/ 80 w 787"/>
                <a:gd name="T1" fmla="*/ 119 h 2022"/>
                <a:gd name="T2" fmla="*/ 81 w 787"/>
                <a:gd name="T3" fmla="*/ 119 h 2022"/>
                <a:gd name="T4" fmla="*/ 83 w 787"/>
                <a:gd name="T5" fmla="*/ 119 h 2022"/>
                <a:gd name="T6" fmla="*/ 84 w 787"/>
                <a:gd name="T7" fmla="*/ 119 h 2022"/>
                <a:gd name="T8" fmla="*/ 85 w 787"/>
                <a:gd name="T9" fmla="*/ 118 h 2022"/>
                <a:gd name="T10" fmla="*/ 86 w 787"/>
                <a:gd name="T11" fmla="*/ 118 h 2022"/>
                <a:gd name="T12" fmla="*/ 87 w 787"/>
                <a:gd name="T13" fmla="*/ 117 h 2022"/>
                <a:gd name="T14" fmla="*/ 87 w 787"/>
                <a:gd name="T15" fmla="*/ 116 h 2022"/>
                <a:gd name="T16" fmla="*/ 87 w 787"/>
                <a:gd name="T17" fmla="*/ 115 h 2022"/>
                <a:gd name="T18" fmla="*/ 87 w 787"/>
                <a:gd name="T19" fmla="*/ 4 h 2022"/>
                <a:gd name="T20" fmla="*/ 87 w 787"/>
                <a:gd name="T21" fmla="*/ 3 h 2022"/>
                <a:gd name="T22" fmla="*/ 87 w 787"/>
                <a:gd name="T23" fmla="*/ 2 h 2022"/>
                <a:gd name="T24" fmla="*/ 86 w 787"/>
                <a:gd name="T25" fmla="*/ 2 h 2022"/>
                <a:gd name="T26" fmla="*/ 85 w 787"/>
                <a:gd name="T27" fmla="*/ 1 h 2022"/>
                <a:gd name="T28" fmla="*/ 84 w 787"/>
                <a:gd name="T29" fmla="*/ 1 h 2022"/>
                <a:gd name="T30" fmla="*/ 83 w 787"/>
                <a:gd name="T31" fmla="*/ 0 h 2022"/>
                <a:gd name="T32" fmla="*/ 81 w 787"/>
                <a:gd name="T33" fmla="*/ 0 h 2022"/>
                <a:gd name="T34" fmla="*/ 80 w 787"/>
                <a:gd name="T35" fmla="*/ 0 h 2022"/>
                <a:gd name="T36" fmla="*/ 7 w 787"/>
                <a:gd name="T37" fmla="*/ 0 h 2022"/>
                <a:gd name="T38" fmla="*/ 5 w 787"/>
                <a:gd name="T39" fmla="*/ 0 h 2022"/>
                <a:gd name="T40" fmla="*/ 4 w 787"/>
                <a:gd name="T41" fmla="*/ 0 h 2022"/>
                <a:gd name="T42" fmla="*/ 3 w 787"/>
                <a:gd name="T43" fmla="*/ 1 h 2022"/>
                <a:gd name="T44" fmla="*/ 2 w 787"/>
                <a:gd name="T45" fmla="*/ 1 h 2022"/>
                <a:gd name="T46" fmla="*/ 1 w 787"/>
                <a:gd name="T47" fmla="*/ 2 h 2022"/>
                <a:gd name="T48" fmla="*/ 0 w 787"/>
                <a:gd name="T49" fmla="*/ 3 h 2022"/>
                <a:gd name="T50" fmla="*/ 0 w 787"/>
                <a:gd name="T51" fmla="*/ 4 h 2022"/>
                <a:gd name="T52" fmla="*/ 0 w 787"/>
                <a:gd name="T53" fmla="*/ 115 h 2022"/>
                <a:gd name="T54" fmla="*/ 0 w 787"/>
                <a:gd name="T55" fmla="*/ 116 h 2022"/>
                <a:gd name="T56" fmla="*/ 1 w 787"/>
                <a:gd name="T57" fmla="*/ 117 h 2022"/>
                <a:gd name="T58" fmla="*/ 1 w 787"/>
                <a:gd name="T59" fmla="*/ 118 h 2022"/>
                <a:gd name="T60" fmla="*/ 2 w 787"/>
                <a:gd name="T61" fmla="*/ 118 h 2022"/>
                <a:gd name="T62" fmla="*/ 3 w 787"/>
                <a:gd name="T63" fmla="*/ 119 h 2022"/>
                <a:gd name="T64" fmla="*/ 5 w 787"/>
                <a:gd name="T65" fmla="*/ 119 h 2022"/>
                <a:gd name="T66" fmla="*/ 6 w 787"/>
                <a:gd name="T67" fmla="*/ 119 h 2022"/>
                <a:gd name="T68" fmla="*/ 8 w 787"/>
                <a:gd name="T69" fmla="*/ 119 h 20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87"/>
                <a:gd name="T106" fmla="*/ 0 h 2022"/>
                <a:gd name="T107" fmla="*/ 787 w 787"/>
                <a:gd name="T108" fmla="*/ 2022 h 202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87" h="2022">
                  <a:moveTo>
                    <a:pt x="68" y="2022"/>
                  </a:moveTo>
                  <a:lnTo>
                    <a:pt x="719" y="2022"/>
                  </a:lnTo>
                  <a:lnTo>
                    <a:pt x="726" y="2021"/>
                  </a:lnTo>
                  <a:lnTo>
                    <a:pt x="733" y="2021"/>
                  </a:lnTo>
                  <a:lnTo>
                    <a:pt x="739" y="2019"/>
                  </a:lnTo>
                  <a:lnTo>
                    <a:pt x="745" y="2017"/>
                  </a:lnTo>
                  <a:lnTo>
                    <a:pt x="751" y="2014"/>
                  </a:lnTo>
                  <a:lnTo>
                    <a:pt x="756" y="2010"/>
                  </a:lnTo>
                  <a:lnTo>
                    <a:pt x="762" y="2006"/>
                  </a:lnTo>
                  <a:lnTo>
                    <a:pt x="767" y="2002"/>
                  </a:lnTo>
                  <a:lnTo>
                    <a:pt x="771" y="1997"/>
                  </a:lnTo>
                  <a:lnTo>
                    <a:pt x="776" y="1992"/>
                  </a:lnTo>
                  <a:lnTo>
                    <a:pt x="779" y="1986"/>
                  </a:lnTo>
                  <a:lnTo>
                    <a:pt x="781" y="1980"/>
                  </a:lnTo>
                  <a:lnTo>
                    <a:pt x="784" y="1975"/>
                  </a:lnTo>
                  <a:lnTo>
                    <a:pt x="786" y="1968"/>
                  </a:lnTo>
                  <a:lnTo>
                    <a:pt x="786" y="1961"/>
                  </a:lnTo>
                  <a:lnTo>
                    <a:pt x="787" y="1954"/>
                  </a:lnTo>
                  <a:lnTo>
                    <a:pt x="787" y="68"/>
                  </a:lnTo>
                  <a:lnTo>
                    <a:pt x="786" y="60"/>
                  </a:lnTo>
                  <a:lnTo>
                    <a:pt x="786" y="53"/>
                  </a:lnTo>
                  <a:lnTo>
                    <a:pt x="784" y="48"/>
                  </a:lnTo>
                  <a:lnTo>
                    <a:pt x="781" y="41"/>
                  </a:lnTo>
                  <a:lnTo>
                    <a:pt x="779" y="35"/>
                  </a:lnTo>
                  <a:lnTo>
                    <a:pt x="776" y="29"/>
                  </a:lnTo>
                  <a:lnTo>
                    <a:pt x="771" y="24"/>
                  </a:lnTo>
                  <a:lnTo>
                    <a:pt x="767" y="19"/>
                  </a:lnTo>
                  <a:lnTo>
                    <a:pt x="762" y="15"/>
                  </a:lnTo>
                  <a:lnTo>
                    <a:pt x="756" y="11"/>
                  </a:lnTo>
                  <a:lnTo>
                    <a:pt x="751" y="8"/>
                  </a:lnTo>
                  <a:lnTo>
                    <a:pt x="745" y="5"/>
                  </a:lnTo>
                  <a:lnTo>
                    <a:pt x="739" y="2"/>
                  </a:lnTo>
                  <a:lnTo>
                    <a:pt x="733" y="1"/>
                  </a:lnTo>
                  <a:lnTo>
                    <a:pt x="726" y="0"/>
                  </a:lnTo>
                  <a:lnTo>
                    <a:pt x="719" y="0"/>
                  </a:lnTo>
                  <a:lnTo>
                    <a:pt x="68" y="0"/>
                  </a:lnTo>
                  <a:lnTo>
                    <a:pt x="60" y="0"/>
                  </a:lnTo>
                  <a:lnTo>
                    <a:pt x="53" y="1"/>
                  </a:lnTo>
                  <a:lnTo>
                    <a:pt x="48" y="2"/>
                  </a:lnTo>
                  <a:lnTo>
                    <a:pt x="41" y="5"/>
                  </a:lnTo>
                  <a:lnTo>
                    <a:pt x="35" y="8"/>
                  </a:lnTo>
                  <a:lnTo>
                    <a:pt x="30" y="11"/>
                  </a:lnTo>
                  <a:lnTo>
                    <a:pt x="24" y="15"/>
                  </a:lnTo>
                  <a:lnTo>
                    <a:pt x="20" y="19"/>
                  </a:lnTo>
                  <a:lnTo>
                    <a:pt x="15" y="24"/>
                  </a:lnTo>
                  <a:lnTo>
                    <a:pt x="12" y="29"/>
                  </a:lnTo>
                  <a:lnTo>
                    <a:pt x="8" y="35"/>
                  </a:lnTo>
                  <a:lnTo>
                    <a:pt x="5" y="41"/>
                  </a:lnTo>
                  <a:lnTo>
                    <a:pt x="3" y="48"/>
                  </a:lnTo>
                  <a:lnTo>
                    <a:pt x="1" y="53"/>
                  </a:lnTo>
                  <a:lnTo>
                    <a:pt x="0" y="60"/>
                  </a:lnTo>
                  <a:lnTo>
                    <a:pt x="0" y="68"/>
                  </a:lnTo>
                  <a:lnTo>
                    <a:pt x="0" y="1954"/>
                  </a:lnTo>
                  <a:lnTo>
                    <a:pt x="0" y="1961"/>
                  </a:lnTo>
                  <a:lnTo>
                    <a:pt x="1" y="1968"/>
                  </a:lnTo>
                  <a:lnTo>
                    <a:pt x="3" y="1975"/>
                  </a:lnTo>
                  <a:lnTo>
                    <a:pt x="5" y="1980"/>
                  </a:lnTo>
                  <a:lnTo>
                    <a:pt x="8" y="1986"/>
                  </a:lnTo>
                  <a:lnTo>
                    <a:pt x="12" y="1992"/>
                  </a:lnTo>
                  <a:lnTo>
                    <a:pt x="15" y="1997"/>
                  </a:lnTo>
                  <a:lnTo>
                    <a:pt x="20" y="2002"/>
                  </a:lnTo>
                  <a:lnTo>
                    <a:pt x="24" y="2006"/>
                  </a:lnTo>
                  <a:lnTo>
                    <a:pt x="30" y="2010"/>
                  </a:lnTo>
                  <a:lnTo>
                    <a:pt x="35" y="2014"/>
                  </a:lnTo>
                  <a:lnTo>
                    <a:pt x="41" y="2017"/>
                  </a:lnTo>
                  <a:lnTo>
                    <a:pt x="48" y="2019"/>
                  </a:lnTo>
                  <a:lnTo>
                    <a:pt x="53" y="2021"/>
                  </a:lnTo>
                  <a:lnTo>
                    <a:pt x="60" y="2021"/>
                  </a:lnTo>
                  <a:lnTo>
                    <a:pt x="68" y="2022"/>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30" name="Rectangle 786"/>
            <p:cNvSpPr>
              <a:spLocks noChangeArrowheads="1"/>
            </p:cNvSpPr>
            <p:nvPr/>
          </p:nvSpPr>
          <p:spPr bwMode="auto">
            <a:xfrm>
              <a:off x="2270" y="1564"/>
              <a:ext cx="13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esign </a:t>
              </a:r>
              <a:endParaRPr lang="en-US" sz="1800" b="0" kern="0" baseline="0">
                <a:solidFill>
                  <a:sysClr val="windowText" lastClr="000000"/>
                </a:solidFill>
                <a:latin typeface="Arial" charset="0"/>
                <a:ea typeface="ＭＳ Ｐゴシック"/>
                <a:cs typeface="ＭＳ Ｐゴシック"/>
              </a:endParaRPr>
            </a:p>
          </p:txBody>
        </p:sp>
        <p:sp>
          <p:nvSpPr>
            <p:cNvPr id="231" name="Rectangle 787"/>
            <p:cNvSpPr>
              <a:spLocks noChangeArrowheads="1"/>
            </p:cNvSpPr>
            <p:nvPr/>
          </p:nvSpPr>
          <p:spPr bwMode="auto">
            <a:xfrm>
              <a:off x="2407" y="1564"/>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232" name="Rectangle 788"/>
            <p:cNvSpPr>
              <a:spLocks noChangeArrowheads="1"/>
            </p:cNvSpPr>
            <p:nvPr/>
          </p:nvSpPr>
          <p:spPr bwMode="auto">
            <a:xfrm>
              <a:off x="2274" y="1599"/>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Estimate</a:t>
              </a:r>
              <a:endParaRPr lang="en-US" sz="1800" b="0" kern="0" baseline="0">
                <a:solidFill>
                  <a:sysClr val="windowText" lastClr="000000"/>
                </a:solidFill>
                <a:latin typeface="Arial" charset="0"/>
                <a:ea typeface="ＭＳ Ｐゴシック"/>
                <a:cs typeface="ＭＳ Ｐゴシック"/>
              </a:endParaRPr>
            </a:p>
          </p:txBody>
        </p:sp>
        <p:sp>
          <p:nvSpPr>
            <p:cNvPr id="233" name="Freeform 789"/>
            <p:cNvSpPr>
              <a:spLocks/>
            </p:cNvSpPr>
            <p:nvPr/>
          </p:nvSpPr>
          <p:spPr bwMode="auto">
            <a:xfrm>
              <a:off x="2047" y="2028"/>
              <a:ext cx="2798" cy="316"/>
            </a:xfrm>
            <a:custGeom>
              <a:avLst/>
              <a:gdLst>
                <a:gd name="T0" fmla="*/ 0 w 8394"/>
                <a:gd name="T1" fmla="*/ 58 h 1305"/>
                <a:gd name="T2" fmla="*/ 896 w 8394"/>
                <a:gd name="T3" fmla="*/ 58 h 1305"/>
                <a:gd name="T4" fmla="*/ 896 w 8394"/>
                <a:gd name="T5" fmla="*/ 77 h 1305"/>
                <a:gd name="T6" fmla="*/ 933 w 8394"/>
                <a:gd name="T7" fmla="*/ 39 h 1305"/>
                <a:gd name="T8" fmla="*/ 896 w 8394"/>
                <a:gd name="T9" fmla="*/ 0 h 1305"/>
                <a:gd name="T10" fmla="*/ 896 w 8394"/>
                <a:gd name="T11" fmla="*/ 19 h 1305"/>
                <a:gd name="T12" fmla="*/ 0 w 8394"/>
                <a:gd name="T13" fmla="*/ 19 h 1305"/>
                <a:gd name="T14" fmla="*/ 0 w 8394"/>
                <a:gd name="T15" fmla="*/ 58 h 1305"/>
                <a:gd name="T16" fmla="*/ 0 60000 65536"/>
                <a:gd name="T17" fmla="*/ 0 60000 65536"/>
                <a:gd name="T18" fmla="*/ 0 60000 65536"/>
                <a:gd name="T19" fmla="*/ 0 60000 65536"/>
                <a:gd name="T20" fmla="*/ 0 60000 65536"/>
                <a:gd name="T21" fmla="*/ 0 60000 65536"/>
                <a:gd name="T22" fmla="*/ 0 60000 65536"/>
                <a:gd name="T23" fmla="*/ 0 60000 65536"/>
                <a:gd name="T24" fmla="*/ 0 w 8394"/>
                <a:gd name="T25" fmla="*/ 0 h 1305"/>
                <a:gd name="T26" fmla="*/ 8394 w 8394"/>
                <a:gd name="T27" fmla="*/ 1305 h 13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94" h="1305">
                  <a:moveTo>
                    <a:pt x="0" y="979"/>
                  </a:moveTo>
                  <a:lnTo>
                    <a:pt x="8067" y="979"/>
                  </a:lnTo>
                  <a:lnTo>
                    <a:pt x="8067" y="1305"/>
                  </a:lnTo>
                  <a:lnTo>
                    <a:pt x="8394" y="653"/>
                  </a:lnTo>
                  <a:lnTo>
                    <a:pt x="8067" y="0"/>
                  </a:lnTo>
                  <a:lnTo>
                    <a:pt x="8067" y="327"/>
                  </a:lnTo>
                  <a:lnTo>
                    <a:pt x="0" y="327"/>
                  </a:lnTo>
                  <a:lnTo>
                    <a:pt x="0" y="979"/>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34" name="Freeform 790"/>
            <p:cNvSpPr>
              <a:spLocks/>
            </p:cNvSpPr>
            <p:nvPr/>
          </p:nvSpPr>
          <p:spPr bwMode="auto">
            <a:xfrm>
              <a:off x="2047" y="2028"/>
              <a:ext cx="2798" cy="316"/>
            </a:xfrm>
            <a:custGeom>
              <a:avLst/>
              <a:gdLst>
                <a:gd name="T0" fmla="*/ 0 w 8394"/>
                <a:gd name="T1" fmla="*/ 58 h 1305"/>
                <a:gd name="T2" fmla="*/ 896 w 8394"/>
                <a:gd name="T3" fmla="*/ 58 h 1305"/>
                <a:gd name="T4" fmla="*/ 896 w 8394"/>
                <a:gd name="T5" fmla="*/ 77 h 1305"/>
                <a:gd name="T6" fmla="*/ 933 w 8394"/>
                <a:gd name="T7" fmla="*/ 39 h 1305"/>
                <a:gd name="T8" fmla="*/ 896 w 8394"/>
                <a:gd name="T9" fmla="*/ 0 h 1305"/>
                <a:gd name="T10" fmla="*/ 896 w 8394"/>
                <a:gd name="T11" fmla="*/ 19 h 1305"/>
                <a:gd name="T12" fmla="*/ 0 w 8394"/>
                <a:gd name="T13" fmla="*/ 19 h 1305"/>
                <a:gd name="T14" fmla="*/ 0 w 8394"/>
                <a:gd name="T15" fmla="*/ 58 h 1305"/>
                <a:gd name="T16" fmla="*/ 0 60000 65536"/>
                <a:gd name="T17" fmla="*/ 0 60000 65536"/>
                <a:gd name="T18" fmla="*/ 0 60000 65536"/>
                <a:gd name="T19" fmla="*/ 0 60000 65536"/>
                <a:gd name="T20" fmla="*/ 0 60000 65536"/>
                <a:gd name="T21" fmla="*/ 0 60000 65536"/>
                <a:gd name="T22" fmla="*/ 0 60000 65536"/>
                <a:gd name="T23" fmla="*/ 0 60000 65536"/>
                <a:gd name="T24" fmla="*/ 0 w 8394"/>
                <a:gd name="T25" fmla="*/ 0 h 1305"/>
                <a:gd name="T26" fmla="*/ 8394 w 8394"/>
                <a:gd name="T27" fmla="*/ 1305 h 13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94" h="1305">
                  <a:moveTo>
                    <a:pt x="0" y="979"/>
                  </a:moveTo>
                  <a:lnTo>
                    <a:pt x="8067" y="979"/>
                  </a:lnTo>
                  <a:lnTo>
                    <a:pt x="8067" y="1305"/>
                  </a:lnTo>
                  <a:lnTo>
                    <a:pt x="8394" y="653"/>
                  </a:lnTo>
                  <a:lnTo>
                    <a:pt x="8067" y="0"/>
                  </a:lnTo>
                  <a:lnTo>
                    <a:pt x="8067" y="327"/>
                  </a:lnTo>
                  <a:lnTo>
                    <a:pt x="0" y="327"/>
                  </a:lnTo>
                  <a:lnTo>
                    <a:pt x="0" y="979"/>
                  </a:lnTo>
                  <a:close/>
                </a:path>
              </a:pathLst>
            </a:custGeom>
            <a:solidFill>
              <a:srgbClr val="DDDDDD"/>
            </a:solid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35" name="Rectangle 791"/>
            <p:cNvSpPr>
              <a:spLocks noChangeArrowheads="1"/>
            </p:cNvSpPr>
            <p:nvPr/>
          </p:nvSpPr>
          <p:spPr bwMode="auto">
            <a:xfrm>
              <a:off x="3288" y="2162"/>
              <a:ext cx="320"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b="0" kern="0" baseline="0">
                  <a:solidFill>
                    <a:srgbClr val="000000"/>
                  </a:solidFill>
                  <a:latin typeface="Arial" charset="0"/>
                  <a:ea typeface="ＭＳ Ｐゴシック"/>
                  <a:cs typeface="ＭＳ Ｐゴシック"/>
                </a:rPr>
                <a:t>Maintenance</a:t>
              </a:r>
              <a:endParaRPr lang="en-US" sz="1800" b="0" kern="0" baseline="0">
                <a:solidFill>
                  <a:sysClr val="windowText" lastClr="000000"/>
                </a:solidFill>
                <a:latin typeface="Arial" charset="0"/>
                <a:ea typeface="ＭＳ Ｐゴシック"/>
                <a:cs typeface="ＭＳ Ｐゴシック"/>
              </a:endParaRPr>
            </a:p>
          </p:txBody>
        </p:sp>
        <p:sp>
          <p:nvSpPr>
            <p:cNvPr id="236" name="Freeform 792"/>
            <p:cNvSpPr>
              <a:spLocks/>
            </p:cNvSpPr>
            <p:nvPr/>
          </p:nvSpPr>
          <p:spPr bwMode="auto">
            <a:xfrm>
              <a:off x="2047" y="1767"/>
              <a:ext cx="2798" cy="317"/>
            </a:xfrm>
            <a:custGeom>
              <a:avLst/>
              <a:gdLst>
                <a:gd name="T0" fmla="*/ 0 w 8394"/>
                <a:gd name="T1" fmla="*/ 58 h 1305"/>
                <a:gd name="T2" fmla="*/ 896 w 8394"/>
                <a:gd name="T3" fmla="*/ 58 h 1305"/>
                <a:gd name="T4" fmla="*/ 896 w 8394"/>
                <a:gd name="T5" fmla="*/ 77 h 1305"/>
                <a:gd name="T6" fmla="*/ 933 w 8394"/>
                <a:gd name="T7" fmla="*/ 38 h 1305"/>
                <a:gd name="T8" fmla="*/ 896 w 8394"/>
                <a:gd name="T9" fmla="*/ 0 h 1305"/>
                <a:gd name="T10" fmla="*/ 896 w 8394"/>
                <a:gd name="T11" fmla="*/ 19 h 1305"/>
                <a:gd name="T12" fmla="*/ 0 w 8394"/>
                <a:gd name="T13" fmla="*/ 19 h 1305"/>
                <a:gd name="T14" fmla="*/ 0 w 8394"/>
                <a:gd name="T15" fmla="*/ 58 h 1305"/>
                <a:gd name="T16" fmla="*/ 0 60000 65536"/>
                <a:gd name="T17" fmla="*/ 0 60000 65536"/>
                <a:gd name="T18" fmla="*/ 0 60000 65536"/>
                <a:gd name="T19" fmla="*/ 0 60000 65536"/>
                <a:gd name="T20" fmla="*/ 0 60000 65536"/>
                <a:gd name="T21" fmla="*/ 0 60000 65536"/>
                <a:gd name="T22" fmla="*/ 0 60000 65536"/>
                <a:gd name="T23" fmla="*/ 0 60000 65536"/>
                <a:gd name="T24" fmla="*/ 0 w 8394"/>
                <a:gd name="T25" fmla="*/ 0 h 1305"/>
                <a:gd name="T26" fmla="*/ 8394 w 8394"/>
                <a:gd name="T27" fmla="*/ 1305 h 13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94" h="1305">
                  <a:moveTo>
                    <a:pt x="0" y="978"/>
                  </a:moveTo>
                  <a:lnTo>
                    <a:pt x="8067" y="978"/>
                  </a:lnTo>
                  <a:lnTo>
                    <a:pt x="8067" y="1305"/>
                  </a:lnTo>
                  <a:lnTo>
                    <a:pt x="8394" y="652"/>
                  </a:lnTo>
                  <a:lnTo>
                    <a:pt x="8067" y="0"/>
                  </a:lnTo>
                  <a:lnTo>
                    <a:pt x="8067" y="326"/>
                  </a:lnTo>
                  <a:lnTo>
                    <a:pt x="0" y="326"/>
                  </a:lnTo>
                  <a:lnTo>
                    <a:pt x="0" y="978"/>
                  </a:lnTo>
                  <a:close/>
                </a:path>
              </a:pathLst>
            </a:custGeom>
            <a:solidFill>
              <a:srgbClr val="DDE2CD"/>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37" name="Freeform 793"/>
            <p:cNvSpPr>
              <a:spLocks/>
            </p:cNvSpPr>
            <p:nvPr/>
          </p:nvSpPr>
          <p:spPr bwMode="auto">
            <a:xfrm>
              <a:off x="2047" y="1767"/>
              <a:ext cx="2798" cy="317"/>
            </a:xfrm>
            <a:custGeom>
              <a:avLst/>
              <a:gdLst>
                <a:gd name="T0" fmla="*/ 0 w 8394"/>
                <a:gd name="T1" fmla="*/ 58 h 1305"/>
                <a:gd name="T2" fmla="*/ 896 w 8394"/>
                <a:gd name="T3" fmla="*/ 58 h 1305"/>
                <a:gd name="T4" fmla="*/ 896 w 8394"/>
                <a:gd name="T5" fmla="*/ 77 h 1305"/>
                <a:gd name="T6" fmla="*/ 933 w 8394"/>
                <a:gd name="T7" fmla="*/ 38 h 1305"/>
                <a:gd name="T8" fmla="*/ 896 w 8394"/>
                <a:gd name="T9" fmla="*/ 0 h 1305"/>
                <a:gd name="T10" fmla="*/ 896 w 8394"/>
                <a:gd name="T11" fmla="*/ 19 h 1305"/>
                <a:gd name="T12" fmla="*/ 0 w 8394"/>
                <a:gd name="T13" fmla="*/ 19 h 1305"/>
                <a:gd name="T14" fmla="*/ 0 w 8394"/>
                <a:gd name="T15" fmla="*/ 58 h 1305"/>
                <a:gd name="T16" fmla="*/ 0 60000 65536"/>
                <a:gd name="T17" fmla="*/ 0 60000 65536"/>
                <a:gd name="T18" fmla="*/ 0 60000 65536"/>
                <a:gd name="T19" fmla="*/ 0 60000 65536"/>
                <a:gd name="T20" fmla="*/ 0 60000 65536"/>
                <a:gd name="T21" fmla="*/ 0 60000 65536"/>
                <a:gd name="T22" fmla="*/ 0 60000 65536"/>
                <a:gd name="T23" fmla="*/ 0 60000 65536"/>
                <a:gd name="T24" fmla="*/ 0 w 8394"/>
                <a:gd name="T25" fmla="*/ 0 h 1305"/>
                <a:gd name="T26" fmla="*/ 8394 w 8394"/>
                <a:gd name="T27" fmla="*/ 1305 h 13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94" h="1305">
                  <a:moveTo>
                    <a:pt x="0" y="978"/>
                  </a:moveTo>
                  <a:lnTo>
                    <a:pt x="8067" y="978"/>
                  </a:lnTo>
                  <a:lnTo>
                    <a:pt x="8067" y="1305"/>
                  </a:lnTo>
                  <a:lnTo>
                    <a:pt x="8394" y="652"/>
                  </a:lnTo>
                  <a:lnTo>
                    <a:pt x="8067" y="0"/>
                  </a:lnTo>
                  <a:lnTo>
                    <a:pt x="8067" y="326"/>
                  </a:lnTo>
                  <a:lnTo>
                    <a:pt x="0" y="326"/>
                  </a:lnTo>
                  <a:lnTo>
                    <a:pt x="0" y="978"/>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38" name="Rectangle 794"/>
            <p:cNvSpPr>
              <a:spLocks noChangeArrowheads="1"/>
            </p:cNvSpPr>
            <p:nvPr/>
          </p:nvSpPr>
          <p:spPr bwMode="auto">
            <a:xfrm>
              <a:off x="2864" y="1901"/>
              <a:ext cx="330"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b="0" kern="0" baseline="0">
                  <a:solidFill>
                    <a:srgbClr val="000000"/>
                  </a:solidFill>
                  <a:latin typeface="Arial" charset="0"/>
                  <a:ea typeface="ＭＳ Ｐゴシック"/>
                  <a:cs typeface="ＭＳ Ｐゴシック"/>
                </a:rPr>
                <a:t>Construction </a:t>
              </a:r>
              <a:endParaRPr lang="en-US" sz="1800" b="0" kern="0" baseline="0">
                <a:solidFill>
                  <a:sysClr val="windowText" lastClr="000000"/>
                </a:solidFill>
                <a:latin typeface="Arial" charset="0"/>
                <a:ea typeface="ＭＳ Ｐゴシック"/>
                <a:cs typeface="ＭＳ Ｐゴシック"/>
              </a:endParaRPr>
            </a:p>
          </p:txBody>
        </p:sp>
        <p:sp>
          <p:nvSpPr>
            <p:cNvPr id="239" name="Rectangle 795"/>
            <p:cNvSpPr>
              <a:spLocks noChangeArrowheads="1"/>
            </p:cNvSpPr>
            <p:nvPr/>
          </p:nvSpPr>
          <p:spPr bwMode="auto">
            <a:xfrm>
              <a:off x="3190" y="1901"/>
              <a:ext cx="32"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240" name="Rectangle 796"/>
            <p:cNvSpPr>
              <a:spLocks noChangeArrowheads="1"/>
            </p:cNvSpPr>
            <p:nvPr/>
          </p:nvSpPr>
          <p:spPr bwMode="auto">
            <a:xfrm>
              <a:off x="3221" y="1901"/>
              <a:ext cx="834"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b="0" kern="0" baseline="0">
                  <a:solidFill>
                    <a:srgbClr val="000000"/>
                  </a:solidFill>
                  <a:latin typeface="Arial" charset="0"/>
                  <a:ea typeface="ＭＳ Ｐゴシック"/>
                  <a:cs typeface="ＭＳ Ｐゴシック"/>
                </a:rPr>
                <a:t>Replacement and Reinforcement </a:t>
              </a:r>
              <a:endParaRPr lang="en-US" sz="1800" b="0" kern="0" baseline="0">
                <a:solidFill>
                  <a:sysClr val="windowText" lastClr="000000"/>
                </a:solidFill>
                <a:latin typeface="Arial" charset="0"/>
                <a:ea typeface="ＭＳ Ｐゴシック"/>
                <a:cs typeface="ＭＳ Ｐゴシック"/>
              </a:endParaRPr>
            </a:p>
          </p:txBody>
        </p:sp>
        <p:sp>
          <p:nvSpPr>
            <p:cNvPr id="241" name="Rectangle 797"/>
            <p:cNvSpPr>
              <a:spLocks noChangeArrowheads="1"/>
            </p:cNvSpPr>
            <p:nvPr/>
          </p:nvSpPr>
          <p:spPr bwMode="auto">
            <a:xfrm>
              <a:off x="971" y="3701"/>
              <a:ext cx="1331" cy="371"/>
            </a:xfrm>
            <a:prstGeom prst="rect">
              <a:avLst/>
            </a:prstGeom>
            <a:solidFill>
              <a:srgbClr val="6A6ACE"/>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42" name="Rectangle 798"/>
            <p:cNvSpPr>
              <a:spLocks noChangeArrowheads="1"/>
            </p:cNvSpPr>
            <p:nvPr/>
          </p:nvSpPr>
          <p:spPr bwMode="auto">
            <a:xfrm>
              <a:off x="971" y="3707"/>
              <a:ext cx="1331" cy="372"/>
            </a:xfrm>
            <a:prstGeom prst="rect">
              <a:avLst/>
            </a:prstGeom>
            <a:solidFill>
              <a:srgbClr val="6A6ACE"/>
            </a:solid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43" name="Rectangle 799"/>
            <p:cNvSpPr>
              <a:spLocks noChangeArrowheads="1"/>
            </p:cNvSpPr>
            <p:nvPr/>
          </p:nvSpPr>
          <p:spPr bwMode="auto">
            <a:xfrm>
              <a:off x="1300" y="3714"/>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6</a:t>
              </a:r>
              <a:endParaRPr lang="en-US" sz="1800" b="0" kern="0" baseline="0">
                <a:solidFill>
                  <a:sysClr val="windowText" lastClr="000000"/>
                </a:solidFill>
                <a:latin typeface="Arial" charset="0"/>
                <a:ea typeface="ＭＳ Ｐゴシック"/>
                <a:cs typeface="ＭＳ Ｐゴシック"/>
              </a:endParaRPr>
            </a:p>
          </p:txBody>
        </p:sp>
        <p:sp>
          <p:nvSpPr>
            <p:cNvPr id="244" name="Rectangle 800"/>
            <p:cNvSpPr>
              <a:spLocks noChangeArrowheads="1"/>
            </p:cNvSpPr>
            <p:nvPr/>
          </p:nvSpPr>
          <p:spPr bwMode="auto">
            <a:xfrm>
              <a:off x="1340" y="3714"/>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245" name="Rectangle 801"/>
            <p:cNvSpPr>
              <a:spLocks noChangeArrowheads="1"/>
            </p:cNvSpPr>
            <p:nvPr/>
          </p:nvSpPr>
          <p:spPr bwMode="auto">
            <a:xfrm>
              <a:off x="1379" y="3714"/>
              <a:ext cx="608"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Manage the Meter</a:t>
              </a:r>
              <a:endParaRPr lang="en-US" sz="1800" b="0" kern="0" baseline="0">
                <a:solidFill>
                  <a:sysClr val="windowText" lastClr="000000"/>
                </a:solidFill>
                <a:latin typeface="Arial" charset="0"/>
                <a:ea typeface="ＭＳ Ｐゴシック"/>
                <a:cs typeface="ＭＳ Ｐゴシック"/>
              </a:endParaRPr>
            </a:p>
          </p:txBody>
        </p:sp>
        <p:sp>
          <p:nvSpPr>
            <p:cNvPr id="246" name="Rectangle 802"/>
            <p:cNvSpPr>
              <a:spLocks noChangeArrowheads="1"/>
            </p:cNvSpPr>
            <p:nvPr/>
          </p:nvSpPr>
          <p:spPr bwMode="auto">
            <a:xfrm>
              <a:off x="4982" y="1232"/>
              <a:ext cx="723" cy="1321"/>
            </a:xfrm>
            <a:prstGeom prst="rect">
              <a:avLst/>
            </a:prstGeom>
            <a:solidFill>
              <a:srgbClr val="6A6ACE"/>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47" name="Rectangle 803"/>
            <p:cNvSpPr>
              <a:spLocks noChangeArrowheads="1"/>
            </p:cNvSpPr>
            <p:nvPr/>
          </p:nvSpPr>
          <p:spPr bwMode="auto">
            <a:xfrm>
              <a:off x="4982" y="1232"/>
              <a:ext cx="723" cy="1321"/>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48" name="Rectangle 804"/>
            <p:cNvSpPr>
              <a:spLocks noChangeArrowheads="1"/>
            </p:cNvSpPr>
            <p:nvPr/>
          </p:nvSpPr>
          <p:spPr bwMode="auto">
            <a:xfrm>
              <a:off x="5017" y="1246"/>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5</a:t>
              </a:r>
              <a:endParaRPr lang="en-US" sz="1800" b="0" kern="0" baseline="0">
                <a:solidFill>
                  <a:sysClr val="windowText" lastClr="000000"/>
                </a:solidFill>
                <a:latin typeface="Arial" charset="0"/>
                <a:ea typeface="ＭＳ Ｐゴシック"/>
                <a:cs typeface="ＭＳ Ｐゴシック"/>
              </a:endParaRPr>
            </a:p>
          </p:txBody>
        </p:sp>
        <p:sp>
          <p:nvSpPr>
            <p:cNvPr id="249" name="Rectangle 805"/>
            <p:cNvSpPr>
              <a:spLocks noChangeArrowheads="1"/>
            </p:cNvSpPr>
            <p:nvPr/>
          </p:nvSpPr>
          <p:spPr bwMode="auto">
            <a:xfrm>
              <a:off x="5056" y="1246"/>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250" name="Rectangle 806"/>
            <p:cNvSpPr>
              <a:spLocks noChangeArrowheads="1"/>
            </p:cNvSpPr>
            <p:nvPr/>
          </p:nvSpPr>
          <p:spPr bwMode="auto">
            <a:xfrm>
              <a:off x="5095" y="1246"/>
              <a:ext cx="608"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Manage Revenue </a:t>
              </a:r>
              <a:endParaRPr lang="en-US" sz="1800" b="0" kern="0" baseline="0">
                <a:solidFill>
                  <a:sysClr val="windowText" lastClr="000000"/>
                </a:solidFill>
                <a:latin typeface="Arial" charset="0"/>
                <a:ea typeface="ＭＳ Ｐゴシック"/>
                <a:cs typeface="ＭＳ Ｐゴシック"/>
              </a:endParaRPr>
            </a:p>
          </p:txBody>
        </p:sp>
        <p:sp>
          <p:nvSpPr>
            <p:cNvPr id="251" name="Rectangle 807"/>
            <p:cNvSpPr>
              <a:spLocks noChangeArrowheads="1"/>
            </p:cNvSpPr>
            <p:nvPr/>
          </p:nvSpPr>
          <p:spPr bwMode="auto">
            <a:xfrm>
              <a:off x="5201" y="1307"/>
              <a:ext cx="72" cy="74"/>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252" name="Rectangle 808"/>
            <p:cNvSpPr>
              <a:spLocks noChangeArrowheads="1"/>
            </p:cNvSpPr>
            <p:nvPr/>
          </p:nvSpPr>
          <p:spPr bwMode="auto">
            <a:xfrm>
              <a:off x="5271" y="1307"/>
              <a:ext cx="220" cy="74"/>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Tariffs</a:t>
              </a:r>
              <a:endParaRPr lang="en-US" sz="1800" b="0" kern="0" baseline="0">
                <a:solidFill>
                  <a:sysClr val="windowText" lastClr="000000"/>
                </a:solidFill>
                <a:latin typeface="Arial" charset="0"/>
                <a:ea typeface="ＭＳ Ｐゴシック"/>
                <a:cs typeface="ＭＳ Ｐゴシック"/>
              </a:endParaRPr>
            </a:p>
          </p:txBody>
        </p:sp>
        <p:sp>
          <p:nvSpPr>
            <p:cNvPr id="253" name="Freeform 809"/>
            <p:cNvSpPr>
              <a:spLocks/>
            </p:cNvSpPr>
            <p:nvPr/>
          </p:nvSpPr>
          <p:spPr bwMode="auto">
            <a:xfrm>
              <a:off x="5129" y="2256"/>
              <a:ext cx="430" cy="198"/>
            </a:xfrm>
            <a:custGeom>
              <a:avLst/>
              <a:gdLst>
                <a:gd name="T0" fmla="*/ 136 w 1290"/>
                <a:gd name="T1" fmla="*/ 48 h 816"/>
                <a:gd name="T2" fmla="*/ 137 w 1290"/>
                <a:gd name="T3" fmla="*/ 48 h 816"/>
                <a:gd name="T4" fmla="*/ 139 w 1290"/>
                <a:gd name="T5" fmla="*/ 48 h 816"/>
                <a:gd name="T6" fmla="*/ 140 w 1290"/>
                <a:gd name="T7" fmla="*/ 47 h 816"/>
                <a:gd name="T8" fmla="*/ 141 w 1290"/>
                <a:gd name="T9" fmla="*/ 47 h 816"/>
                <a:gd name="T10" fmla="*/ 142 w 1290"/>
                <a:gd name="T11" fmla="*/ 46 h 816"/>
                <a:gd name="T12" fmla="*/ 143 w 1290"/>
                <a:gd name="T13" fmla="*/ 46 h 816"/>
                <a:gd name="T14" fmla="*/ 143 w 1290"/>
                <a:gd name="T15" fmla="*/ 45 h 816"/>
                <a:gd name="T16" fmla="*/ 143 w 1290"/>
                <a:gd name="T17" fmla="*/ 44 h 816"/>
                <a:gd name="T18" fmla="*/ 143 w 1290"/>
                <a:gd name="T19" fmla="*/ 4 h 816"/>
                <a:gd name="T20" fmla="*/ 143 w 1290"/>
                <a:gd name="T21" fmla="*/ 3 h 816"/>
                <a:gd name="T22" fmla="*/ 143 w 1290"/>
                <a:gd name="T23" fmla="*/ 2 h 816"/>
                <a:gd name="T24" fmla="*/ 142 w 1290"/>
                <a:gd name="T25" fmla="*/ 2 h 816"/>
                <a:gd name="T26" fmla="*/ 141 w 1290"/>
                <a:gd name="T27" fmla="*/ 1 h 816"/>
                <a:gd name="T28" fmla="*/ 140 w 1290"/>
                <a:gd name="T29" fmla="*/ 1 h 816"/>
                <a:gd name="T30" fmla="*/ 139 w 1290"/>
                <a:gd name="T31" fmla="*/ 0 h 816"/>
                <a:gd name="T32" fmla="*/ 137 w 1290"/>
                <a:gd name="T33" fmla="*/ 0 h 816"/>
                <a:gd name="T34" fmla="*/ 136 w 1290"/>
                <a:gd name="T35" fmla="*/ 0 h 816"/>
                <a:gd name="T36" fmla="*/ 7 w 1290"/>
                <a:gd name="T37" fmla="*/ 0 h 816"/>
                <a:gd name="T38" fmla="*/ 5 w 1290"/>
                <a:gd name="T39" fmla="*/ 0 h 816"/>
                <a:gd name="T40" fmla="*/ 4 w 1290"/>
                <a:gd name="T41" fmla="*/ 0 h 816"/>
                <a:gd name="T42" fmla="*/ 3 w 1290"/>
                <a:gd name="T43" fmla="*/ 1 h 816"/>
                <a:gd name="T44" fmla="*/ 2 w 1290"/>
                <a:gd name="T45" fmla="*/ 1 h 816"/>
                <a:gd name="T46" fmla="*/ 1 w 1290"/>
                <a:gd name="T47" fmla="*/ 2 h 816"/>
                <a:gd name="T48" fmla="*/ 0 w 1290"/>
                <a:gd name="T49" fmla="*/ 3 h 816"/>
                <a:gd name="T50" fmla="*/ 0 w 1290"/>
                <a:gd name="T51" fmla="*/ 4 h 816"/>
                <a:gd name="T52" fmla="*/ 0 w 1290"/>
                <a:gd name="T53" fmla="*/ 44 h 816"/>
                <a:gd name="T54" fmla="*/ 0 w 1290"/>
                <a:gd name="T55" fmla="*/ 45 h 816"/>
                <a:gd name="T56" fmla="*/ 1 w 1290"/>
                <a:gd name="T57" fmla="*/ 46 h 816"/>
                <a:gd name="T58" fmla="*/ 1 w 1290"/>
                <a:gd name="T59" fmla="*/ 46 h 816"/>
                <a:gd name="T60" fmla="*/ 2 w 1290"/>
                <a:gd name="T61" fmla="*/ 47 h 816"/>
                <a:gd name="T62" fmla="*/ 3 w 1290"/>
                <a:gd name="T63" fmla="*/ 47 h 816"/>
                <a:gd name="T64" fmla="*/ 5 w 1290"/>
                <a:gd name="T65" fmla="*/ 48 h 816"/>
                <a:gd name="T66" fmla="*/ 6 w 1290"/>
                <a:gd name="T67" fmla="*/ 48 h 816"/>
                <a:gd name="T68" fmla="*/ 8 w 1290"/>
                <a:gd name="T69" fmla="*/ 48 h 8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0"/>
                <a:gd name="T106" fmla="*/ 0 h 816"/>
                <a:gd name="T107" fmla="*/ 1290 w 1290"/>
                <a:gd name="T108" fmla="*/ 816 h 8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0" h="816">
                  <a:moveTo>
                    <a:pt x="68" y="816"/>
                  </a:moveTo>
                  <a:lnTo>
                    <a:pt x="1223" y="816"/>
                  </a:lnTo>
                  <a:lnTo>
                    <a:pt x="1229" y="816"/>
                  </a:lnTo>
                  <a:lnTo>
                    <a:pt x="1236" y="815"/>
                  </a:lnTo>
                  <a:lnTo>
                    <a:pt x="1242" y="813"/>
                  </a:lnTo>
                  <a:lnTo>
                    <a:pt x="1249" y="810"/>
                  </a:lnTo>
                  <a:lnTo>
                    <a:pt x="1254" y="808"/>
                  </a:lnTo>
                  <a:lnTo>
                    <a:pt x="1260" y="805"/>
                  </a:lnTo>
                  <a:lnTo>
                    <a:pt x="1266" y="800"/>
                  </a:lnTo>
                  <a:lnTo>
                    <a:pt x="1270" y="797"/>
                  </a:lnTo>
                  <a:lnTo>
                    <a:pt x="1275" y="791"/>
                  </a:lnTo>
                  <a:lnTo>
                    <a:pt x="1278" y="787"/>
                  </a:lnTo>
                  <a:lnTo>
                    <a:pt x="1281" y="781"/>
                  </a:lnTo>
                  <a:lnTo>
                    <a:pt x="1285" y="775"/>
                  </a:lnTo>
                  <a:lnTo>
                    <a:pt x="1287" y="769"/>
                  </a:lnTo>
                  <a:lnTo>
                    <a:pt x="1288" y="762"/>
                  </a:lnTo>
                  <a:lnTo>
                    <a:pt x="1289" y="755"/>
                  </a:lnTo>
                  <a:lnTo>
                    <a:pt x="1290" y="748"/>
                  </a:lnTo>
                  <a:lnTo>
                    <a:pt x="1290" y="68"/>
                  </a:lnTo>
                  <a:lnTo>
                    <a:pt x="1289" y="61"/>
                  </a:lnTo>
                  <a:lnTo>
                    <a:pt x="1288" y="54"/>
                  </a:lnTo>
                  <a:lnTo>
                    <a:pt x="1287" y="47"/>
                  </a:lnTo>
                  <a:lnTo>
                    <a:pt x="1285" y="42"/>
                  </a:lnTo>
                  <a:lnTo>
                    <a:pt x="1281" y="35"/>
                  </a:lnTo>
                  <a:lnTo>
                    <a:pt x="1278" y="29"/>
                  </a:lnTo>
                  <a:lnTo>
                    <a:pt x="1275" y="25"/>
                  </a:lnTo>
                  <a:lnTo>
                    <a:pt x="1270" y="19"/>
                  </a:lnTo>
                  <a:lnTo>
                    <a:pt x="1266" y="16"/>
                  </a:lnTo>
                  <a:lnTo>
                    <a:pt x="1260" y="11"/>
                  </a:lnTo>
                  <a:lnTo>
                    <a:pt x="1254" y="8"/>
                  </a:lnTo>
                  <a:lnTo>
                    <a:pt x="1249" y="6"/>
                  </a:lnTo>
                  <a:lnTo>
                    <a:pt x="1242" y="3"/>
                  </a:lnTo>
                  <a:lnTo>
                    <a:pt x="1236" y="1"/>
                  </a:lnTo>
                  <a:lnTo>
                    <a:pt x="1229" y="0"/>
                  </a:lnTo>
                  <a:lnTo>
                    <a:pt x="1223" y="0"/>
                  </a:lnTo>
                  <a:lnTo>
                    <a:pt x="68" y="0"/>
                  </a:lnTo>
                  <a:lnTo>
                    <a:pt x="61" y="0"/>
                  </a:lnTo>
                  <a:lnTo>
                    <a:pt x="54" y="1"/>
                  </a:lnTo>
                  <a:lnTo>
                    <a:pt x="47" y="3"/>
                  </a:lnTo>
                  <a:lnTo>
                    <a:pt x="42" y="6"/>
                  </a:lnTo>
                  <a:lnTo>
                    <a:pt x="35" y="8"/>
                  </a:lnTo>
                  <a:lnTo>
                    <a:pt x="30" y="11"/>
                  </a:lnTo>
                  <a:lnTo>
                    <a:pt x="25" y="16"/>
                  </a:lnTo>
                  <a:lnTo>
                    <a:pt x="20" y="19"/>
                  </a:lnTo>
                  <a:lnTo>
                    <a:pt x="16" y="25"/>
                  </a:lnTo>
                  <a:lnTo>
                    <a:pt x="11" y="29"/>
                  </a:lnTo>
                  <a:lnTo>
                    <a:pt x="8" y="35"/>
                  </a:lnTo>
                  <a:lnTo>
                    <a:pt x="6" y="42"/>
                  </a:lnTo>
                  <a:lnTo>
                    <a:pt x="3" y="47"/>
                  </a:lnTo>
                  <a:lnTo>
                    <a:pt x="1" y="54"/>
                  </a:lnTo>
                  <a:lnTo>
                    <a:pt x="0" y="61"/>
                  </a:lnTo>
                  <a:lnTo>
                    <a:pt x="0" y="68"/>
                  </a:lnTo>
                  <a:lnTo>
                    <a:pt x="0" y="748"/>
                  </a:lnTo>
                  <a:lnTo>
                    <a:pt x="0" y="755"/>
                  </a:lnTo>
                  <a:lnTo>
                    <a:pt x="1" y="762"/>
                  </a:lnTo>
                  <a:lnTo>
                    <a:pt x="3" y="769"/>
                  </a:lnTo>
                  <a:lnTo>
                    <a:pt x="6" y="775"/>
                  </a:lnTo>
                  <a:lnTo>
                    <a:pt x="8" y="781"/>
                  </a:lnTo>
                  <a:lnTo>
                    <a:pt x="11" y="787"/>
                  </a:lnTo>
                  <a:lnTo>
                    <a:pt x="16" y="791"/>
                  </a:lnTo>
                  <a:lnTo>
                    <a:pt x="20" y="797"/>
                  </a:lnTo>
                  <a:lnTo>
                    <a:pt x="25" y="800"/>
                  </a:lnTo>
                  <a:lnTo>
                    <a:pt x="30" y="805"/>
                  </a:lnTo>
                  <a:lnTo>
                    <a:pt x="35" y="808"/>
                  </a:lnTo>
                  <a:lnTo>
                    <a:pt x="42" y="810"/>
                  </a:lnTo>
                  <a:lnTo>
                    <a:pt x="47" y="813"/>
                  </a:lnTo>
                  <a:lnTo>
                    <a:pt x="54" y="815"/>
                  </a:lnTo>
                  <a:lnTo>
                    <a:pt x="61" y="816"/>
                  </a:lnTo>
                  <a:lnTo>
                    <a:pt x="68" y="816"/>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54" name="Freeform 810"/>
            <p:cNvSpPr>
              <a:spLocks/>
            </p:cNvSpPr>
            <p:nvPr/>
          </p:nvSpPr>
          <p:spPr bwMode="auto">
            <a:xfrm>
              <a:off x="5129" y="2256"/>
              <a:ext cx="430" cy="198"/>
            </a:xfrm>
            <a:custGeom>
              <a:avLst/>
              <a:gdLst>
                <a:gd name="T0" fmla="*/ 136 w 1290"/>
                <a:gd name="T1" fmla="*/ 48 h 816"/>
                <a:gd name="T2" fmla="*/ 137 w 1290"/>
                <a:gd name="T3" fmla="*/ 48 h 816"/>
                <a:gd name="T4" fmla="*/ 139 w 1290"/>
                <a:gd name="T5" fmla="*/ 48 h 816"/>
                <a:gd name="T6" fmla="*/ 140 w 1290"/>
                <a:gd name="T7" fmla="*/ 47 h 816"/>
                <a:gd name="T8" fmla="*/ 141 w 1290"/>
                <a:gd name="T9" fmla="*/ 47 h 816"/>
                <a:gd name="T10" fmla="*/ 142 w 1290"/>
                <a:gd name="T11" fmla="*/ 46 h 816"/>
                <a:gd name="T12" fmla="*/ 143 w 1290"/>
                <a:gd name="T13" fmla="*/ 46 h 816"/>
                <a:gd name="T14" fmla="*/ 143 w 1290"/>
                <a:gd name="T15" fmla="*/ 45 h 816"/>
                <a:gd name="T16" fmla="*/ 143 w 1290"/>
                <a:gd name="T17" fmla="*/ 44 h 816"/>
                <a:gd name="T18" fmla="*/ 143 w 1290"/>
                <a:gd name="T19" fmla="*/ 4 h 816"/>
                <a:gd name="T20" fmla="*/ 143 w 1290"/>
                <a:gd name="T21" fmla="*/ 3 h 816"/>
                <a:gd name="T22" fmla="*/ 143 w 1290"/>
                <a:gd name="T23" fmla="*/ 2 h 816"/>
                <a:gd name="T24" fmla="*/ 142 w 1290"/>
                <a:gd name="T25" fmla="*/ 2 h 816"/>
                <a:gd name="T26" fmla="*/ 141 w 1290"/>
                <a:gd name="T27" fmla="*/ 1 h 816"/>
                <a:gd name="T28" fmla="*/ 140 w 1290"/>
                <a:gd name="T29" fmla="*/ 1 h 816"/>
                <a:gd name="T30" fmla="*/ 139 w 1290"/>
                <a:gd name="T31" fmla="*/ 0 h 816"/>
                <a:gd name="T32" fmla="*/ 137 w 1290"/>
                <a:gd name="T33" fmla="*/ 0 h 816"/>
                <a:gd name="T34" fmla="*/ 136 w 1290"/>
                <a:gd name="T35" fmla="*/ 0 h 816"/>
                <a:gd name="T36" fmla="*/ 7 w 1290"/>
                <a:gd name="T37" fmla="*/ 0 h 816"/>
                <a:gd name="T38" fmla="*/ 5 w 1290"/>
                <a:gd name="T39" fmla="*/ 0 h 816"/>
                <a:gd name="T40" fmla="*/ 4 w 1290"/>
                <a:gd name="T41" fmla="*/ 0 h 816"/>
                <a:gd name="T42" fmla="*/ 3 w 1290"/>
                <a:gd name="T43" fmla="*/ 1 h 816"/>
                <a:gd name="T44" fmla="*/ 2 w 1290"/>
                <a:gd name="T45" fmla="*/ 1 h 816"/>
                <a:gd name="T46" fmla="*/ 1 w 1290"/>
                <a:gd name="T47" fmla="*/ 2 h 816"/>
                <a:gd name="T48" fmla="*/ 0 w 1290"/>
                <a:gd name="T49" fmla="*/ 3 h 816"/>
                <a:gd name="T50" fmla="*/ 0 w 1290"/>
                <a:gd name="T51" fmla="*/ 4 h 816"/>
                <a:gd name="T52" fmla="*/ 0 w 1290"/>
                <a:gd name="T53" fmla="*/ 44 h 816"/>
                <a:gd name="T54" fmla="*/ 0 w 1290"/>
                <a:gd name="T55" fmla="*/ 45 h 816"/>
                <a:gd name="T56" fmla="*/ 1 w 1290"/>
                <a:gd name="T57" fmla="*/ 46 h 816"/>
                <a:gd name="T58" fmla="*/ 1 w 1290"/>
                <a:gd name="T59" fmla="*/ 46 h 816"/>
                <a:gd name="T60" fmla="*/ 2 w 1290"/>
                <a:gd name="T61" fmla="*/ 47 h 816"/>
                <a:gd name="T62" fmla="*/ 3 w 1290"/>
                <a:gd name="T63" fmla="*/ 47 h 816"/>
                <a:gd name="T64" fmla="*/ 5 w 1290"/>
                <a:gd name="T65" fmla="*/ 48 h 816"/>
                <a:gd name="T66" fmla="*/ 6 w 1290"/>
                <a:gd name="T67" fmla="*/ 48 h 816"/>
                <a:gd name="T68" fmla="*/ 8 w 1290"/>
                <a:gd name="T69" fmla="*/ 48 h 8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0"/>
                <a:gd name="T106" fmla="*/ 0 h 816"/>
                <a:gd name="T107" fmla="*/ 1290 w 1290"/>
                <a:gd name="T108" fmla="*/ 816 h 8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0" h="816">
                  <a:moveTo>
                    <a:pt x="68" y="816"/>
                  </a:moveTo>
                  <a:lnTo>
                    <a:pt x="1223" y="816"/>
                  </a:lnTo>
                  <a:lnTo>
                    <a:pt x="1229" y="816"/>
                  </a:lnTo>
                  <a:lnTo>
                    <a:pt x="1236" y="815"/>
                  </a:lnTo>
                  <a:lnTo>
                    <a:pt x="1242" y="813"/>
                  </a:lnTo>
                  <a:lnTo>
                    <a:pt x="1249" y="810"/>
                  </a:lnTo>
                  <a:lnTo>
                    <a:pt x="1254" y="808"/>
                  </a:lnTo>
                  <a:lnTo>
                    <a:pt x="1260" y="805"/>
                  </a:lnTo>
                  <a:lnTo>
                    <a:pt x="1266" y="800"/>
                  </a:lnTo>
                  <a:lnTo>
                    <a:pt x="1270" y="797"/>
                  </a:lnTo>
                  <a:lnTo>
                    <a:pt x="1275" y="791"/>
                  </a:lnTo>
                  <a:lnTo>
                    <a:pt x="1278" y="787"/>
                  </a:lnTo>
                  <a:lnTo>
                    <a:pt x="1281" y="781"/>
                  </a:lnTo>
                  <a:lnTo>
                    <a:pt x="1285" y="775"/>
                  </a:lnTo>
                  <a:lnTo>
                    <a:pt x="1287" y="769"/>
                  </a:lnTo>
                  <a:lnTo>
                    <a:pt x="1288" y="762"/>
                  </a:lnTo>
                  <a:lnTo>
                    <a:pt x="1289" y="755"/>
                  </a:lnTo>
                  <a:lnTo>
                    <a:pt x="1290" y="748"/>
                  </a:lnTo>
                  <a:lnTo>
                    <a:pt x="1290" y="68"/>
                  </a:lnTo>
                  <a:lnTo>
                    <a:pt x="1289" y="61"/>
                  </a:lnTo>
                  <a:lnTo>
                    <a:pt x="1288" y="54"/>
                  </a:lnTo>
                  <a:lnTo>
                    <a:pt x="1287" y="47"/>
                  </a:lnTo>
                  <a:lnTo>
                    <a:pt x="1285" y="42"/>
                  </a:lnTo>
                  <a:lnTo>
                    <a:pt x="1281" y="35"/>
                  </a:lnTo>
                  <a:lnTo>
                    <a:pt x="1278" y="29"/>
                  </a:lnTo>
                  <a:lnTo>
                    <a:pt x="1275" y="25"/>
                  </a:lnTo>
                  <a:lnTo>
                    <a:pt x="1270" y="19"/>
                  </a:lnTo>
                  <a:lnTo>
                    <a:pt x="1266" y="16"/>
                  </a:lnTo>
                  <a:lnTo>
                    <a:pt x="1260" y="11"/>
                  </a:lnTo>
                  <a:lnTo>
                    <a:pt x="1254" y="8"/>
                  </a:lnTo>
                  <a:lnTo>
                    <a:pt x="1249" y="6"/>
                  </a:lnTo>
                  <a:lnTo>
                    <a:pt x="1242" y="3"/>
                  </a:lnTo>
                  <a:lnTo>
                    <a:pt x="1236" y="1"/>
                  </a:lnTo>
                  <a:lnTo>
                    <a:pt x="1229" y="0"/>
                  </a:lnTo>
                  <a:lnTo>
                    <a:pt x="1223" y="0"/>
                  </a:lnTo>
                  <a:lnTo>
                    <a:pt x="68" y="0"/>
                  </a:lnTo>
                  <a:lnTo>
                    <a:pt x="61" y="0"/>
                  </a:lnTo>
                  <a:lnTo>
                    <a:pt x="54" y="1"/>
                  </a:lnTo>
                  <a:lnTo>
                    <a:pt x="47" y="3"/>
                  </a:lnTo>
                  <a:lnTo>
                    <a:pt x="42" y="6"/>
                  </a:lnTo>
                  <a:lnTo>
                    <a:pt x="35" y="8"/>
                  </a:lnTo>
                  <a:lnTo>
                    <a:pt x="30" y="11"/>
                  </a:lnTo>
                  <a:lnTo>
                    <a:pt x="25" y="16"/>
                  </a:lnTo>
                  <a:lnTo>
                    <a:pt x="20" y="19"/>
                  </a:lnTo>
                  <a:lnTo>
                    <a:pt x="16" y="25"/>
                  </a:lnTo>
                  <a:lnTo>
                    <a:pt x="11" y="29"/>
                  </a:lnTo>
                  <a:lnTo>
                    <a:pt x="8" y="35"/>
                  </a:lnTo>
                  <a:lnTo>
                    <a:pt x="6" y="42"/>
                  </a:lnTo>
                  <a:lnTo>
                    <a:pt x="3" y="47"/>
                  </a:lnTo>
                  <a:lnTo>
                    <a:pt x="1" y="54"/>
                  </a:lnTo>
                  <a:lnTo>
                    <a:pt x="0" y="61"/>
                  </a:lnTo>
                  <a:lnTo>
                    <a:pt x="0" y="68"/>
                  </a:lnTo>
                  <a:lnTo>
                    <a:pt x="0" y="748"/>
                  </a:lnTo>
                  <a:lnTo>
                    <a:pt x="0" y="755"/>
                  </a:lnTo>
                  <a:lnTo>
                    <a:pt x="1" y="762"/>
                  </a:lnTo>
                  <a:lnTo>
                    <a:pt x="3" y="769"/>
                  </a:lnTo>
                  <a:lnTo>
                    <a:pt x="6" y="775"/>
                  </a:lnTo>
                  <a:lnTo>
                    <a:pt x="8" y="781"/>
                  </a:lnTo>
                  <a:lnTo>
                    <a:pt x="11" y="787"/>
                  </a:lnTo>
                  <a:lnTo>
                    <a:pt x="16" y="791"/>
                  </a:lnTo>
                  <a:lnTo>
                    <a:pt x="20" y="797"/>
                  </a:lnTo>
                  <a:lnTo>
                    <a:pt x="25" y="800"/>
                  </a:lnTo>
                  <a:lnTo>
                    <a:pt x="30" y="805"/>
                  </a:lnTo>
                  <a:lnTo>
                    <a:pt x="35" y="808"/>
                  </a:lnTo>
                  <a:lnTo>
                    <a:pt x="42" y="810"/>
                  </a:lnTo>
                  <a:lnTo>
                    <a:pt x="47" y="813"/>
                  </a:lnTo>
                  <a:lnTo>
                    <a:pt x="54" y="815"/>
                  </a:lnTo>
                  <a:lnTo>
                    <a:pt x="61" y="816"/>
                  </a:lnTo>
                  <a:lnTo>
                    <a:pt x="68" y="816"/>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55" name="Rectangle 811"/>
            <p:cNvSpPr>
              <a:spLocks noChangeArrowheads="1"/>
            </p:cNvSpPr>
            <p:nvPr/>
          </p:nvSpPr>
          <p:spPr bwMode="auto">
            <a:xfrm>
              <a:off x="5232" y="2320"/>
              <a:ext cx="23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onnections </a:t>
              </a:r>
              <a:endParaRPr lang="en-US" sz="1800" b="0" kern="0" baseline="0">
                <a:solidFill>
                  <a:sysClr val="windowText" lastClr="000000"/>
                </a:solidFill>
                <a:latin typeface="Arial" charset="0"/>
                <a:ea typeface="ＭＳ Ｐゴシック"/>
                <a:cs typeface="ＭＳ Ｐゴシック"/>
              </a:endParaRPr>
            </a:p>
          </p:txBody>
        </p:sp>
        <p:sp>
          <p:nvSpPr>
            <p:cNvPr id="256" name="Rectangle 812"/>
            <p:cNvSpPr>
              <a:spLocks noChangeArrowheads="1"/>
            </p:cNvSpPr>
            <p:nvPr/>
          </p:nvSpPr>
          <p:spPr bwMode="auto">
            <a:xfrm>
              <a:off x="5226" y="2355"/>
              <a:ext cx="23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dirty="0">
                  <a:solidFill>
                    <a:srgbClr val="000000"/>
                  </a:solidFill>
                  <a:latin typeface="Arial" charset="0"/>
                  <a:ea typeface="ＭＳ Ｐゴシック"/>
                  <a:cs typeface="ＭＳ Ｐゴシック"/>
                </a:rPr>
                <a:t>Management</a:t>
              </a:r>
              <a:endParaRPr lang="en-US" sz="1800" b="0" kern="0" baseline="0" dirty="0">
                <a:solidFill>
                  <a:sysClr val="windowText" lastClr="000000"/>
                </a:solidFill>
                <a:latin typeface="Arial" charset="0"/>
                <a:ea typeface="ＭＳ Ｐゴシック"/>
                <a:cs typeface="ＭＳ Ｐゴシック"/>
              </a:endParaRPr>
            </a:p>
          </p:txBody>
        </p:sp>
        <p:sp>
          <p:nvSpPr>
            <p:cNvPr id="257" name="Freeform 813"/>
            <p:cNvSpPr>
              <a:spLocks/>
            </p:cNvSpPr>
            <p:nvPr/>
          </p:nvSpPr>
          <p:spPr bwMode="auto">
            <a:xfrm>
              <a:off x="5129" y="1706"/>
              <a:ext cx="430" cy="198"/>
            </a:xfrm>
            <a:custGeom>
              <a:avLst/>
              <a:gdLst>
                <a:gd name="T0" fmla="*/ 136 w 1290"/>
                <a:gd name="T1" fmla="*/ 48 h 817"/>
                <a:gd name="T2" fmla="*/ 137 w 1290"/>
                <a:gd name="T3" fmla="*/ 48 h 817"/>
                <a:gd name="T4" fmla="*/ 139 w 1290"/>
                <a:gd name="T5" fmla="*/ 48 h 817"/>
                <a:gd name="T6" fmla="*/ 140 w 1290"/>
                <a:gd name="T7" fmla="*/ 47 h 817"/>
                <a:gd name="T8" fmla="*/ 141 w 1290"/>
                <a:gd name="T9" fmla="*/ 47 h 817"/>
                <a:gd name="T10" fmla="*/ 142 w 1290"/>
                <a:gd name="T11" fmla="*/ 46 h 817"/>
                <a:gd name="T12" fmla="*/ 143 w 1290"/>
                <a:gd name="T13" fmla="*/ 46 h 817"/>
                <a:gd name="T14" fmla="*/ 143 w 1290"/>
                <a:gd name="T15" fmla="*/ 45 h 817"/>
                <a:gd name="T16" fmla="*/ 143 w 1290"/>
                <a:gd name="T17" fmla="*/ 44 h 817"/>
                <a:gd name="T18" fmla="*/ 143 w 1290"/>
                <a:gd name="T19" fmla="*/ 4 h 817"/>
                <a:gd name="T20" fmla="*/ 143 w 1290"/>
                <a:gd name="T21" fmla="*/ 3 h 817"/>
                <a:gd name="T22" fmla="*/ 143 w 1290"/>
                <a:gd name="T23" fmla="*/ 2 h 817"/>
                <a:gd name="T24" fmla="*/ 142 w 1290"/>
                <a:gd name="T25" fmla="*/ 2 h 817"/>
                <a:gd name="T26" fmla="*/ 141 w 1290"/>
                <a:gd name="T27" fmla="*/ 1 h 817"/>
                <a:gd name="T28" fmla="*/ 140 w 1290"/>
                <a:gd name="T29" fmla="*/ 1 h 817"/>
                <a:gd name="T30" fmla="*/ 139 w 1290"/>
                <a:gd name="T31" fmla="*/ 0 h 817"/>
                <a:gd name="T32" fmla="*/ 137 w 1290"/>
                <a:gd name="T33" fmla="*/ 0 h 817"/>
                <a:gd name="T34" fmla="*/ 136 w 1290"/>
                <a:gd name="T35" fmla="*/ 0 h 817"/>
                <a:gd name="T36" fmla="*/ 7 w 1290"/>
                <a:gd name="T37" fmla="*/ 0 h 817"/>
                <a:gd name="T38" fmla="*/ 5 w 1290"/>
                <a:gd name="T39" fmla="*/ 0 h 817"/>
                <a:gd name="T40" fmla="*/ 4 w 1290"/>
                <a:gd name="T41" fmla="*/ 0 h 817"/>
                <a:gd name="T42" fmla="*/ 3 w 1290"/>
                <a:gd name="T43" fmla="*/ 1 h 817"/>
                <a:gd name="T44" fmla="*/ 2 w 1290"/>
                <a:gd name="T45" fmla="*/ 1 h 817"/>
                <a:gd name="T46" fmla="*/ 1 w 1290"/>
                <a:gd name="T47" fmla="*/ 2 h 817"/>
                <a:gd name="T48" fmla="*/ 0 w 1290"/>
                <a:gd name="T49" fmla="*/ 3 h 817"/>
                <a:gd name="T50" fmla="*/ 0 w 1290"/>
                <a:gd name="T51" fmla="*/ 4 h 817"/>
                <a:gd name="T52" fmla="*/ 0 w 1290"/>
                <a:gd name="T53" fmla="*/ 44 h 817"/>
                <a:gd name="T54" fmla="*/ 0 w 1290"/>
                <a:gd name="T55" fmla="*/ 45 h 817"/>
                <a:gd name="T56" fmla="*/ 1 w 1290"/>
                <a:gd name="T57" fmla="*/ 46 h 817"/>
                <a:gd name="T58" fmla="*/ 1 w 1290"/>
                <a:gd name="T59" fmla="*/ 46 h 817"/>
                <a:gd name="T60" fmla="*/ 2 w 1290"/>
                <a:gd name="T61" fmla="*/ 47 h 817"/>
                <a:gd name="T62" fmla="*/ 3 w 1290"/>
                <a:gd name="T63" fmla="*/ 47 h 817"/>
                <a:gd name="T64" fmla="*/ 5 w 1290"/>
                <a:gd name="T65" fmla="*/ 48 h 817"/>
                <a:gd name="T66" fmla="*/ 6 w 1290"/>
                <a:gd name="T67" fmla="*/ 48 h 817"/>
                <a:gd name="T68" fmla="*/ 8 w 1290"/>
                <a:gd name="T69" fmla="*/ 48 h 8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0"/>
                <a:gd name="T106" fmla="*/ 0 h 817"/>
                <a:gd name="T107" fmla="*/ 1290 w 1290"/>
                <a:gd name="T108" fmla="*/ 817 h 8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0" h="817">
                  <a:moveTo>
                    <a:pt x="68" y="817"/>
                  </a:moveTo>
                  <a:lnTo>
                    <a:pt x="1223" y="817"/>
                  </a:lnTo>
                  <a:lnTo>
                    <a:pt x="1229" y="817"/>
                  </a:lnTo>
                  <a:lnTo>
                    <a:pt x="1236" y="815"/>
                  </a:lnTo>
                  <a:lnTo>
                    <a:pt x="1242" y="813"/>
                  </a:lnTo>
                  <a:lnTo>
                    <a:pt x="1249" y="811"/>
                  </a:lnTo>
                  <a:lnTo>
                    <a:pt x="1254" y="809"/>
                  </a:lnTo>
                  <a:lnTo>
                    <a:pt x="1260" y="805"/>
                  </a:lnTo>
                  <a:lnTo>
                    <a:pt x="1266" y="801"/>
                  </a:lnTo>
                  <a:lnTo>
                    <a:pt x="1270" y="796"/>
                  </a:lnTo>
                  <a:lnTo>
                    <a:pt x="1275" y="792"/>
                  </a:lnTo>
                  <a:lnTo>
                    <a:pt x="1278" y="787"/>
                  </a:lnTo>
                  <a:lnTo>
                    <a:pt x="1281" y="782"/>
                  </a:lnTo>
                  <a:lnTo>
                    <a:pt x="1285" y="775"/>
                  </a:lnTo>
                  <a:lnTo>
                    <a:pt x="1287" y="769"/>
                  </a:lnTo>
                  <a:lnTo>
                    <a:pt x="1288" y="762"/>
                  </a:lnTo>
                  <a:lnTo>
                    <a:pt x="1289" y="756"/>
                  </a:lnTo>
                  <a:lnTo>
                    <a:pt x="1290" y="749"/>
                  </a:lnTo>
                  <a:lnTo>
                    <a:pt x="1290" y="68"/>
                  </a:lnTo>
                  <a:lnTo>
                    <a:pt x="1289" y="60"/>
                  </a:lnTo>
                  <a:lnTo>
                    <a:pt x="1288" y="54"/>
                  </a:lnTo>
                  <a:lnTo>
                    <a:pt x="1287" y="48"/>
                  </a:lnTo>
                  <a:lnTo>
                    <a:pt x="1285" y="41"/>
                  </a:lnTo>
                  <a:lnTo>
                    <a:pt x="1281" y="36"/>
                  </a:lnTo>
                  <a:lnTo>
                    <a:pt x="1278" y="30"/>
                  </a:lnTo>
                  <a:lnTo>
                    <a:pt x="1275" y="24"/>
                  </a:lnTo>
                  <a:lnTo>
                    <a:pt x="1270" y="20"/>
                  </a:lnTo>
                  <a:lnTo>
                    <a:pt x="1266" y="15"/>
                  </a:lnTo>
                  <a:lnTo>
                    <a:pt x="1260" y="12"/>
                  </a:lnTo>
                  <a:lnTo>
                    <a:pt x="1254" y="8"/>
                  </a:lnTo>
                  <a:lnTo>
                    <a:pt x="1249" y="5"/>
                  </a:lnTo>
                  <a:lnTo>
                    <a:pt x="1242" y="3"/>
                  </a:lnTo>
                  <a:lnTo>
                    <a:pt x="1236" y="2"/>
                  </a:lnTo>
                  <a:lnTo>
                    <a:pt x="1229" y="0"/>
                  </a:lnTo>
                  <a:lnTo>
                    <a:pt x="1223" y="0"/>
                  </a:lnTo>
                  <a:lnTo>
                    <a:pt x="68" y="0"/>
                  </a:lnTo>
                  <a:lnTo>
                    <a:pt x="61" y="0"/>
                  </a:lnTo>
                  <a:lnTo>
                    <a:pt x="54" y="2"/>
                  </a:lnTo>
                  <a:lnTo>
                    <a:pt x="47" y="3"/>
                  </a:lnTo>
                  <a:lnTo>
                    <a:pt x="42" y="5"/>
                  </a:lnTo>
                  <a:lnTo>
                    <a:pt x="35" y="8"/>
                  </a:lnTo>
                  <a:lnTo>
                    <a:pt x="30" y="12"/>
                  </a:lnTo>
                  <a:lnTo>
                    <a:pt x="25" y="15"/>
                  </a:lnTo>
                  <a:lnTo>
                    <a:pt x="20" y="20"/>
                  </a:lnTo>
                  <a:lnTo>
                    <a:pt x="16" y="24"/>
                  </a:lnTo>
                  <a:lnTo>
                    <a:pt x="11" y="30"/>
                  </a:lnTo>
                  <a:lnTo>
                    <a:pt x="8" y="36"/>
                  </a:lnTo>
                  <a:lnTo>
                    <a:pt x="6" y="41"/>
                  </a:lnTo>
                  <a:lnTo>
                    <a:pt x="3" y="48"/>
                  </a:lnTo>
                  <a:lnTo>
                    <a:pt x="1" y="54"/>
                  </a:lnTo>
                  <a:lnTo>
                    <a:pt x="0" y="60"/>
                  </a:lnTo>
                  <a:lnTo>
                    <a:pt x="0" y="68"/>
                  </a:lnTo>
                  <a:lnTo>
                    <a:pt x="0" y="749"/>
                  </a:lnTo>
                  <a:lnTo>
                    <a:pt x="0" y="756"/>
                  </a:lnTo>
                  <a:lnTo>
                    <a:pt x="1" y="762"/>
                  </a:lnTo>
                  <a:lnTo>
                    <a:pt x="3" y="769"/>
                  </a:lnTo>
                  <a:lnTo>
                    <a:pt x="6" y="775"/>
                  </a:lnTo>
                  <a:lnTo>
                    <a:pt x="8" y="782"/>
                  </a:lnTo>
                  <a:lnTo>
                    <a:pt x="11" y="787"/>
                  </a:lnTo>
                  <a:lnTo>
                    <a:pt x="16" y="792"/>
                  </a:lnTo>
                  <a:lnTo>
                    <a:pt x="20" y="796"/>
                  </a:lnTo>
                  <a:lnTo>
                    <a:pt x="25" y="801"/>
                  </a:lnTo>
                  <a:lnTo>
                    <a:pt x="30" y="805"/>
                  </a:lnTo>
                  <a:lnTo>
                    <a:pt x="35" y="809"/>
                  </a:lnTo>
                  <a:lnTo>
                    <a:pt x="42" y="811"/>
                  </a:lnTo>
                  <a:lnTo>
                    <a:pt x="47" y="813"/>
                  </a:lnTo>
                  <a:lnTo>
                    <a:pt x="54" y="815"/>
                  </a:lnTo>
                  <a:lnTo>
                    <a:pt x="61" y="817"/>
                  </a:lnTo>
                  <a:lnTo>
                    <a:pt x="68" y="817"/>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58" name="Freeform 814"/>
            <p:cNvSpPr>
              <a:spLocks/>
            </p:cNvSpPr>
            <p:nvPr/>
          </p:nvSpPr>
          <p:spPr bwMode="auto">
            <a:xfrm>
              <a:off x="5129" y="1706"/>
              <a:ext cx="430" cy="198"/>
            </a:xfrm>
            <a:custGeom>
              <a:avLst/>
              <a:gdLst>
                <a:gd name="T0" fmla="*/ 136 w 1290"/>
                <a:gd name="T1" fmla="*/ 48 h 817"/>
                <a:gd name="T2" fmla="*/ 137 w 1290"/>
                <a:gd name="T3" fmla="*/ 48 h 817"/>
                <a:gd name="T4" fmla="*/ 139 w 1290"/>
                <a:gd name="T5" fmla="*/ 48 h 817"/>
                <a:gd name="T6" fmla="*/ 140 w 1290"/>
                <a:gd name="T7" fmla="*/ 47 h 817"/>
                <a:gd name="T8" fmla="*/ 141 w 1290"/>
                <a:gd name="T9" fmla="*/ 47 h 817"/>
                <a:gd name="T10" fmla="*/ 142 w 1290"/>
                <a:gd name="T11" fmla="*/ 46 h 817"/>
                <a:gd name="T12" fmla="*/ 143 w 1290"/>
                <a:gd name="T13" fmla="*/ 46 h 817"/>
                <a:gd name="T14" fmla="*/ 143 w 1290"/>
                <a:gd name="T15" fmla="*/ 45 h 817"/>
                <a:gd name="T16" fmla="*/ 143 w 1290"/>
                <a:gd name="T17" fmla="*/ 44 h 817"/>
                <a:gd name="T18" fmla="*/ 143 w 1290"/>
                <a:gd name="T19" fmla="*/ 4 h 817"/>
                <a:gd name="T20" fmla="*/ 143 w 1290"/>
                <a:gd name="T21" fmla="*/ 3 h 817"/>
                <a:gd name="T22" fmla="*/ 143 w 1290"/>
                <a:gd name="T23" fmla="*/ 2 h 817"/>
                <a:gd name="T24" fmla="*/ 142 w 1290"/>
                <a:gd name="T25" fmla="*/ 2 h 817"/>
                <a:gd name="T26" fmla="*/ 141 w 1290"/>
                <a:gd name="T27" fmla="*/ 1 h 817"/>
                <a:gd name="T28" fmla="*/ 140 w 1290"/>
                <a:gd name="T29" fmla="*/ 1 h 817"/>
                <a:gd name="T30" fmla="*/ 139 w 1290"/>
                <a:gd name="T31" fmla="*/ 0 h 817"/>
                <a:gd name="T32" fmla="*/ 137 w 1290"/>
                <a:gd name="T33" fmla="*/ 0 h 817"/>
                <a:gd name="T34" fmla="*/ 136 w 1290"/>
                <a:gd name="T35" fmla="*/ 0 h 817"/>
                <a:gd name="T36" fmla="*/ 7 w 1290"/>
                <a:gd name="T37" fmla="*/ 0 h 817"/>
                <a:gd name="T38" fmla="*/ 5 w 1290"/>
                <a:gd name="T39" fmla="*/ 0 h 817"/>
                <a:gd name="T40" fmla="*/ 4 w 1290"/>
                <a:gd name="T41" fmla="*/ 0 h 817"/>
                <a:gd name="T42" fmla="*/ 3 w 1290"/>
                <a:gd name="T43" fmla="*/ 1 h 817"/>
                <a:gd name="T44" fmla="*/ 2 w 1290"/>
                <a:gd name="T45" fmla="*/ 1 h 817"/>
                <a:gd name="T46" fmla="*/ 1 w 1290"/>
                <a:gd name="T47" fmla="*/ 2 h 817"/>
                <a:gd name="T48" fmla="*/ 0 w 1290"/>
                <a:gd name="T49" fmla="*/ 3 h 817"/>
                <a:gd name="T50" fmla="*/ 0 w 1290"/>
                <a:gd name="T51" fmla="*/ 4 h 817"/>
                <a:gd name="T52" fmla="*/ 0 w 1290"/>
                <a:gd name="T53" fmla="*/ 44 h 817"/>
                <a:gd name="T54" fmla="*/ 0 w 1290"/>
                <a:gd name="T55" fmla="*/ 45 h 817"/>
                <a:gd name="T56" fmla="*/ 1 w 1290"/>
                <a:gd name="T57" fmla="*/ 46 h 817"/>
                <a:gd name="T58" fmla="*/ 1 w 1290"/>
                <a:gd name="T59" fmla="*/ 46 h 817"/>
                <a:gd name="T60" fmla="*/ 2 w 1290"/>
                <a:gd name="T61" fmla="*/ 47 h 817"/>
                <a:gd name="T62" fmla="*/ 3 w 1290"/>
                <a:gd name="T63" fmla="*/ 47 h 817"/>
                <a:gd name="T64" fmla="*/ 5 w 1290"/>
                <a:gd name="T65" fmla="*/ 48 h 817"/>
                <a:gd name="T66" fmla="*/ 6 w 1290"/>
                <a:gd name="T67" fmla="*/ 48 h 817"/>
                <a:gd name="T68" fmla="*/ 8 w 1290"/>
                <a:gd name="T69" fmla="*/ 48 h 8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0"/>
                <a:gd name="T106" fmla="*/ 0 h 817"/>
                <a:gd name="T107" fmla="*/ 1290 w 1290"/>
                <a:gd name="T108" fmla="*/ 817 h 8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0" h="817">
                  <a:moveTo>
                    <a:pt x="68" y="817"/>
                  </a:moveTo>
                  <a:lnTo>
                    <a:pt x="1223" y="817"/>
                  </a:lnTo>
                  <a:lnTo>
                    <a:pt x="1229" y="817"/>
                  </a:lnTo>
                  <a:lnTo>
                    <a:pt x="1236" y="815"/>
                  </a:lnTo>
                  <a:lnTo>
                    <a:pt x="1242" y="813"/>
                  </a:lnTo>
                  <a:lnTo>
                    <a:pt x="1249" y="811"/>
                  </a:lnTo>
                  <a:lnTo>
                    <a:pt x="1254" y="809"/>
                  </a:lnTo>
                  <a:lnTo>
                    <a:pt x="1260" y="805"/>
                  </a:lnTo>
                  <a:lnTo>
                    <a:pt x="1266" y="801"/>
                  </a:lnTo>
                  <a:lnTo>
                    <a:pt x="1270" y="796"/>
                  </a:lnTo>
                  <a:lnTo>
                    <a:pt x="1275" y="792"/>
                  </a:lnTo>
                  <a:lnTo>
                    <a:pt x="1278" y="787"/>
                  </a:lnTo>
                  <a:lnTo>
                    <a:pt x="1281" y="782"/>
                  </a:lnTo>
                  <a:lnTo>
                    <a:pt x="1285" y="775"/>
                  </a:lnTo>
                  <a:lnTo>
                    <a:pt x="1287" y="769"/>
                  </a:lnTo>
                  <a:lnTo>
                    <a:pt x="1288" y="762"/>
                  </a:lnTo>
                  <a:lnTo>
                    <a:pt x="1289" y="756"/>
                  </a:lnTo>
                  <a:lnTo>
                    <a:pt x="1290" y="749"/>
                  </a:lnTo>
                  <a:lnTo>
                    <a:pt x="1290" y="68"/>
                  </a:lnTo>
                  <a:lnTo>
                    <a:pt x="1289" y="60"/>
                  </a:lnTo>
                  <a:lnTo>
                    <a:pt x="1288" y="54"/>
                  </a:lnTo>
                  <a:lnTo>
                    <a:pt x="1287" y="48"/>
                  </a:lnTo>
                  <a:lnTo>
                    <a:pt x="1285" y="41"/>
                  </a:lnTo>
                  <a:lnTo>
                    <a:pt x="1281" y="36"/>
                  </a:lnTo>
                  <a:lnTo>
                    <a:pt x="1278" y="30"/>
                  </a:lnTo>
                  <a:lnTo>
                    <a:pt x="1275" y="24"/>
                  </a:lnTo>
                  <a:lnTo>
                    <a:pt x="1270" y="20"/>
                  </a:lnTo>
                  <a:lnTo>
                    <a:pt x="1266" y="15"/>
                  </a:lnTo>
                  <a:lnTo>
                    <a:pt x="1260" y="12"/>
                  </a:lnTo>
                  <a:lnTo>
                    <a:pt x="1254" y="8"/>
                  </a:lnTo>
                  <a:lnTo>
                    <a:pt x="1249" y="5"/>
                  </a:lnTo>
                  <a:lnTo>
                    <a:pt x="1242" y="3"/>
                  </a:lnTo>
                  <a:lnTo>
                    <a:pt x="1236" y="2"/>
                  </a:lnTo>
                  <a:lnTo>
                    <a:pt x="1229" y="0"/>
                  </a:lnTo>
                  <a:lnTo>
                    <a:pt x="1223" y="0"/>
                  </a:lnTo>
                  <a:lnTo>
                    <a:pt x="68" y="0"/>
                  </a:lnTo>
                  <a:lnTo>
                    <a:pt x="61" y="0"/>
                  </a:lnTo>
                  <a:lnTo>
                    <a:pt x="54" y="2"/>
                  </a:lnTo>
                  <a:lnTo>
                    <a:pt x="47" y="3"/>
                  </a:lnTo>
                  <a:lnTo>
                    <a:pt x="42" y="5"/>
                  </a:lnTo>
                  <a:lnTo>
                    <a:pt x="35" y="8"/>
                  </a:lnTo>
                  <a:lnTo>
                    <a:pt x="30" y="12"/>
                  </a:lnTo>
                  <a:lnTo>
                    <a:pt x="25" y="15"/>
                  </a:lnTo>
                  <a:lnTo>
                    <a:pt x="20" y="20"/>
                  </a:lnTo>
                  <a:lnTo>
                    <a:pt x="16" y="24"/>
                  </a:lnTo>
                  <a:lnTo>
                    <a:pt x="11" y="30"/>
                  </a:lnTo>
                  <a:lnTo>
                    <a:pt x="8" y="36"/>
                  </a:lnTo>
                  <a:lnTo>
                    <a:pt x="6" y="41"/>
                  </a:lnTo>
                  <a:lnTo>
                    <a:pt x="3" y="48"/>
                  </a:lnTo>
                  <a:lnTo>
                    <a:pt x="1" y="54"/>
                  </a:lnTo>
                  <a:lnTo>
                    <a:pt x="0" y="60"/>
                  </a:lnTo>
                  <a:lnTo>
                    <a:pt x="0" y="68"/>
                  </a:lnTo>
                  <a:lnTo>
                    <a:pt x="0" y="749"/>
                  </a:lnTo>
                  <a:lnTo>
                    <a:pt x="0" y="756"/>
                  </a:lnTo>
                  <a:lnTo>
                    <a:pt x="1" y="762"/>
                  </a:lnTo>
                  <a:lnTo>
                    <a:pt x="3" y="769"/>
                  </a:lnTo>
                  <a:lnTo>
                    <a:pt x="6" y="775"/>
                  </a:lnTo>
                  <a:lnTo>
                    <a:pt x="8" y="782"/>
                  </a:lnTo>
                  <a:lnTo>
                    <a:pt x="11" y="787"/>
                  </a:lnTo>
                  <a:lnTo>
                    <a:pt x="16" y="792"/>
                  </a:lnTo>
                  <a:lnTo>
                    <a:pt x="20" y="796"/>
                  </a:lnTo>
                  <a:lnTo>
                    <a:pt x="25" y="801"/>
                  </a:lnTo>
                  <a:lnTo>
                    <a:pt x="30" y="805"/>
                  </a:lnTo>
                  <a:lnTo>
                    <a:pt x="35" y="809"/>
                  </a:lnTo>
                  <a:lnTo>
                    <a:pt x="42" y="811"/>
                  </a:lnTo>
                  <a:lnTo>
                    <a:pt x="47" y="813"/>
                  </a:lnTo>
                  <a:lnTo>
                    <a:pt x="54" y="815"/>
                  </a:lnTo>
                  <a:lnTo>
                    <a:pt x="61" y="817"/>
                  </a:lnTo>
                  <a:lnTo>
                    <a:pt x="68" y="817"/>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59" name="Rectangle 815"/>
            <p:cNvSpPr>
              <a:spLocks noChangeArrowheads="1"/>
            </p:cNvSpPr>
            <p:nvPr/>
          </p:nvSpPr>
          <p:spPr bwMode="auto">
            <a:xfrm>
              <a:off x="5169" y="1769"/>
              <a:ext cx="17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venue </a:t>
              </a:r>
              <a:endParaRPr lang="en-US" sz="1800" b="0" kern="0" baseline="0">
                <a:solidFill>
                  <a:sysClr val="windowText" lastClr="000000"/>
                </a:solidFill>
                <a:latin typeface="Arial" charset="0"/>
                <a:ea typeface="ＭＳ Ｐゴシック"/>
                <a:cs typeface="ＭＳ Ｐゴシック"/>
              </a:endParaRPr>
            </a:p>
          </p:txBody>
        </p:sp>
        <p:sp>
          <p:nvSpPr>
            <p:cNvPr id="260" name="Rectangle 816"/>
            <p:cNvSpPr>
              <a:spLocks noChangeArrowheads="1"/>
            </p:cNvSpPr>
            <p:nvPr/>
          </p:nvSpPr>
          <p:spPr bwMode="auto">
            <a:xfrm>
              <a:off x="5341" y="1769"/>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261" name="Rectangle 817"/>
            <p:cNvSpPr>
              <a:spLocks noChangeArrowheads="1"/>
            </p:cNvSpPr>
            <p:nvPr/>
          </p:nvSpPr>
          <p:spPr bwMode="auto">
            <a:xfrm>
              <a:off x="5379" y="1769"/>
              <a:ext cx="14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oduct </a:t>
              </a:r>
              <a:endParaRPr lang="en-US" sz="1800" b="0" kern="0" baseline="0">
                <a:solidFill>
                  <a:sysClr val="windowText" lastClr="000000"/>
                </a:solidFill>
                <a:latin typeface="Arial" charset="0"/>
                <a:ea typeface="ＭＳ Ｐゴシック"/>
                <a:cs typeface="ＭＳ Ｐゴシック"/>
              </a:endParaRPr>
            </a:p>
          </p:txBody>
        </p:sp>
        <p:sp>
          <p:nvSpPr>
            <p:cNvPr id="262" name="Rectangle 818"/>
            <p:cNvSpPr>
              <a:spLocks noChangeArrowheads="1"/>
            </p:cNvSpPr>
            <p:nvPr/>
          </p:nvSpPr>
          <p:spPr bwMode="auto">
            <a:xfrm>
              <a:off x="5226" y="1805"/>
              <a:ext cx="23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ment</a:t>
              </a:r>
              <a:endParaRPr lang="en-US" sz="1800" b="0" kern="0" baseline="0">
                <a:solidFill>
                  <a:sysClr val="windowText" lastClr="000000"/>
                </a:solidFill>
                <a:latin typeface="Arial" charset="0"/>
                <a:ea typeface="ＭＳ Ｐゴシック"/>
                <a:cs typeface="ＭＳ Ｐゴシック"/>
              </a:endParaRPr>
            </a:p>
          </p:txBody>
        </p:sp>
        <p:sp>
          <p:nvSpPr>
            <p:cNvPr id="263" name="Freeform 819"/>
            <p:cNvSpPr>
              <a:spLocks/>
            </p:cNvSpPr>
            <p:nvPr/>
          </p:nvSpPr>
          <p:spPr bwMode="auto">
            <a:xfrm>
              <a:off x="5129" y="1981"/>
              <a:ext cx="430" cy="198"/>
            </a:xfrm>
            <a:custGeom>
              <a:avLst/>
              <a:gdLst>
                <a:gd name="T0" fmla="*/ 136 w 1290"/>
                <a:gd name="T1" fmla="*/ 48 h 816"/>
                <a:gd name="T2" fmla="*/ 137 w 1290"/>
                <a:gd name="T3" fmla="*/ 48 h 816"/>
                <a:gd name="T4" fmla="*/ 139 w 1290"/>
                <a:gd name="T5" fmla="*/ 48 h 816"/>
                <a:gd name="T6" fmla="*/ 140 w 1290"/>
                <a:gd name="T7" fmla="*/ 47 h 816"/>
                <a:gd name="T8" fmla="*/ 141 w 1290"/>
                <a:gd name="T9" fmla="*/ 47 h 816"/>
                <a:gd name="T10" fmla="*/ 142 w 1290"/>
                <a:gd name="T11" fmla="*/ 46 h 816"/>
                <a:gd name="T12" fmla="*/ 143 w 1290"/>
                <a:gd name="T13" fmla="*/ 46 h 816"/>
                <a:gd name="T14" fmla="*/ 143 w 1290"/>
                <a:gd name="T15" fmla="*/ 45 h 816"/>
                <a:gd name="T16" fmla="*/ 143 w 1290"/>
                <a:gd name="T17" fmla="*/ 44 h 816"/>
                <a:gd name="T18" fmla="*/ 143 w 1290"/>
                <a:gd name="T19" fmla="*/ 4 h 816"/>
                <a:gd name="T20" fmla="*/ 143 w 1290"/>
                <a:gd name="T21" fmla="*/ 3 h 816"/>
                <a:gd name="T22" fmla="*/ 143 w 1290"/>
                <a:gd name="T23" fmla="*/ 2 h 816"/>
                <a:gd name="T24" fmla="*/ 142 w 1290"/>
                <a:gd name="T25" fmla="*/ 2 h 816"/>
                <a:gd name="T26" fmla="*/ 141 w 1290"/>
                <a:gd name="T27" fmla="*/ 1 h 816"/>
                <a:gd name="T28" fmla="*/ 140 w 1290"/>
                <a:gd name="T29" fmla="*/ 1 h 816"/>
                <a:gd name="T30" fmla="*/ 139 w 1290"/>
                <a:gd name="T31" fmla="*/ 0 h 816"/>
                <a:gd name="T32" fmla="*/ 137 w 1290"/>
                <a:gd name="T33" fmla="*/ 0 h 816"/>
                <a:gd name="T34" fmla="*/ 136 w 1290"/>
                <a:gd name="T35" fmla="*/ 0 h 816"/>
                <a:gd name="T36" fmla="*/ 7 w 1290"/>
                <a:gd name="T37" fmla="*/ 0 h 816"/>
                <a:gd name="T38" fmla="*/ 5 w 1290"/>
                <a:gd name="T39" fmla="*/ 0 h 816"/>
                <a:gd name="T40" fmla="*/ 4 w 1290"/>
                <a:gd name="T41" fmla="*/ 0 h 816"/>
                <a:gd name="T42" fmla="*/ 3 w 1290"/>
                <a:gd name="T43" fmla="*/ 1 h 816"/>
                <a:gd name="T44" fmla="*/ 2 w 1290"/>
                <a:gd name="T45" fmla="*/ 1 h 816"/>
                <a:gd name="T46" fmla="*/ 1 w 1290"/>
                <a:gd name="T47" fmla="*/ 2 h 816"/>
                <a:gd name="T48" fmla="*/ 0 w 1290"/>
                <a:gd name="T49" fmla="*/ 3 h 816"/>
                <a:gd name="T50" fmla="*/ 0 w 1290"/>
                <a:gd name="T51" fmla="*/ 4 h 816"/>
                <a:gd name="T52" fmla="*/ 0 w 1290"/>
                <a:gd name="T53" fmla="*/ 44 h 816"/>
                <a:gd name="T54" fmla="*/ 0 w 1290"/>
                <a:gd name="T55" fmla="*/ 45 h 816"/>
                <a:gd name="T56" fmla="*/ 1 w 1290"/>
                <a:gd name="T57" fmla="*/ 46 h 816"/>
                <a:gd name="T58" fmla="*/ 1 w 1290"/>
                <a:gd name="T59" fmla="*/ 46 h 816"/>
                <a:gd name="T60" fmla="*/ 2 w 1290"/>
                <a:gd name="T61" fmla="*/ 47 h 816"/>
                <a:gd name="T62" fmla="*/ 3 w 1290"/>
                <a:gd name="T63" fmla="*/ 47 h 816"/>
                <a:gd name="T64" fmla="*/ 5 w 1290"/>
                <a:gd name="T65" fmla="*/ 48 h 816"/>
                <a:gd name="T66" fmla="*/ 6 w 1290"/>
                <a:gd name="T67" fmla="*/ 48 h 816"/>
                <a:gd name="T68" fmla="*/ 8 w 1290"/>
                <a:gd name="T69" fmla="*/ 48 h 8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0"/>
                <a:gd name="T106" fmla="*/ 0 h 816"/>
                <a:gd name="T107" fmla="*/ 1290 w 1290"/>
                <a:gd name="T108" fmla="*/ 816 h 8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0" h="816">
                  <a:moveTo>
                    <a:pt x="68" y="816"/>
                  </a:moveTo>
                  <a:lnTo>
                    <a:pt x="1223" y="816"/>
                  </a:lnTo>
                  <a:lnTo>
                    <a:pt x="1229" y="816"/>
                  </a:lnTo>
                  <a:lnTo>
                    <a:pt x="1236" y="815"/>
                  </a:lnTo>
                  <a:lnTo>
                    <a:pt x="1242" y="813"/>
                  </a:lnTo>
                  <a:lnTo>
                    <a:pt x="1249" y="811"/>
                  </a:lnTo>
                  <a:lnTo>
                    <a:pt x="1254" y="808"/>
                  </a:lnTo>
                  <a:lnTo>
                    <a:pt x="1260" y="805"/>
                  </a:lnTo>
                  <a:lnTo>
                    <a:pt x="1266" y="800"/>
                  </a:lnTo>
                  <a:lnTo>
                    <a:pt x="1270" y="796"/>
                  </a:lnTo>
                  <a:lnTo>
                    <a:pt x="1275" y="791"/>
                  </a:lnTo>
                  <a:lnTo>
                    <a:pt x="1278" y="787"/>
                  </a:lnTo>
                  <a:lnTo>
                    <a:pt x="1281" y="781"/>
                  </a:lnTo>
                  <a:lnTo>
                    <a:pt x="1285" y="774"/>
                  </a:lnTo>
                  <a:lnTo>
                    <a:pt x="1287" y="769"/>
                  </a:lnTo>
                  <a:lnTo>
                    <a:pt x="1288" y="762"/>
                  </a:lnTo>
                  <a:lnTo>
                    <a:pt x="1289" y="755"/>
                  </a:lnTo>
                  <a:lnTo>
                    <a:pt x="1290" y="748"/>
                  </a:lnTo>
                  <a:lnTo>
                    <a:pt x="1290" y="68"/>
                  </a:lnTo>
                  <a:lnTo>
                    <a:pt x="1289" y="60"/>
                  </a:lnTo>
                  <a:lnTo>
                    <a:pt x="1288" y="53"/>
                  </a:lnTo>
                  <a:lnTo>
                    <a:pt x="1287" y="48"/>
                  </a:lnTo>
                  <a:lnTo>
                    <a:pt x="1285" y="41"/>
                  </a:lnTo>
                  <a:lnTo>
                    <a:pt x="1281" y="35"/>
                  </a:lnTo>
                  <a:lnTo>
                    <a:pt x="1278" y="30"/>
                  </a:lnTo>
                  <a:lnTo>
                    <a:pt x="1275" y="24"/>
                  </a:lnTo>
                  <a:lnTo>
                    <a:pt x="1270" y="19"/>
                  </a:lnTo>
                  <a:lnTo>
                    <a:pt x="1266" y="15"/>
                  </a:lnTo>
                  <a:lnTo>
                    <a:pt x="1260" y="11"/>
                  </a:lnTo>
                  <a:lnTo>
                    <a:pt x="1254" y="8"/>
                  </a:lnTo>
                  <a:lnTo>
                    <a:pt x="1249" y="5"/>
                  </a:lnTo>
                  <a:lnTo>
                    <a:pt x="1242" y="2"/>
                  </a:lnTo>
                  <a:lnTo>
                    <a:pt x="1236" y="1"/>
                  </a:lnTo>
                  <a:lnTo>
                    <a:pt x="1229" y="0"/>
                  </a:lnTo>
                  <a:lnTo>
                    <a:pt x="1223" y="0"/>
                  </a:lnTo>
                  <a:lnTo>
                    <a:pt x="68" y="0"/>
                  </a:lnTo>
                  <a:lnTo>
                    <a:pt x="61" y="0"/>
                  </a:lnTo>
                  <a:lnTo>
                    <a:pt x="54" y="1"/>
                  </a:lnTo>
                  <a:lnTo>
                    <a:pt x="47" y="2"/>
                  </a:lnTo>
                  <a:lnTo>
                    <a:pt x="42" y="5"/>
                  </a:lnTo>
                  <a:lnTo>
                    <a:pt x="35" y="8"/>
                  </a:lnTo>
                  <a:lnTo>
                    <a:pt x="30" y="11"/>
                  </a:lnTo>
                  <a:lnTo>
                    <a:pt x="25" y="15"/>
                  </a:lnTo>
                  <a:lnTo>
                    <a:pt x="20" y="19"/>
                  </a:lnTo>
                  <a:lnTo>
                    <a:pt x="16" y="24"/>
                  </a:lnTo>
                  <a:lnTo>
                    <a:pt x="11" y="30"/>
                  </a:lnTo>
                  <a:lnTo>
                    <a:pt x="8" y="35"/>
                  </a:lnTo>
                  <a:lnTo>
                    <a:pt x="6" y="41"/>
                  </a:lnTo>
                  <a:lnTo>
                    <a:pt x="3" y="48"/>
                  </a:lnTo>
                  <a:lnTo>
                    <a:pt x="1" y="53"/>
                  </a:lnTo>
                  <a:lnTo>
                    <a:pt x="0" y="60"/>
                  </a:lnTo>
                  <a:lnTo>
                    <a:pt x="0" y="68"/>
                  </a:lnTo>
                  <a:lnTo>
                    <a:pt x="0" y="748"/>
                  </a:lnTo>
                  <a:lnTo>
                    <a:pt x="0" y="755"/>
                  </a:lnTo>
                  <a:lnTo>
                    <a:pt x="1" y="762"/>
                  </a:lnTo>
                  <a:lnTo>
                    <a:pt x="3" y="769"/>
                  </a:lnTo>
                  <a:lnTo>
                    <a:pt x="6" y="774"/>
                  </a:lnTo>
                  <a:lnTo>
                    <a:pt x="8" y="781"/>
                  </a:lnTo>
                  <a:lnTo>
                    <a:pt x="11" y="787"/>
                  </a:lnTo>
                  <a:lnTo>
                    <a:pt x="16" y="791"/>
                  </a:lnTo>
                  <a:lnTo>
                    <a:pt x="20" y="796"/>
                  </a:lnTo>
                  <a:lnTo>
                    <a:pt x="25" y="800"/>
                  </a:lnTo>
                  <a:lnTo>
                    <a:pt x="30" y="805"/>
                  </a:lnTo>
                  <a:lnTo>
                    <a:pt x="35" y="808"/>
                  </a:lnTo>
                  <a:lnTo>
                    <a:pt x="42" y="811"/>
                  </a:lnTo>
                  <a:lnTo>
                    <a:pt x="47" y="813"/>
                  </a:lnTo>
                  <a:lnTo>
                    <a:pt x="54" y="815"/>
                  </a:lnTo>
                  <a:lnTo>
                    <a:pt x="61" y="816"/>
                  </a:lnTo>
                  <a:lnTo>
                    <a:pt x="68" y="816"/>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64" name="Freeform 820"/>
            <p:cNvSpPr>
              <a:spLocks/>
            </p:cNvSpPr>
            <p:nvPr/>
          </p:nvSpPr>
          <p:spPr bwMode="auto">
            <a:xfrm>
              <a:off x="5129" y="1981"/>
              <a:ext cx="430" cy="198"/>
            </a:xfrm>
            <a:custGeom>
              <a:avLst/>
              <a:gdLst>
                <a:gd name="T0" fmla="*/ 136 w 1290"/>
                <a:gd name="T1" fmla="*/ 48 h 816"/>
                <a:gd name="T2" fmla="*/ 137 w 1290"/>
                <a:gd name="T3" fmla="*/ 48 h 816"/>
                <a:gd name="T4" fmla="*/ 139 w 1290"/>
                <a:gd name="T5" fmla="*/ 48 h 816"/>
                <a:gd name="T6" fmla="*/ 140 w 1290"/>
                <a:gd name="T7" fmla="*/ 47 h 816"/>
                <a:gd name="T8" fmla="*/ 141 w 1290"/>
                <a:gd name="T9" fmla="*/ 47 h 816"/>
                <a:gd name="T10" fmla="*/ 142 w 1290"/>
                <a:gd name="T11" fmla="*/ 46 h 816"/>
                <a:gd name="T12" fmla="*/ 143 w 1290"/>
                <a:gd name="T13" fmla="*/ 46 h 816"/>
                <a:gd name="T14" fmla="*/ 143 w 1290"/>
                <a:gd name="T15" fmla="*/ 45 h 816"/>
                <a:gd name="T16" fmla="*/ 143 w 1290"/>
                <a:gd name="T17" fmla="*/ 44 h 816"/>
                <a:gd name="T18" fmla="*/ 143 w 1290"/>
                <a:gd name="T19" fmla="*/ 4 h 816"/>
                <a:gd name="T20" fmla="*/ 143 w 1290"/>
                <a:gd name="T21" fmla="*/ 3 h 816"/>
                <a:gd name="T22" fmla="*/ 143 w 1290"/>
                <a:gd name="T23" fmla="*/ 2 h 816"/>
                <a:gd name="T24" fmla="*/ 142 w 1290"/>
                <a:gd name="T25" fmla="*/ 2 h 816"/>
                <a:gd name="T26" fmla="*/ 141 w 1290"/>
                <a:gd name="T27" fmla="*/ 1 h 816"/>
                <a:gd name="T28" fmla="*/ 140 w 1290"/>
                <a:gd name="T29" fmla="*/ 1 h 816"/>
                <a:gd name="T30" fmla="*/ 139 w 1290"/>
                <a:gd name="T31" fmla="*/ 0 h 816"/>
                <a:gd name="T32" fmla="*/ 137 w 1290"/>
                <a:gd name="T33" fmla="*/ 0 h 816"/>
                <a:gd name="T34" fmla="*/ 136 w 1290"/>
                <a:gd name="T35" fmla="*/ 0 h 816"/>
                <a:gd name="T36" fmla="*/ 7 w 1290"/>
                <a:gd name="T37" fmla="*/ 0 h 816"/>
                <a:gd name="T38" fmla="*/ 5 w 1290"/>
                <a:gd name="T39" fmla="*/ 0 h 816"/>
                <a:gd name="T40" fmla="*/ 4 w 1290"/>
                <a:gd name="T41" fmla="*/ 0 h 816"/>
                <a:gd name="T42" fmla="*/ 3 w 1290"/>
                <a:gd name="T43" fmla="*/ 1 h 816"/>
                <a:gd name="T44" fmla="*/ 2 w 1290"/>
                <a:gd name="T45" fmla="*/ 1 h 816"/>
                <a:gd name="T46" fmla="*/ 1 w 1290"/>
                <a:gd name="T47" fmla="*/ 2 h 816"/>
                <a:gd name="T48" fmla="*/ 0 w 1290"/>
                <a:gd name="T49" fmla="*/ 3 h 816"/>
                <a:gd name="T50" fmla="*/ 0 w 1290"/>
                <a:gd name="T51" fmla="*/ 4 h 816"/>
                <a:gd name="T52" fmla="*/ 0 w 1290"/>
                <a:gd name="T53" fmla="*/ 44 h 816"/>
                <a:gd name="T54" fmla="*/ 0 w 1290"/>
                <a:gd name="T55" fmla="*/ 45 h 816"/>
                <a:gd name="T56" fmla="*/ 1 w 1290"/>
                <a:gd name="T57" fmla="*/ 46 h 816"/>
                <a:gd name="T58" fmla="*/ 1 w 1290"/>
                <a:gd name="T59" fmla="*/ 46 h 816"/>
                <a:gd name="T60" fmla="*/ 2 w 1290"/>
                <a:gd name="T61" fmla="*/ 47 h 816"/>
                <a:gd name="T62" fmla="*/ 3 w 1290"/>
                <a:gd name="T63" fmla="*/ 47 h 816"/>
                <a:gd name="T64" fmla="*/ 5 w 1290"/>
                <a:gd name="T65" fmla="*/ 48 h 816"/>
                <a:gd name="T66" fmla="*/ 6 w 1290"/>
                <a:gd name="T67" fmla="*/ 48 h 816"/>
                <a:gd name="T68" fmla="*/ 8 w 1290"/>
                <a:gd name="T69" fmla="*/ 48 h 8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0"/>
                <a:gd name="T106" fmla="*/ 0 h 816"/>
                <a:gd name="T107" fmla="*/ 1290 w 1290"/>
                <a:gd name="T108" fmla="*/ 816 h 8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0" h="816">
                  <a:moveTo>
                    <a:pt x="68" y="816"/>
                  </a:moveTo>
                  <a:lnTo>
                    <a:pt x="1223" y="816"/>
                  </a:lnTo>
                  <a:lnTo>
                    <a:pt x="1229" y="816"/>
                  </a:lnTo>
                  <a:lnTo>
                    <a:pt x="1236" y="815"/>
                  </a:lnTo>
                  <a:lnTo>
                    <a:pt x="1242" y="813"/>
                  </a:lnTo>
                  <a:lnTo>
                    <a:pt x="1249" y="811"/>
                  </a:lnTo>
                  <a:lnTo>
                    <a:pt x="1254" y="808"/>
                  </a:lnTo>
                  <a:lnTo>
                    <a:pt x="1260" y="805"/>
                  </a:lnTo>
                  <a:lnTo>
                    <a:pt x="1266" y="800"/>
                  </a:lnTo>
                  <a:lnTo>
                    <a:pt x="1270" y="796"/>
                  </a:lnTo>
                  <a:lnTo>
                    <a:pt x="1275" y="791"/>
                  </a:lnTo>
                  <a:lnTo>
                    <a:pt x="1278" y="787"/>
                  </a:lnTo>
                  <a:lnTo>
                    <a:pt x="1281" y="781"/>
                  </a:lnTo>
                  <a:lnTo>
                    <a:pt x="1285" y="774"/>
                  </a:lnTo>
                  <a:lnTo>
                    <a:pt x="1287" y="769"/>
                  </a:lnTo>
                  <a:lnTo>
                    <a:pt x="1288" y="762"/>
                  </a:lnTo>
                  <a:lnTo>
                    <a:pt x="1289" y="755"/>
                  </a:lnTo>
                  <a:lnTo>
                    <a:pt x="1290" y="748"/>
                  </a:lnTo>
                  <a:lnTo>
                    <a:pt x="1290" y="68"/>
                  </a:lnTo>
                  <a:lnTo>
                    <a:pt x="1289" y="60"/>
                  </a:lnTo>
                  <a:lnTo>
                    <a:pt x="1288" y="53"/>
                  </a:lnTo>
                  <a:lnTo>
                    <a:pt x="1287" y="48"/>
                  </a:lnTo>
                  <a:lnTo>
                    <a:pt x="1285" y="41"/>
                  </a:lnTo>
                  <a:lnTo>
                    <a:pt x="1281" y="35"/>
                  </a:lnTo>
                  <a:lnTo>
                    <a:pt x="1278" y="30"/>
                  </a:lnTo>
                  <a:lnTo>
                    <a:pt x="1275" y="24"/>
                  </a:lnTo>
                  <a:lnTo>
                    <a:pt x="1270" y="19"/>
                  </a:lnTo>
                  <a:lnTo>
                    <a:pt x="1266" y="15"/>
                  </a:lnTo>
                  <a:lnTo>
                    <a:pt x="1260" y="11"/>
                  </a:lnTo>
                  <a:lnTo>
                    <a:pt x="1254" y="8"/>
                  </a:lnTo>
                  <a:lnTo>
                    <a:pt x="1249" y="5"/>
                  </a:lnTo>
                  <a:lnTo>
                    <a:pt x="1242" y="2"/>
                  </a:lnTo>
                  <a:lnTo>
                    <a:pt x="1236" y="1"/>
                  </a:lnTo>
                  <a:lnTo>
                    <a:pt x="1229" y="0"/>
                  </a:lnTo>
                  <a:lnTo>
                    <a:pt x="1223" y="0"/>
                  </a:lnTo>
                  <a:lnTo>
                    <a:pt x="68" y="0"/>
                  </a:lnTo>
                  <a:lnTo>
                    <a:pt x="61" y="0"/>
                  </a:lnTo>
                  <a:lnTo>
                    <a:pt x="54" y="1"/>
                  </a:lnTo>
                  <a:lnTo>
                    <a:pt x="47" y="2"/>
                  </a:lnTo>
                  <a:lnTo>
                    <a:pt x="42" y="5"/>
                  </a:lnTo>
                  <a:lnTo>
                    <a:pt x="35" y="8"/>
                  </a:lnTo>
                  <a:lnTo>
                    <a:pt x="30" y="11"/>
                  </a:lnTo>
                  <a:lnTo>
                    <a:pt x="25" y="15"/>
                  </a:lnTo>
                  <a:lnTo>
                    <a:pt x="20" y="19"/>
                  </a:lnTo>
                  <a:lnTo>
                    <a:pt x="16" y="24"/>
                  </a:lnTo>
                  <a:lnTo>
                    <a:pt x="11" y="30"/>
                  </a:lnTo>
                  <a:lnTo>
                    <a:pt x="8" y="35"/>
                  </a:lnTo>
                  <a:lnTo>
                    <a:pt x="6" y="41"/>
                  </a:lnTo>
                  <a:lnTo>
                    <a:pt x="3" y="48"/>
                  </a:lnTo>
                  <a:lnTo>
                    <a:pt x="1" y="53"/>
                  </a:lnTo>
                  <a:lnTo>
                    <a:pt x="0" y="60"/>
                  </a:lnTo>
                  <a:lnTo>
                    <a:pt x="0" y="68"/>
                  </a:lnTo>
                  <a:lnTo>
                    <a:pt x="0" y="748"/>
                  </a:lnTo>
                  <a:lnTo>
                    <a:pt x="0" y="755"/>
                  </a:lnTo>
                  <a:lnTo>
                    <a:pt x="1" y="762"/>
                  </a:lnTo>
                  <a:lnTo>
                    <a:pt x="3" y="769"/>
                  </a:lnTo>
                  <a:lnTo>
                    <a:pt x="6" y="774"/>
                  </a:lnTo>
                  <a:lnTo>
                    <a:pt x="8" y="781"/>
                  </a:lnTo>
                  <a:lnTo>
                    <a:pt x="11" y="787"/>
                  </a:lnTo>
                  <a:lnTo>
                    <a:pt x="16" y="791"/>
                  </a:lnTo>
                  <a:lnTo>
                    <a:pt x="20" y="796"/>
                  </a:lnTo>
                  <a:lnTo>
                    <a:pt x="25" y="800"/>
                  </a:lnTo>
                  <a:lnTo>
                    <a:pt x="30" y="805"/>
                  </a:lnTo>
                  <a:lnTo>
                    <a:pt x="35" y="808"/>
                  </a:lnTo>
                  <a:lnTo>
                    <a:pt x="42" y="811"/>
                  </a:lnTo>
                  <a:lnTo>
                    <a:pt x="47" y="813"/>
                  </a:lnTo>
                  <a:lnTo>
                    <a:pt x="54" y="815"/>
                  </a:lnTo>
                  <a:lnTo>
                    <a:pt x="61" y="816"/>
                  </a:lnTo>
                  <a:lnTo>
                    <a:pt x="68" y="816"/>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65" name="Rectangle 821"/>
            <p:cNvSpPr>
              <a:spLocks noChangeArrowheads="1"/>
            </p:cNvSpPr>
            <p:nvPr/>
          </p:nvSpPr>
          <p:spPr bwMode="auto">
            <a:xfrm>
              <a:off x="5202" y="2045"/>
              <a:ext cx="13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icing </a:t>
              </a:r>
              <a:endParaRPr lang="en-US" sz="1800" b="0" kern="0" baseline="0">
                <a:solidFill>
                  <a:sysClr val="windowText" lastClr="000000"/>
                </a:solidFill>
                <a:latin typeface="Arial" charset="0"/>
                <a:ea typeface="ＭＳ Ｐゴシック"/>
                <a:cs typeface="ＭＳ Ｐゴシック"/>
              </a:endParaRPr>
            </a:p>
          </p:txBody>
        </p:sp>
        <p:sp>
          <p:nvSpPr>
            <p:cNvPr id="266" name="Rectangle 822"/>
            <p:cNvSpPr>
              <a:spLocks noChangeArrowheads="1"/>
            </p:cNvSpPr>
            <p:nvPr/>
          </p:nvSpPr>
          <p:spPr bwMode="auto">
            <a:xfrm>
              <a:off x="5336" y="2045"/>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267" name="Rectangle 823"/>
            <p:cNvSpPr>
              <a:spLocks noChangeArrowheads="1"/>
            </p:cNvSpPr>
            <p:nvPr/>
          </p:nvSpPr>
          <p:spPr bwMode="auto">
            <a:xfrm>
              <a:off x="5374" y="2045"/>
              <a:ext cx="12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Tariffs </a:t>
              </a:r>
              <a:endParaRPr lang="en-US" sz="1800" b="0" kern="0" baseline="0">
                <a:solidFill>
                  <a:sysClr val="windowText" lastClr="000000"/>
                </a:solidFill>
                <a:latin typeface="Arial" charset="0"/>
                <a:ea typeface="ＭＳ Ｐゴシック"/>
                <a:cs typeface="ＭＳ Ｐゴシック"/>
              </a:endParaRPr>
            </a:p>
          </p:txBody>
        </p:sp>
        <p:sp>
          <p:nvSpPr>
            <p:cNvPr id="268" name="Rectangle 824"/>
            <p:cNvSpPr>
              <a:spLocks noChangeArrowheads="1"/>
            </p:cNvSpPr>
            <p:nvPr/>
          </p:nvSpPr>
          <p:spPr bwMode="auto">
            <a:xfrm>
              <a:off x="5226" y="2080"/>
              <a:ext cx="23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ment</a:t>
              </a:r>
              <a:endParaRPr lang="en-US" sz="1800" b="0" kern="0" baseline="0">
                <a:solidFill>
                  <a:sysClr val="windowText" lastClr="000000"/>
                </a:solidFill>
                <a:latin typeface="Arial" charset="0"/>
                <a:ea typeface="ＭＳ Ｐゴシック"/>
                <a:cs typeface="ＭＳ Ｐゴシック"/>
              </a:endParaRPr>
            </a:p>
          </p:txBody>
        </p:sp>
        <p:sp>
          <p:nvSpPr>
            <p:cNvPr id="269" name="Freeform 825"/>
            <p:cNvSpPr>
              <a:spLocks/>
            </p:cNvSpPr>
            <p:nvPr/>
          </p:nvSpPr>
          <p:spPr bwMode="auto">
            <a:xfrm>
              <a:off x="5129" y="1430"/>
              <a:ext cx="430" cy="199"/>
            </a:xfrm>
            <a:custGeom>
              <a:avLst/>
              <a:gdLst>
                <a:gd name="T0" fmla="*/ 136 w 1290"/>
                <a:gd name="T1" fmla="*/ 49 h 816"/>
                <a:gd name="T2" fmla="*/ 137 w 1290"/>
                <a:gd name="T3" fmla="*/ 49 h 816"/>
                <a:gd name="T4" fmla="*/ 139 w 1290"/>
                <a:gd name="T5" fmla="*/ 48 h 816"/>
                <a:gd name="T6" fmla="*/ 140 w 1290"/>
                <a:gd name="T7" fmla="*/ 48 h 816"/>
                <a:gd name="T8" fmla="*/ 141 w 1290"/>
                <a:gd name="T9" fmla="*/ 47 h 816"/>
                <a:gd name="T10" fmla="*/ 142 w 1290"/>
                <a:gd name="T11" fmla="*/ 47 h 816"/>
                <a:gd name="T12" fmla="*/ 143 w 1290"/>
                <a:gd name="T13" fmla="*/ 46 h 816"/>
                <a:gd name="T14" fmla="*/ 143 w 1290"/>
                <a:gd name="T15" fmla="*/ 45 h 816"/>
                <a:gd name="T16" fmla="*/ 143 w 1290"/>
                <a:gd name="T17" fmla="*/ 44 h 816"/>
                <a:gd name="T18" fmla="*/ 143 w 1290"/>
                <a:gd name="T19" fmla="*/ 4 h 816"/>
                <a:gd name="T20" fmla="*/ 143 w 1290"/>
                <a:gd name="T21" fmla="*/ 3 h 816"/>
                <a:gd name="T22" fmla="*/ 143 w 1290"/>
                <a:gd name="T23" fmla="*/ 2 h 816"/>
                <a:gd name="T24" fmla="*/ 142 w 1290"/>
                <a:gd name="T25" fmla="*/ 2 h 816"/>
                <a:gd name="T26" fmla="*/ 141 w 1290"/>
                <a:gd name="T27" fmla="*/ 1 h 816"/>
                <a:gd name="T28" fmla="*/ 140 w 1290"/>
                <a:gd name="T29" fmla="*/ 1 h 816"/>
                <a:gd name="T30" fmla="*/ 139 w 1290"/>
                <a:gd name="T31" fmla="*/ 0 h 816"/>
                <a:gd name="T32" fmla="*/ 137 w 1290"/>
                <a:gd name="T33" fmla="*/ 0 h 816"/>
                <a:gd name="T34" fmla="*/ 136 w 1290"/>
                <a:gd name="T35" fmla="*/ 0 h 816"/>
                <a:gd name="T36" fmla="*/ 7 w 1290"/>
                <a:gd name="T37" fmla="*/ 0 h 816"/>
                <a:gd name="T38" fmla="*/ 5 w 1290"/>
                <a:gd name="T39" fmla="*/ 0 h 816"/>
                <a:gd name="T40" fmla="*/ 4 w 1290"/>
                <a:gd name="T41" fmla="*/ 0 h 816"/>
                <a:gd name="T42" fmla="*/ 3 w 1290"/>
                <a:gd name="T43" fmla="*/ 1 h 816"/>
                <a:gd name="T44" fmla="*/ 2 w 1290"/>
                <a:gd name="T45" fmla="*/ 1 h 816"/>
                <a:gd name="T46" fmla="*/ 1 w 1290"/>
                <a:gd name="T47" fmla="*/ 2 h 816"/>
                <a:gd name="T48" fmla="*/ 0 w 1290"/>
                <a:gd name="T49" fmla="*/ 3 h 816"/>
                <a:gd name="T50" fmla="*/ 0 w 1290"/>
                <a:gd name="T51" fmla="*/ 4 h 816"/>
                <a:gd name="T52" fmla="*/ 0 w 1290"/>
                <a:gd name="T53" fmla="*/ 44 h 816"/>
                <a:gd name="T54" fmla="*/ 0 w 1290"/>
                <a:gd name="T55" fmla="*/ 45 h 816"/>
                <a:gd name="T56" fmla="*/ 1 w 1290"/>
                <a:gd name="T57" fmla="*/ 46 h 816"/>
                <a:gd name="T58" fmla="*/ 1 w 1290"/>
                <a:gd name="T59" fmla="*/ 47 h 816"/>
                <a:gd name="T60" fmla="*/ 2 w 1290"/>
                <a:gd name="T61" fmla="*/ 47 h 816"/>
                <a:gd name="T62" fmla="*/ 3 w 1290"/>
                <a:gd name="T63" fmla="*/ 48 h 816"/>
                <a:gd name="T64" fmla="*/ 5 w 1290"/>
                <a:gd name="T65" fmla="*/ 48 h 816"/>
                <a:gd name="T66" fmla="*/ 6 w 1290"/>
                <a:gd name="T67" fmla="*/ 49 h 816"/>
                <a:gd name="T68" fmla="*/ 8 w 1290"/>
                <a:gd name="T69" fmla="*/ 49 h 8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0"/>
                <a:gd name="T106" fmla="*/ 0 h 816"/>
                <a:gd name="T107" fmla="*/ 1290 w 1290"/>
                <a:gd name="T108" fmla="*/ 816 h 8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0" h="816">
                  <a:moveTo>
                    <a:pt x="68" y="816"/>
                  </a:moveTo>
                  <a:lnTo>
                    <a:pt x="1223" y="816"/>
                  </a:lnTo>
                  <a:lnTo>
                    <a:pt x="1229" y="815"/>
                  </a:lnTo>
                  <a:lnTo>
                    <a:pt x="1236" y="814"/>
                  </a:lnTo>
                  <a:lnTo>
                    <a:pt x="1242" y="812"/>
                  </a:lnTo>
                  <a:lnTo>
                    <a:pt x="1249" y="810"/>
                  </a:lnTo>
                  <a:lnTo>
                    <a:pt x="1254" y="807"/>
                  </a:lnTo>
                  <a:lnTo>
                    <a:pt x="1260" y="803"/>
                  </a:lnTo>
                  <a:lnTo>
                    <a:pt x="1266" y="800"/>
                  </a:lnTo>
                  <a:lnTo>
                    <a:pt x="1270" y="795"/>
                  </a:lnTo>
                  <a:lnTo>
                    <a:pt x="1275" y="791"/>
                  </a:lnTo>
                  <a:lnTo>
                    <a:pt x="1278" y="785"/>
                  </a:lnTo>
                  <a:lnTo>
                    <a:pt x="1281" y="780"/>
                  </a:lnTo>
                  <a:lnTo>
                    <a:pt x="1285" y="774"/>
                  </a:lnTo>
                  <a:lnTo>
                    <a:pt x="1287" y="767"/>
                  </a:lnTo>
                  <a:lnTo>
                    <a:pt x="1288" y="762"/>
                  </a:lnTo>
                  <a:lnTo>
                    <a:pt x="1289" y="755"/>
                  </a:lnTo>
                  <a:lnTo>
                    <a:pt x="1290" y="748"/>
                  </a:lnTo>
                  <a:lnTo>
                    <a:pt x="1290" y="68"/>
                  </a:lnTo>
                  <a:lnTo>
                    <a:pt x="1289" y="60"/>
                  </a:lnTo>
                  <a:lnTo>
                    <a:pt x="1288" y="53"/>
                  </a:lnTo>
                  <a:lnTo>
                    <a:pt x="1287" y="47"/>
                  </a:lnTo>
                  <a:lnTo>
                    <a:pt x="1285" y="40"/>
                  </a:lnTo>
                  <a:lnTo>
                    <a:pt x="1281" y="35"/>
                  </a:lnTo>
                  <a:lnTo>
                    <a:pt x="1278" y="29"/>
                  </a:lnTo>
                  <a:lnTo>
                    <a:pt x="1275" y="23"/>
                  </a:lnTo>
                  <a:lnTo>
                    <a:pt x="1270" y="19"/>
                  </a:lnTo>
                  <a:lnTo>
                    <a:pt x="1266" y="14"/>
                  </a:lnTo>
                  <a:lnTo>
                    <a:pt x="1260" y="11"/>
                  </a:lnTo>
                  <a:lnTo>
                    <a:pt x="1254" y="8"/>
                  </a:lnTo>
                  <a:lnTo>
                    <a:pt x="1249" y="4"/>
                  </a:lnTo>
                  <a:lnTo>
                    <a:pt x="1242" y="2"/>
                  </a:lnTo>
                  <a:lnTo>
                    <a:pt x="1236" y="1"/>
                  </a:lnTo>
                  <a:lnTo>
                    <a:pt x="1229" y="0"/>
                  </a:lnTo>
                  <a:lnTo>
                    <a:pt x="1223" y="0"/>
                  </a:lnTo>
                  <a:lnTo>
                    <a:pt x="68" y="0"/>
                  </a:lnTo>
                  <a:lnTo>
                    <a:pt x="61" y="0"/>
                  </a:lnTo>
                  <a:lnTo>
                    <a:pt x="54" y="1"/>
                  </a:lnTo>
                  <a:lnTo>
                    <a:pt x="47" y="2"/>
                  </a:lnTo>
                  <a:lnTo>
                    <a:pt x="42" y="4"/>
                  </a:lnTo>
                  <a:lnTo>
                    <a:pt x="35" y="8"/>
                  </a:lnTo>
                  <a:lnTo>
                    <a:pt x="30" y="11"/>
                  </a:lnTo>
                  <a:lnTo>
                    <a:pt x="25" y="14"/>
                  </a:lnTo>
                  <a:lnTo>
                    <a:pt x="20" y="19"/>
                  </a:lnTo>
                  <a:lnTo>
                    <a:pt x="16" y="23"/>
                  </a:lnTo>
                  <a:lnTo>
                    <a:pt x="11" y="29"/>
                  </a:lnTo>
                  <a:lnTo>
                    <a:pt x="8" y="35"/>
                  </a:lnTo>
                  <a:lnTo>
                    <a:pt x="6" y="40"/>
                  </a:lnTo>
                  <a:lnTo>
                    <a:pt x="3" y="47"/>
                  </a:lnTo>
                  <a:lnTo>
                    <a:pt x="1" y="53"/>
                  </a:lnTo>
                  <a:lnTo>
                    <a:pt x="0" y="60"/>
                  </a:lnTo>
                  <a:lnTo>
                    <a:pt x="0" y="68"/>
                  </a:lnTo>
                  <a:lnTo>
                    <a:pt x="0" y="748"/>
                  </a:lnTo>
                  <a:lnTo>
                    <a:pt x="0" y="755"/>
                  </a:lnTo>
                  <a:lnTo>
                    <a:pt x="1" y="762"/>
                  </a:lnTo>
                  <a:lnTo>
                    <a:pt x="3" y="767"/>
                  </a:lnTo>
                  <a:lnTo>
                    <a:pt x="6" y="774"/>
                  </a:lnTo>
                  <a:lnTo>
                    <a:pt x="8" y="780"/>
                  </a:lnTo>
                  <a:lnTo>
                    <a:pt x="11" y="785"/>
                  </a:lnTo>
                  <a:lnTo>
                    <a:pt x="16" y="791"/>
                  </a:lnTo>
                  <a:lnTo>
                    <a:pt x="20" y="795"/>
                  </a:lnTo>
                  <a:lnTo>
                    <a:pt x="25" y="800"/>
                  </a:lnTo>
                  <a:lnTo>
                    <a:pt x="30" y="803"/>
                  </a:lnTo>
                  <a:lnTo>
                    <a:pt x="35" y="807"/>
                  </a:lnTo>
                  <a:lnTo>
                    <a:pt x="42" y="810"/>
                  </a:lnTo>
                  <a:lnTo>
                    <a:pt x="47" y="812"/>
                  </a:lnTo>
                  <a:lnTo>
                    <a:pt x="54" y="814"/>
                  </a:lnTo>
                  <a:lnTo>
                    <a:pt x="61" y="815"/>
                  </a:lnTo>
                  <a:lnTo>
                    <a:pt x="68" y="816"/>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70" name="Freeform 826"/>
            <p:cNvSpPr>
              <a:spLocks/>
            </p:cNvSpPr>
            <p:nvPr/>
          </p:nvSpPr>
          <p:spPr bwMode="auto">
            <a:xfrm>
              <a:off x="5129" y="1430"/>
              <a:ext cx="430" cy="199"/>
            </a:xfrm>
            <a:custGeom>
              <a:avLst/>
              <a:gdLst>
                <a:gd name="T0" fmla="*/ 136 w 1290"/>
                <a:gd name="T1" fmla="*/ 49 h 816"/>
                <a:gd name="T2" fmla="*/ 137 w 1290"/>
                <a:gd name="T3" fmla="*/ 49 h 816"/>
                <a:gd name="T4" fmla="*/ 139 w 1290"/>
                <a:gd name="T5" fmla="*/ 48 h 816"/>
                <a:gd name="T6" fmla="*/ 140 w 1290"/>
                <a:gd name="T7" fmla="*/ 48 h 816"/>
                <a:gd name="T8" fmla="*/ 141 w 1290"/>
                <a:gd name="T9" fmla="*/ 47 h 816"/>
                <a:gd name="T10" fmla="*/ 142 w 1290"/>
                <a:gd name="T11" fmla="*/ 47 h 816"/>
                <a:gd name="T12" fmla="*/ 143 w 1290"/>
                <a:gd name="T13" fmla="*/ 46 h 816"/>
                <a:gd name="T14" fmla="*/ 143 w 1290"/>
                <a:gd name="T15" fmla="*/ 45 h 816"/>
                <a:gd name="T16" fmla="*/ 143 w 1290"/>
                <a:gd name="T17" fmla="*/ 44 h 816"/>
                <a:gd name="T18" fmla="*/ 143 w 1290"/>
                <a:gd name="T19" fmla="*/ 4 h 816"/>
                <a:gd name="T20" fmla="*/ 143 w 1290"/>
                <a:gd name="T21" fmla="*/ 3 h 816"/>
                <a:gd name="T22" fmla="*/ 143 w 1290"/>
                <a:gd name="T23" fmla="*/ 2 h 816"/>
                <a:gd name="T24" fmla="*/ 142 w 1290"/>
                <a:gd name="T25" fmla="*/ 2 h 816"/>
                <a:gd name="T26" fmla="*/ 141 w 1290"/>
                <a:gd name="T27" fmla="*/ 1 h 816"/>
                <a:gd name="T28" fmla="*/ 140 w 1290"/>
                <a:gd name="T29" fmla="*/ 1 h 816"/>
                <a:gd name="T30" fmla="*/ 139 w 1290"/>
                <a:gd name="T31" fmla="*/ 0 h 816"/>
                <a:gd name="T32" fmla="*/ 137 w 1290"/>
                <a:gd name="T33" fmla="*/ 0 h 816"/>
                <a:gd name="T34" fmla="*/ 136 w 1290"/>
                <a:gd name="T35" fmla="*/ 0 h 816"/>
                <a:gd name="T36" fmla="*/ 7 w 1290"/>
                <a:gd name="T37" fmla="*/ 0 h 816"/>
                <a:gd name="T38" fmla="*/ 5 w 1290"/>
                <a:gd name="T39" fmla="*/ 0 h 816"/>
                <a:gd name="T40" fmla="*/ 4 w 1290"/>
                <a:gd name="T41" fmla="*/ 0 h 816"/>
                <a:gd name="T42" fmla="*/ 3 w 1290"/>
                <a:gd name="T43" fmla="*/ 1 h 816"/>
                <a:gd name="T44" fmla="*/ 2 w 1290"/>
                <a:gd name="T45" fmla="*/ 1 h 816"/>
                <a:gd name="T46" fmla="*/ 1 w 1290"/>
                <a:gd name="T47" fmla="*/ 2 h 816"/>
                <a:gd name="T48" fmla="*/ 0 w 1290"/>
                <a:gd name="T49" fmla="*/ 3 h 816"/>
                <a:gd name="T50" fmla="*/ 0 w 1290"/>
                <a:gd name="T51" fmla="*/ 4 h 816"/>
                <a:gd name="T52" fmla="*/ 0 w 1290"/>
                <a:gd name="T53" fmla="*/ 44 h 816"/>
                <a:gd name="T54" fmla="*/ 0 w 1290"/>
                <a:gd name="T55" fmla="*/ 45 h 816"/>
                <a:gd name="T56" fmla="*/ 1 w 1290"/>
                <a:gd name="T57" fmla="*/ 46 h 816"/>
                <a:gd name="T58" fmla="*/ 1 w 1290"/>
                <a:gd name="T59" fmla="*/ 47 h 816"/>
                <a:gd name="T60" fmla="*/ 2 w 1290"/>
                <a:gd name="T61" fmla="*/ 47 h 816"/>
                <a:gd name="T62" fmla="*/ 3 w 1290"/>
                <a:gd name="T63" fmla="*/ 48 h 816"/>
                <a:gd name="T64" fmla="*/ 5 w 1290"/>
                <a:gd name="T65" fmla="*/ 48 h 816"/>
                <a:gd name="T66" fmla="*/ 6 w 1290"/>
                <a:gd name="T67" fmla="*/ 49 h 816"/>
                <a:gd name="T68" fmla="*/ 8 w 1290"/>
                <a:gd name="T69" fmla="*/ 49 h 8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0"/>
                <a:gd name="T106" fmla="*/ 0 h 816"/>
                <a:gd name="T107" fmla="*/ 1290 w 1290"/>
                <a:gd name="T108" fmla="*/ 816 h 8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0" h="816">
                  <a:moveTo>
                    <a:pt x="68" y="816"/>
                  </a:moveTo>
                  <a:lnTo>
                    <a:pt x="1223" y="816"/>
                  </a:lnTo>
                  <a:lnTo>
                    <a:pt x="1229" y="815"/>
                  </a:lnTo>
                  <a:lnTo>
                    <a:pt x="1236" y="814"/>
                  </a:lnTo>
                  <a:lnTo>
                    <a:pt x="1242" y="812"/>
                  </a:lnTo>
                  <a:lnTo>
                    <a:pt x="1249" y="810"/>
                  </a:lnTo>
                  <a:lnTo>
                    <a:pt x="1254" y="807"/>
                  </a:lnTo>
                  <a:lnTo>
                    <a:pt x="1260" y="803"/>
                  </a:lnTo>
                  <a:lnTo>
                    <a:pt x="1266" y="800"/>
                  </a:lnTo>
                  <a:lnTo>
                    <a:pt x="1270" y="795"/>
                  </a:lnTo>
                  <a:lnTo>
                    <a:pt x="1275" y="791"/>
                  </a:lnTo>
                  <a:lnTo>
                    <a:pt x="1278" y="785"/>
                  </a:lnTo>
                  <a:lnTo>
                    <a:pt x="1281" y="780"/>
                  </a:lnTo>
                  <a:lnTo>
                    <a:pt x="1285" y="774"/>
                  </a:lnTo>
                  <a:lnTo>
                    <a:pt x="1287" y="767"/>
                  </a:lnTo>
                  <a:lnTo>
                    <a:pt x="1288" y="762"/>
                  </a:lnTo>
                  <a:lnTo>
                    <a:pt x="1289" y="755"/>
                  </a:lnTo>
                  <a:lnTo>
                    <a:pt x="1290" y="748"/>
                  </a:lnTo>
                  <a:lnTo>
                    <a:pt x="1290" y="68"/>
                  </a:lnTo>
                  <a:lnTo>
                    <a:pt x="1289" y="60"/>
                  </a:lnTo>
                  <a:lnTo>
                    <a:pt x="1288" y="53"/>
                  </a:lnTo>
                  <a:lnTo>
                    <a:pt x="1287" y="47"/>
                  </a:lnTo>
                  <a:lnTo>
                    <a:pt x="1285" y="40"/>
                  </a:lnTo>
                  <a:lnTo>
                    <a:pt x="1281" y="35"/>
                  </a:lnTo>
                  <a:lnTo>
                    <a:pt x="1278" y="29"/>
                  </a:lnTo>
                  <a:lnTo>
                    <a:pt x="1275" y="23"/>
                  </a:lnTo>
                  <a:lnTo>
                    <a:pt x="1270" y="19"/>
                  </a:lnTo>
                  <a:lnTo>
                    <a:pt x="1266" y="14"/>
                  </a:lnTo>
                  <a:lnTo>
                    <a:pt x="1260" y="11"/>
                  </a:lnTo>
                  <a:lnTo>
                    <a:pt x="1254" y="8"/>
                  </a:lnTo>
                  <a:lnTo>
                    <a:pt x="1249" y="4"/>
                  </a:lnTo>
                  <a:lnTo>
                    <a:pt x="1242" y="2"/>
                  </a:lnTo>
                  <a:lnTo>
                    <a:pt x="1236" y="1"/>
                  </a:lnTo>
                  <a:lnTo>
                    <a:pt x="1229" y="0"/>
                  </a:lnTo>
                  <a:lnTo>
                    <a:pt x="1223" y="0"/>
                  </a:lnTo>
                  <a:lnTo>
                    <a:pt x="68" y="0"/>
                  </a:lnTo>
                  <a:lnTo>
                    <a:pt x="61" y="0"/>
                  </a:lnTo>
                  <a:lnTo>
                    <a:pt x="54" y="1"/>
                  </a:lnTo>
                  <a:lnTo>
                    <a:pt x="47" y="2"/>
                  </a:lnTo>
                  <a:lnTo>
                    <a:pt x="42" y="4"/>
                  </a:lnTo>
                  <a:lnTo>
                    <a:pt x="35" y="8"/>
                  </a:lnTo>
                  <a:lnTo>
                    <a:pt x="30" y="11"/>
                  </a:lnTo>
                  <a:lnTo>
                    <a:pt x="25" y="14"/>
                  </a:lnTo>
                  <a:lnTo>
                    <a:pt x="20" y="19"/>
                  </a:lnTo>
                  <a:lnTo>
                    <a:pt x="16" y="23"/>
                  </a:lnTo>
                  <a:lnTo>
                    <a:pt x="11" y="29"/>
                  </a:lnTo>
                  <a:lnTo>
                    <a:pt x="8" y="35"/>
                  </a:lnTo>
                  <a:lnTo>
                    <a:pt x="6" y="40"/>
                  </a:lnTo>
                  <a:lnTo>
                    <a:pt x="3" y="47"/>
                  </a:lnTo>
                  <a:lnTo>
                    <a:pt x="1" y="53"/>
                  </a:lnTo>
                  <a:lnTo>
                    <a:pt x="0" y="60"/>
                  </a:lnTo>
                  <a:lnTo>
                    <a:pt x="0" y="68"/>
                  </a:lnTo>
                  <a:lnTo>
                    <a:pt x="0" y="748"/>
                  </a:lnTo>
                  <a:lnTo>
                    <a:pt x="0" y="755"/>
                  </a:lnTo>
                  <a:lnTo>
                    <a:pt x="1" y="762"/>
                  </a:lnTo>
                  <a:lnTo>
                    <a:pt x="3" y="767"/>
                  </a:lnTo>
                  <a:lnTo>
                    <a:pt x="6" y="774"/>
                  </a:lnTo>
                  <a:lnTo>
                    <a:pt x="8" y="780"/>
                  </a:lnTo>
                  <a:lnTo>
                    <a:pt x="11" y="785"/>
                  </a:lnTo>
                  <a:lnTo>
                    <a:pt x="16" y="791"/>
                  </a:lnTo>
                  <a:lnTo>
                    <a:pt x="20" y="795"/>
                  </a:lnTo>
                  <a:lnTo>
                    <a:pt x="25" y="800"/>
                  </a:lnTo>
                  <a:lnTo>
                    <a:pt x="30" y="803"/>
                  </a:lnTo>
                  <a:lnTo>
                    <a:pt x="35" y="807"/>
                  </a:lnTo>
                  <a:lnTo>
                    <a:pt x="42" y="810"/>
                  </a:lnTo>
                  <a:lnTo>
                    <a:pt x="47" y="812"/>
                  </a:lnTo>
                  <a:lnTo>
                    <a:pt x="54" y="814"/>
                  </a:lnTo>
                  <a:lnTo>
                    <a:pt x="61" y="815"/>
                  </a:lnTo>
                  <a:lnTo>
                    <a:pt x="68" y="816"/>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71" name="Rectangle 827"/>
            <p:cNvSpPr>
              <a:spLocks noChangeArrowheads="1"/>
            </p:cNvSpPr>
            <p:nvPr/>
          </p:nvSpPr>
          <p:spPr bwMode="auto">
            <a:xfrm>
              <a:off x="5197" y="1494"/>
              <a:ext cx="30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ustomer Policy </a:t>
              </a:r>
              <a:endParaRPr lang="en-US" sz="1800" b="0" kern="0" baseline="0">
                <a:solidFill>
                  <a:sysClr val="windowText" lastClr="000000"/>
                </a:solidFill>
                <a:latin typeface="Arial" charset="0"/>
                <a:ea typeface="ＭＳ Ｐゴシック"/>
                <a:cs typeface="ＭＳ Ｐゴシック"/>
              </a:endParaRPr>
            </a:p>
          </p:txBody>
        </p:sp>
        <p:sp>
          <p:nvSpPr>
            <p:cNvPr id="272" name="Rectangle 828"/>
            <p:cNvSpPr>
              <a:spLocks noChangeArrowheads="1"/>
            </p:cNvSpPr>
            <p:nvPr/>
          </p:nvSpPr>
          <p:spPr bwMode="auto">
            <a:xfrm>
              <a:off x="5226" y="1530"/>
              <a:ext cx="23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ment</a:t>
              </a:r>
              <a:endParaRPr lang="en-US" sz="1800" b="0" kern="0" baseline="0">
                <a:solidFill>
                  <a:sysClr val="windowText" lastClr="000000"/>
                </a:solidFill>
                <a:latin typeface="Arial" charset="0"/>
                <a:ea typeface="ＭＳ Ｐゴシック"/>
                <a:cs typeface="ＭＳ Ｐゴシック"/>
              </a:endParaRPr>
            </a:p>
          </p:txBody>
        </p:sp>
        <p:sp>
          <p:nvSpPr>
            <p:cNvPr id="273" name="Rectangle 829"/>
            <p:cNvSpPr>
              <a:spLocks noChangeArrowheads="1"/>
            </p:cNvSpPr>
            <p:nvPr/>
          </p:nvSpPr>
          <p:spPr bwMode="auto">
            <a:xfrm>
              <a:off x="1501" y="3387"/>
              <a:ext cx="4204" cy="292"/>
            </a:xfrm>
            <a:prstGeom prst="rect">
              <a:avLst/>
            </a:prstGeom>
            <a:solidFill>
              <a:srgbClr val="CCCDFF"/>
            </a:solidFill>
            <a:ln w="9525" algn="ctr">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74" name="Rectangle 830"/>
            <p:cNvSpPr>
              <a:spLocks noChangeArrowheads="1"/>
            </p:cNvSpPr>
            <p:nvPr/>
          </p:nvSpPr>
          <p:spPr bwMode="auto">
            <a:xfrm>
              <a:off x="1501" y="3387"/>
              <a:ext cx="4204" cy="292"/>
            </a:xfrm>
            <a:prstGeom prst="rect">
              <a:avLst/>
            </a:prstGeom>
            <a:solidFill>
              <a:srgbClr val="6A6ACE"/>
            </a:solidFill>
            <a:ln w="9525" algn="ctr">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75" name="Rectangle 831"/>
            <p:cNvSpPr>
              <a:spLocks noChangeArrowheads="1"/>
            </p:cNvSpPr>
            <p:nvPr/>
          </p:nvSpPr>
          <p:spPr bwMode="auto">
            <a:xfrm>
              <a:off x="3220" y="3400"/>
              <a:ext cx="60" cy="75"/>
            </a:xfrm>
            <a:prstGeom prst="rect">
              <a:avLst/>
            </a:prstGeom>
            <a:noFill/>
            <a:ln w="9525" algn="ctr">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4.</a:t>
              </a:r>
            </a:p>
          </p:txBody>
        </p:sp>
        <p:sp>
          <p:nvSpPr>
            <p:cNvPr id="276" name="Rectangle 832"/>
            <p:cNvSpPr>
              <a:spLocks noChangeArrowheads="1"/>
            </p:cNvSpPr>
            <p:nvPr/>
          </p:nvSpPr>
          <p:spPr bwMode="auto">
            <a:xfrm>
              <a:off x="3291" y="3400"/>
              <a:ext cx="704" cy="75"/>
            </a:xfrm>
            <a:prstGeom prst="rect">
              <a:avLst/>
            </a:prstGeom>
            <a:noFill/>
            <a:ln w="9525" algn="ctr">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Operate the Network</a:t>
              </a:r>
            </a:p>
          </p:txBody>
        </p:sp>
        <p:sp>
          <p:nvSpPr>
            <p:cNvPr id="277" name="Rectangle 833"/>
            <p:cNvSpPr>
              <a:spLocks noChangeArrowheads="1"/>
            </p:cNvSpPr>
            <p:nvPr/>
          </p:nvSpPr>
          <p:spPr bwMode="auto">
            <a:xfrm>
              <a:off x="964" y="2532"/>
              <a:ext cx="483" cy="1153"/>
            </a:xfrm>
            <a:prstGeom prst="rect">
              <a:avLst/>
            </a:prstGeom>
            <a:solidFill>
              <a:srgbClr val="6A6ACE"/>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78" name="Rectangle 834"/>
            <p:cNvSpPr>
              <a:spLocks noChangeArrowheads="1"/>
            </p:cNvSpPr>
            <p:nvPr/>
          </p:nvSpPr>
          <p:spPr bwMode="auto">
            <a:xfrm>
              <a:off x="964" y="2532"/>
              <a:ext cx="483" cy="1153"/>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279" name="Rectangle 835"/>
            <p:cNvSpPr>
              <a:spLocks noChangeArrowheads="1"/>
            </p:cNvSpPr>
            <p:nvPr/>
          </p:nvSpPr>
          <p:spPr bwMode="auto">
            <a:xfrm>
              <a:off x="1036" y="2545"/>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3</a:t>
              </a:r>
              <a:endParaRPr lang="en-US" sz="1800" b="0" kern="0" baseline="0">
                <a:solidFill>
                  <a:sysClr val="windowText" lastClr="000000"/>
                </a:solidFill>
                <a:latin typeface="Arial" charset="0"/>
                <a:ea typeface="ＭＳ Ｐゴシック"/>
                <a:cs typeface="ＭＳ Ｐゴシック"/>
              </a:endParaRPr>
            </a:p>
          </p:txBody>
        </p:sp>
        <p:sp>
          <p:nvSpPr>
            <p:cNvPr id="280" name="Rectangle 836"/>
            <p:cNvSpPr>
              <a:spLocks noChangeArrowheads="1"/>
            </p:cNvSpPr>
            <p:nvPr/>
          </p:nvSpPr>
          <p:spPr bwMode="auto">
            <a:xfrm>
              <a:off x="1075" y="2545"/>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281" name="Rectangle 837"/>
            <p:cNvSpPr>
              <a:spLocks noChangeArrowheads="1"/>
            </p:cNvSpPr>
            <p:nvPr/>
          </p:nvSpPr>
          <p:spPr bwMode="auto">
            <a:xfrm>
              <a:off x="1114" y="2545"/>
              <a:ext cx="288"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Manage </a:t>
              </a:r>
              <a:endParaRPr lang="en-US" sz="1800" b="0" kern="0" baseline="0">
                <a:solidFill>
                  <a:sysClr val="windowText" lastClr="000000"/>
                </a:solidFill>
                <a:latin typeface="Arial" charset="0"/>
                <a:ea typeface="ＭＳ Ｐゴシック"/>
                <a:cs typeface="ＭＳ Ｐゴシック"/>
              </a:endParaRPr>
            </a:p>
          </p:txBody>
        </p:sp>
        <p:sp>
          <p:nvSpPr>
            <p:cNvPr id="282" name="Rectangle 838"/>
            <p:cNvSpPr>
              <a:spLocks noChangeArrowheads="1"/>
            </p:cNvSpPr>
            <p:nvPr/>
          </p:nvSpPr>
          <p:spPr bwMode="auto">
            <a:xfrm>
              <a:off x="1153" y="2607"/>
              <a:ext cx="128"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the </a:t>
              </a:r>
              <a:endParaRPr lang="en-US" sz="1800" b="0" kern="0" baseline="0">
                <a:solidFill>
                  <a:sysClr val="windowText" lastClr="000000"/>
                </a:solidFill>
                <a:latin typeface="Arial" charset="0"/>
                <a:ea typeface="ＭＳ Ｐゴシック"/>
                <a:cs typeface="ＭＳ Ｐゴシック"/>
              </a:endParaRPr>
            </a:p>
          </p:txBody>
        </p:sp>
        <p:sp>
          <p:nvSpPr>
            <p:cNvPr id="283" name="Rectangle 839"/>
            <p:cNvSpPr>
              <a:spLocks noChangeArrowheads="1"/>
            </p:cNvSpPr>
            <p:nvPr/>
          </p:nvSpPr>
          <p:spPr bwMode="auto">
            <a:xfrm>
              <a:off x="1042" y="2668"/>
              <a:ext cx="336"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Customer</a:t>
              </a:r>
              <a:endParaRPr lang="en-US" sz="1800" b="0" kern="0" baseline="0">
                <a:solidFill>
                  <a:sysClr val="windowText" lastClr="000000"/>
                </a:solidFill>
                <a:latin typeface="Arial" charset="0"/>
                <a:ea typeface="ＭＳ Ｐゴシック"/>
                <a:cs typeface="ＭＳ Ｐゴシック"/>
              </a:endParaRPr>
            </a:p>
          </p:txBody>
        </p:sp>
        <p:sp>
          <p:nvSpPr>
            <p:cNvPr id="284" name="Freeform 840"/>
            <p:cNvSpPr>
              <a:spLocks/>
            </p:cNvSpPr>
            <p:nvPr/>
          </p:nvSpPr>
          <p:spPr bwMode="auto">
            <a:xfrm>
              <a:off x="993" y="3133"/>
              <a:ext cx="376" cy="222"/>
            </a:xfrm>
            <a:custGeom>
              <a:avLst/>
              <a:gdLst>
                <a:gd name="T0" fmla="*/ 118 w 1127"/>
                <a:gd name="T1" fmla="*/ 54 h 917"/>
                <a:gd name="T2" fmla="*/ 119 w 1127"/>
                <a:gd name="T3" fmla="*/ 54 h 917"/>
                <a:gd name="T4" fmla="*/ 121 w 1127"/>
                <a:gd name="T5" fmla="*/ 54 h 917"/>
                <a:gd name="T6" fmla="*/ 122 w 1127"/>
                <a:gd name="T7" fmla="*/ 53 h 917"/>
                <a:gd name="T8" fmla="*/ 123 w 1127"/>
                <a:gd name="T9" fmla="*/ 53 h 917"/>
                <a:gd name="T10" fmla="*/ 124 w 1127"/>
                <a:gd name="T11" fmla="*/ 52 h 917"/>
                <a:gd name="T12" fmla="*/ 125 w 1127"/>
                <a:gd name="T13" fmla="*/ 51 h 917"/>
                <a:gd name="T14" fmla="*/ 125 w 1127"/>
                <a:gd name="T15" fmla="*/ 51 h 917"/>
                <a:gd name="T16" fmla="*/ 125 w 1127"/>
                <a:gd name="T17" fmla="*/ 50 h 917"/>
                <a:gd name="T18" fmla="*/ 125 w 1127"/>
                <a:gd name="T19" fmla="*/ 4 h 917"/>
                <a:gd name="T20" fmla="*/ 125 w 1127"/>
                <a:gd name="T21" fmla="*/ 3 h 917"/>
                <a:gd name="T22" fmla="*/ 125 w 1127"/>
                <a:gd name="T23" fmla="*/ 2 h 917"/>
                <a:gd name="T24" fmla="*/ 124 w 1127"/>
                <a:gd name="T25" fmla="*/ 2 h 917"/>
                <a:gd name="T26" fmla="*/ 123 w 1127"/>
                <a:gd name="T27" fmla="*/ 1 h 917"/>
                <a:gd name="T28" fmla="*/ 122 w 1127"/>
                <a:gd name="T29" fmla="*/ 1 h 917"/>
                <a:gd name="T30" fmla="*/ 121 w 1127"/>
                <a:gd name="T31" fmla="*/ 0 h 917"/>
                <a:gd name="T32" fmla="*/ 119 w 1127"/>
                <a:gd name="T33" fmla="*/ 0 h 917"/>
                <a:gd name="T34" fmla="*/ 118 w 1127"/>
                <a:gd name="T35" fmla="*/ 0 h 917"/>
                <a:gd name="T36" fmla="*/ 7 w 1127"/>
                <a:gd name="T37" fmla="*/ 0 h 917"/>
                <a:gd name="T38" fmla="*/ 5 w 1127"/>
                <a:gd name="T39" fmla="*/ 0 h 917"/>
                <a:gd name="T40" fmla="*/ 4 w 1127"/>
                <a:gd name="T41" fmla="*/ 0 h 917"/>
                <a:gd name="T42" fmla="*/ 3 w 1127"/>
                <a:gd name="T43" fmla="*/ 1 h 917"/>
                <a:gd name="T44" fmla="*/ 2 w 1127"/>
                <a:gd name="T45" fmla="*/ 1 h 917"/>
                <a:gd name="T46" fmla="*/ 1 w 1127"/>
                <a:gd name="T47" fmla="*/ 2 h 917"/>
                <a:gd name="T48" fmla="*/ 0 w 1127"/>
                <a:gd name="T49" fmla="*/ 3 h 917"/>
                <a:gd name="T50" fmla="*/ 0 w 1127"/>
                <a:gd name="T51" fmla="*/ 4 h 917"/>
                <a:gd name="T52" fmla="*/ 0 w 1127"/>
                <a:gd name="T53" fmla="*/ 50 h 917"/>
                <a:gd name="T54" fmla="*/ 0 w 1127"/>
                <a:gd name="T55" fmla="*/ 51 h 917"/>
                <a:gd name="T56" fmla="*/ 1 w 1127"/>
                <a:gd name="T57" fmla="*/ 51 h 917"/>
                <a:gd name="T58" fmla="*/ 1 w 1127"/>
                <a:gd name="T59" fmla="*/ 52 h 917"/>
                <a:gd name="T60" fmla="*/ 2 w 1127"/>
                <a:gd name="T61" fmla="*/ 53 h 917"/>
                <a:gd name="T62" fmla="*/ 3 w 1127"/>
                <a:gd name="T63" fmla="*/ 53 h 917"/>
                <a:gd name="T64" fmla="*/ 5 w 1127"/>
                <a:gd name="T65" fmla="*/ 54 h 917"/>
                <a:gd name="T66" fmla="*/ 6 w 1127"/>
                <a:gd name="T67" fmla="*/ 54 h 917"/>
                <a:gd name="T68" fmla="*/ 8 w 1127"/>
                <a:gd name="T69" fmla="*/ 54 h 9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7"/>
                <a:gd name="T106" fmla="*/ 0 h 917"/>
                <a:gd name="T107" fmla="*/ 1127 w 1127"/>
                <a:gd name="T108" fmla="*/ 917 h 9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7" h="917">
                  <a:moveTo>
                    <a:pt x="68" y="917"/>
                  </a:moveTo>
                  <a:lnTo>
                    <a:pt x="1059" y="917"/>
                  </a:lnTo>
                  <a:lnTo>
                    <a:pt x="1066" y="917"/>
                  </a:lnTo>
                  <a:lnTo>
                    <a:pt x="1073" y="916"/>
                  </a:lnTo>
                  <a:lnTo>
                    <a:pt x="1079" y="915"/>
                  </a:lnTo>
                  <a:lnTo>
                    <a:pt x="1086" y="912"/>
                  </a:lnTo>
                  <a:lnTo>
                    <a:pt x="1092" y="909"/>
                  </a:lnTo>
                  <a:lnTo>
                    <a:pt x="1097" y="906"/>
                  </a:lnTo>
                  <a:lnTo>
                    <a:pt x="1102" y="902"/>
                  </a:lnTo>
                  <a:lnTo>
                    <a:pt x="1108" y="898"/>
                  </a:lnTo>
                  <a:lnTo>
                    <a:pt x="1112" y="892"/>
                  </a:lnTo>
                  <a:lnTo>
                    <a:pt x="1116" y="888"/>
                  </a:lnTo>
                  <a:lnTo>
                    <a:pt x="1119" y="882"/>
                  </a:lnTo>
                  <a:lnTo>
                    <a:pt x="1122" y="876"/>
                  </a:lnTo>
                  <a:lnTo>
                    <a:pt x="1125" y="869"/>
                  </a:lnTo>
                  <a:lnTo>
                    <a:pt x="1126" y="863"/>
                  </a:lnTo>
                  <a:lnTo>
                    <a:pt x="1127" y="856"/>
                  </a:lnTo>
                  <a:lnTo>
                    <a:pt x="1127" y="849"/>
                  </a:lnTo>
                  <a:lnTo>
                    <a:pt x="1127" y="68"/>
                  </a:lnTo>
                  <a:lnTo>
                    <a:pt x="1127" y="61"/>
                  </a:lnTo>
                  <a:lnTo>
                    <a:pt x="1126" y="54"/>
                  </a:lnTo>
                  <a:lnTo>
                    <a:pt x="1125" y="48"/>
                  </a:lnTo>
                  <a:lnTo>
                    <a:pt x="1122" y="42"/>
                  </a:lnTo>
                  <a:lnTo>
                    <a:pt x="1119" y="36"/>
                  </a:lnTo>
                  <a:lnTo>
                    <a:pt x="1116" y="31"/>
                  </a:lnTo>
                  <a:lnTo>
                    <a:pt x="1112" y="25"/>
                  </a:lnTo>
                  <a:lnTo>
                    <a:pt x="1108" y="21"/>
                  </a:lnTo>
                  <a:lnTo>
                    <a:pt x="1102" y="16"/>
                  </a:lnTo>
                  <a:lnTo>
                    <a:pt x="1097" y="11"/>
                  </a:lnTo>
                  <a:lnTo>
                    <a:pt x="1092" y="8"/>
                  </a:lnTo>
                  <a:lnTo>
                    <a:pt x="1086" y="6"/>
                  </a:lnTo>
                  <a:lnTo>
                    <a:pt x="1079" y="4"/>
                  </a:lnTo>
                  <a:lnTo>
                    <a:pt x="1073" y="1"/>
                  </a:lnTo>
                  <a:lnTo>
                    <a:pt x="1066" y="1"/>
                  </a:lnTo>
                  <a:lnTo>
                    <a:pt x="1059" y="0"/>
                  </a:lnTo>
                  <a:lnTo>
                    <a:pt x="68" y="0"/>
                  </a:lnTo>
                  <a:lnTo>
                    <a:pt x="61" y="1"/>
                  </a:lnTo>
                  <a:lnTo>
                    <a:pt x="54" y="1"/>
                  </a:lnTo>
                  <a:lnTo>
                    <a:pt x="48" y="4"/>
                  </a:lnTo>
                  <a:lnTo>
                    <a:pt x="41" y="6"/>
                  </a:lnTo>
                  <a:lnTo>
                    <a:pt x="35" y="8"/>
                  </a:lnTo>
                  <a:lnTo>
                    <a:pt x="29" y="11"/>
                  </a:lnTo>
                  <a:lnTo>
                    <a:pt x="25" y="16"/>
                  </a:lnTo>
                  <a:lnTo>
                    <a:pt x="19" y="21"/>
                  </a:lnTo>
                  <a:lnTo>
                    <a:pt x="15" y="25"/>
                  </a:lnTo>
                  <a:lnTo>
                    <a:pt x="11" y="31"/>
                  </a:lnTo>
                  <a:lnTo>
                    <a:pt x="8" y="36"/>
                  </a:lnTo>
                  <a:lnTo>
                    <a:pt x="5" y="42"/>
                  </a:lnTo>
                  <a:lnTo>
                    <a:pt x="2" y="48"/>
                  </a:lnTo>
                  <a:lnTo>
                    <a:pt x="1" y="54"/>
                  </a:lnTo>
                  <a:lnTo>
                    <a:pt x="0" y="61"/>
                  </a:lnTo>
                  <a:lnTo>
                    <a:pt x="0" y="68"/>
                  </a:lnTo>
                  <a:lnTo>
                    <a:pt x="0" y="849"/>
                  </a:lnTo>
                  <a:lnTo>
                    <a:pt x="0" y="856"/>
                  </a:lnTo>
                  <a:lnTo>
                    <a:pt x="1" y="863"/>
                  </a:lnTo>
                  <a:lnTo>
                    <a:pt x="2" y="869"/>
                  </a:lnTo>
                  <a:lnTo>
                    <a:pt x="5" y="876"/>
                  </a:lnTo>
                  <a:lnTo>
                    <a:pt x="8" y="882"/>
                  </a:lnTo>
                  <a:lnTo>
                    <a:pt x="11" y="888"/>
                  </a:lnTo>
                  <a:lnTo>
                    <a:pt x="15" y="892"/>
                  </a:lnTo>
                  <a:lnTo>
                    <a:pt x="19" y="898"/>
                  </a:lnTo>
                  <a:lnTo>
                    <a:pt x="25" y="902"/>
                  </a:lnTo>
                  <a:lnTo>
                    <a:pt x="29" y="906"/>
                  </a:lnTo>
                  <a:lnTo>
                    <a:pt x="35" y="909"/>
                  </a:lnTo>
                  <a:lnTo>
                    <a:pt x="41" y="912"/>
                  </a:lnTo>
                  <a:lnTo>
                    <a:pt x="48" y="915"/>
                  </a:lnTo>
                  <a:lnTo>
                    <a:pt x="54" y="916"/>
                  </a:lnTo>
                  <a:lnTo>
                    <a:pt x="61" y="917"/>
                  </a:lnTo>
                  <a:lnTo>
                    <a:pt x="68" y="917"/>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85" name="Freeform 841"/>
            <p:cNvSpPr>
              <a:spLocks/>
            </p:cNvSpPr>
            <p:nvPr/>
          </p:nvSpPr>
          <p:spPr bwMode="auto">
            <a:xfrm>
              <a:off x="993" y="3133"/>
              <a:ext cx="376" cy="222"/>
            </a:xfrm>
            <a:custGeom>
              <a:avLst/>
              <a:gdLst>
                <a:gd name="T0" fmla="*/ 118 w 1127"/>
                <a:gd name="T1" fmla="*/ 54 h 917"/>
                <a:gd name="T2" fmla="*/ 119 w 1127"/>
                <a:gd name="T3" fmla="*/ 54 h 917"/>
                <a:gd name="T4" fmla="*/ 121 w 1127"/>
                <a:gd name="T5" fmla="*/ 54 h 917"/>
                <a:gd name="T6" fmla="*/ 122 w 1127"/>
                <a:gd name="T7" fmla="*/ 53 h 917"/>
                <a:gd name="T8" fmla="*/ 123 w 1127"/>
                <a:gd name="T9" fmla="*/ 53 h 917"/>
                <a:gd name="T10" fmla="*/ 124 w 1127"/>
                <a:gd name="T11" fmla="*/ 52 h 917"/>
                <a:gd name="T12" fmla="*/ 125 w 1127"/>
                <a:gd name="T13" fmla="*/ 51 h 917"/>
                <a:gd name="T14" fmla="*/ 125 w 1127"/>
                <a:gd name="T15" fmla="*/ 51 h 917"/>
                <a:gd name="T16" fmla="*/ 125 w 1127"/>
                <a:gd name="T17" fmla="*/ 50 h 917"/>
                <a:gd name="T18" fmla="*/ 125 w 1127"/>
                <a:gd name="T19" fmla="*/ 4 h 917"/>
                <a:gd name="T20" fmla="*/ 125 w 1127"/>
                <a:gd name="T21" fmla="*/ 3 h 917"/>
                <a:gd name="T22" fmla="*/ 125 w 1127"/>
                <a:gd name="T23" fmla="*/ 2 h 917"/>
                <a:gd name="T24" fmla="*/ 124 w 1127"/>
                <a:gd name="T25" fmla="*/ 2 h 917"/>
                <a:gd name="T26" fmla="*/ 123 w 1127"/>
                <a:gd name="T27" fmla="*/ 1 h 917"/>
                <a:gd name="T28" fmla="*/ 122 w 1127"/>
                <a:gd name="T29" fmla="*/ 1 h 917"/>
                <a:gd name="T30" fmla="*/ 121 w 1127"/>
                <a:gd name="T31" fmla="*/ 0 h 917"/>
                <a:gd name="T32" fmla="*/ 119 w 1127"/>
                <a:gd name="T33" fmla="*/ 0 h 917"/>
                <a:gd name="T34" fmla="*/ 118 w 1127"/>
                <a:gd name="T35" fmla="*/ 0 h 917"/>
                <a:gd name="T36" fmla="*/ 7 w 1127"/>
                <a:gd name="T37" fmla="*/ 0 h 917"/>
                <a:gd name="T38" fmla="*/ 5 w 1127"/>
                <a:gd name="T39" fmla="*/ 0 h 917"/>
                <a:gd name="T40" fmla="*/ 4 w 1127"/>
                <a:gd name="T41" fmla="*/ 0 h 917"/>
                <a:gd name="T42" fmla="*/ 3 w 1127"/>
                <a:gd name="T43" fmla="*/ 1 h 917"/>
                <a:gd name="T44" fmla="*/ 2 w 1127"/>
                <a:gd name="T45" fmla="*/ 1 h 917"/>
                <a:gd name="T46" fmla="*/ 1 w 1127"/>
                <a:gd name="T47" fmla="*/ 2 h 917"/>
                <a:gd name="T48" fmla="*/ 0 w 1127"/>
                <a:gd name="T49" fmla="*/ 3 h 917"/>
                <a:gd name="T50" fmla="*/ 0 w 1127"/>
                <a:gd name="T51" fmla="*/ 4 h 917"/>
                <a:gd name="T52" fmla="*/ 0 w 1127"/>
                <a:gd name="T53" fmla="*/ 50 h 917"/>
                <a:gd name="T54" fmla="*/ 0 w 1127"/>
                <a:gd name="T55" fmla="*/ 51 h 917"/>
                <a:gd name="T56" fmla="*/ 1 w 1127"/>
                <a:gd name="T57" fmla="*/ 51 h 917"/>
                <a:gd name="T58" fmla="*/ 1 w 1127"/>
                <a:gd name="T59" fmla="*/ 52 h 917"/>
                <a:gd name="T60" fmla="*/ 2 w 1127"/>
                <a:gd name="T61" fmla="*/ 53 h 917"/>
                <a:gd name="T62" fmla="*/ 3 w 1127"/>
                <a:gd name="T63" fmla="*/ 53 h 917"/>
                <a:gd name="T64" fmla="*/ 5 w 1127"/>
                <a:gd name="T65" fmla="*/ 54 h 917"/>
                <a:gd name="T66" fmla="*/ 6 w 1127"/>
                <a:gd name="T67" fmla="*/ 54 h 917"/>
                <a:gd name="T68" fmla="*/ 8 w 1127"/>
                <a:gd name="T69" fmla="*/ 54 h 9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7"/>
                <a:gd name="T106" fmla="*/ 0 h 917"/>
                <a:gd name="T107" fmla="*/ 1127 w 1127"/>
                <a:gd name="T108" fmla="*/ 917 h 9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7" h="917">
                  <a:moveTo>
                    <a:pt x="68" y="917"/>
                  </a:moveTo>
                  <a:lnTo>
                    <a:pt x="1059" y="917"/>
                  </a:lnTo>
                  <a:lnTo>
                    <a:pt x="1066" y="917"/>
                  </a:lnTo>
                  <a:lnTo>
                    <a:pt x="1073" y="916"/>
                  </a:lnTo>
                  <a:lnTo>
                    <a:pt x="1079" y="915"/>
                  </a:lnTo>
                  <a:lnTo>
                    <a:pt x="1086" y="912"/>
                  </a:lnTo>
                  <a:lnTo>
                    <a:pt x="1092" y="909"/>
                  </a:lnTo>
                  <a:lnTo>
                    <a:pt x="1097" y="906"/>
                  </a:lnTo>
                  <a:lnTo>
                    <a:pt x="1102" y="902"/>
                  </a:lnTo>
                  <a:lnTo>
                    <a:pt x="1108" y="898"/>
                  </a:lnTo>
                  <a:lnTo>
                    <a:pt x="1112" y="892"/>
                  </a:lnTo>
                  <a:lnTo>
                    <a:pt x="1116" y="888"/>
                  </a:lnTo>
                  <a:lnTo>
                    <a:pt x="1119" y="882"/>
                  </a:lnTo>
                  <a:lnTo>
                    <a:pt x="1122" y="876"/>
                  </a:lnTo>
                  <a:lnTo>
                    <a:pt x="1125" y="869"/>
                  </a:lnTo>
                  <a:lnTo>
                    <a:pt x="1126" y="863"/>
                  </a:lnTo>
                  <a:lnTo>
                    <a:pt x="1127" y="856"/>
                  </a:lnTo>
                  <a:lnTo>
                    <a:pt x="1127" y="849"/>
                  </a:lnTo>
                  <a:lnTo>
                    <a:pt x="1127" y="68"/>
                  </a:lnTo>
                  <a:lnTo>
                    <a:pt x="1127" y="61"/>
                  </a:lnTo>
                  <a:lnTo>
                    <a:pt x="1126" y="54"/>
                  </a:lnTo>
                  <a:lnTo>
                    <a:pt x="1125" y="48"/>
                  </a:lnTo>
                  <a:lnTo>
                    <a:pt x="1122" y="42"/>
                  </a:lnTo>
                  <a:lnTo>
                    <a:pt x="1119" y="36"/>
                  </a:lnTo>
                  <a:lnTo>
                    <a:pt x="1116" y="31"/>
                  </a:lnTo>
                  <a:lnTo>
                    <a:pt x="1112" y="25"/>
                  </a:lnTo>
                  <a:lnTo>
                    <a:pt x="1108" y="21"/>
                  </a:lnTo>
                  <a:lnTo>
                    <a:pt x="1102" y="16"/>
                  </a:lnTo>
                  <a:lnTo>
                    <a:pt x="1097" y="11"/>
                  </a:lnTo>
                  <a:lnTo>
                    <a:pt x="1092" y="8"/>
                  </a:lnTo>
                  <a:lnTo>
                    <a:pt x="1086" y="6"/>
                  </a:lnTo>
                  <a:lnTo>
                    <a:pt x="1079" y="4"/>
                  </a:lnTo>
                  <a:lnTo>
                    <a:pt x="1073" y="1"/>
                  </a:lnTo>
                  <a:lnTo>
                    <a:pt x="1066" y="1"/>
                  </a:lnTo>
                  <a:lnTo>
                    <a:pt x="1059" y="0"/>
                  </a:lnTo>
                  <a:lnTo>
                    <a:pt x="68" y="0"/>
                  </a:lnTo>
                  <a:lnTo>
                    <a:pt x="61" y="1"/>
                  </a:lnTo>
                  <a:lnTo>
                    <a:pt x="54" y="1"/>
                  </a:lnTo>
                  <a:lnTo>
                    <a:pt x="48" y="4"/>
                  </a:lnTo>
                  <a:lnTo>
                    <a:pt x="41" y="6"/>
                  </a:lnTo>
                  <a:lnTo>
                    <a:pt x="35" y="8"/>
                  </a:lnTo>
                  <a:lnTo>
                    <a:pt x="29" y="11"/>
                  </a:lnTo>
                  <a:lnTo>
                    <a:pt x="25" y="16"/>
                  </a:lnTo>
                  <a:lnTo>
                    <a:pt x="19" y="21"/>
                  </a:lnTo>
                  <a:lnTo>
                    <a:pt x="15" y="25"/>
                  </a:lnTo>
                  <a:lnTo>
                    <a:pt x="11" y="31"/>
                  </a:lnTo>
                  <a:lnTo>
                    <a:pt x="8" y="36"/>
                  </a:lnTo>
                  <a:lnTo>
                    <a:pt x="5" y="42"/>
                  </a:lnTo>
                  <a:lnTo>
                    <a:pt x="2" y="48"/>
                  </a:lnTo>
                  <a:lnTo>
                    <a:pt x="1" y="54"/>
                  </a:lnTo>
                  <a:lnTo>
                    <a:pt x="0" y="61"/>
                  </a:lnTo>
                  <a:lnTo>
                    <a:pt x="0" y="68"/>
                  </a:lnTo>
                  <a:lnTo>
                    <a:pt x="0" y="849"/>
                  </a:lnTo>
                  <a:lnTo>
                    <a:pt x="0" y="856"/>
                  </a:lnTo>
                  <a:lnTo>
                    <a:pt x="1" y="863"/>
                  </a:lnTo>
                  <a:lnTo>
                    <a:pt x="2" y="869"/>
                  </a:lnTo>
                  <a:lnTo>
                    <a:pt x="5" y="876"/>
                  </a:lnTo>
                  <a:lnTo>
                    <a:pt x="8" y="882"/>
                  </a:lnTo>
                  <a:lnTo>
                    <a:pt x="11" y="888"/>
                  </a:lnTo>
                  <a:lnTo>
                    <a:pt x="15" y="892"/>
                  </a:lnTo>
                  <a:lnTo>
                    <a:pt x="19" y="898"/>
                  </a:lnTo>
                  <a:lnTo>
                    <a:pt x="25" y="902"/>
                  </a:lnTo>
                  <a:lnTo>
                    <a:pt x="29" y="906"/>
                  </a:lnTo>
                  <a:lnTo>
                    <a:pt x="35" y="909"/>
                  </a:lnTo>
                  <a:lnTo>
                    <a:pt x="41" y="912"/>
                  </a:lnTo>
                  <a:lnTo>
                    <a:pt x="48" y="915"/>
                  </a:lnTo>
                  <a:lnTo>
                    <a:pt x="54" y="916"/>
                  </a:lnTo>
                  <a:lnTo>
                    <a:pt x="61" y="917"/>
                  </a:lnTo>
                  <a:lnTo>
                    <a:pt x="68" y="917"/>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86" name="Rectangle 842"/>
            <p:cNvSpPr>
              <a:spLocks noChangeArrowheads="1"/>
            </p:cNvSpPr>
            <p:nvPr/>
          </p:nvSpPr>
          <p:spPr bwMode="auto">
            <a:xfrm>
              <a:off x="1094" y="3192"/>
              <a:ext cx="18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ustomer </a:t>
              </a:r>
              <a:endParaRPr lang="en-US" sz="1800" b="0" kern="0" baseline="0">
                <a:solidFill>
                  <a:sysClr val="windowText" lastClr="000000"/>
                </a:solidFill>
                <a:latin typeface="Arial" charset="0"/>
                <a:ea typeface="ＭＳ Ｐゴシック"/>
                <a:cs typeface="ＭＳ Ｐゴシック"/>
              </a:endParaRPr>
            </a:p>
          </p:txBody>
        </p:sp>
        <p:sp>
          <p:nvSpPr>
            <p:cNvPr id="287" name="Rectangle 843"/>
            <p:cNvSpPr>
              <a:spLocks noChangeArrowheads="1"/>
            </p:cNvSpPr>
            <p:nvPr/>
          </p:nvSpPr>
          <p:spPr bwMode="auto">
            <a:xfrm>
              <a:off x="1095" y="3226"/>
              <a:ext cx="15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quest </a:t>
              </a:r>
              <a:endParaRPr lang="en-US" sz="1800" b="0" kern="0" baseline="0">
                <a:solidFill>
                  <a:sysClr val="windowText" lastClr="000000"/>
                </a:solidFill>
                <a:latin typeface="Arial" charset="0"/>
                <a:ea typeface="ＭＳ Ｐゴシック"/>
                <a:cs typeface="ＭＳ Ｐゴシック"/>
              </a:endParaRPr>
            </a:p>
          </p:txBody>
        </p:sp>
        <p:sp>
          <p:nvSpPr>
            <p:cNvPr id="288" name="Rectangle 844"/>
            <p:cNvSpPr>
              <a:spLocks noChangeArrowheads="1"/>
            </p:cNvSpPr>
            <p:nvPr/>
          </p:nvSpPr>
          <p:spPr bwMode="auto">
            <a:xfrm>
              <a:off x="1256" y="3226"/>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289" name="Rectangle 845"/>
            <p:cNvSpPr>
              <a:spLocks noChangeArrowheads="1"/>
            </p:cNvSpPr>
            <p:nvPr/>
          </p:nvSpPr>
          <p:spPr bwMode="auto">
            <a:xfrm>
              <a:off x="1034" y="3261"/>
              <a:ext cx="28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sponse Mgmt</a:t>
              </a:r>
              <a:endParaRPr lang="en-US" sz="1800" b="0" kern="0" baseline="0">
                <a:solidFill>
                  <a:sysClr val="windowText" lastClr="000000"/>
                </a:solidFill>
                <a:latin typeface="Arial" charset="0"/>
                <a:ea typeface="ＭＳ Ｐゴシック"/>
                <a:cs typeface="ＭＳ Ｐゴシック"/>
              </a:endParaRPr>
            </a:p>
          </p:txBody>
        </p:sp>
        <p:sp>
          <p:nvSpPr>
            <p:cNvPr id="290" name="Freeform 846"/>
            <p:cNvSpPr>
              <a:spLocks/>
            </p:cNvSpPr>
            <p:nvPr/>
          </p:nvSpPr>
          <p:spPr bwMode="auto">
            <a:xfrm>
              <a:off x="993" y="2807"/>
              <a:ext cx="376" cy="222"/>
            </a:xfrm>
            <a:custGeom>
              <a:avLst/>
              <a:gdLst>
                <a:gd name="T0" fmla="*/ 118 w 1127"/>
                <a:gd name="T1" fmla="*/ 54 h 917"/>
                <a:gd name="T2" fmla="*/ 119 w 1127"/>
                <a:gd name="T3" fmla="*/ 54 h 917"/>
                <a:gd name="T4" fmla="*/ 121 w 1127"/>
                <a:gd name="T5" fmla="*/ 54 h 917"/>
                <a:gd name="T6" fmla="*/ 122 w 1127"/>
                <a:gd name="T7" fmla="*/ 53 h 917"/>
                <a:gd name="T8" fmla="*/ 123 w 1127"/>
                <a:gd name="T9" fmla="*/ 53 h 917"/>
                <a:gd name="T10" fmla="*/ 124 w 1127"/>
                <a:gd name="T11" fmla="*/ 52 h 917"/>
                <a:gd name="T12" fmla="*/ 125 w 1127"/>
                <a:gd name="T13" fmla="*/ 51 h 917"/>
                <a:gd name="T14" fmla="*/ 125 w 1127"/>
                <a:gd name="T15" fmla="*/ 51 h 917"/>
                <a:gd name="T16" fmla="*/ 125 w 1127"/>
                <a:gd name="T17" fmla="*/ 50 h 917"/>
                <a:gd name="T18" fmla="*/ 125 w 1127"/>
                <a:gd name="T19" fmla="*/ 4 h 917"/>
                <a:gd name="T20" fmla="*/ 125 w 1127"/>
                <a:gd name="T21" fmla="*/ 3 h 917"/>
                <a:gd name="T22" fmla="*/ 125 w 1127"/>
                <a:gd name="T23" fmla="*/ 2 h 917"/>
                <a:gd name="T24" fmla="*/ 124 w 1127"/>
                <a:gd name="T25" fmla="*/ 2 h 917"/>
                <a:gd name="T26" fmla="*/ 123 w 1127"/>
                <a:gd name="T27" fmla="*/ 1 h 917"/>
                <a:gd name="T28" fmla="*/ 122 w 1127"/>
                <a:gd name="T29" fmla="*/ 1 h 917"/>
                <a:gd name="T30" fmla="*/ 121 w 1127"/>
                <a:gd name="T31" fmla="*/ 0 h 917"/>
                <a:gd name="T32" fmla="*/ 119 w 1127"/>
                <a:gd name="T33" fmla="*/ 0 h 917"/>
                <a:gd name="T34" fmla="*/ 118 w 1127"/>
                <a:gd name="T35" fmla="*/ 0 h 917"/>
                <a:gd name="T36" fmla="*/ 7 w 1127"/>
                <a:gd name="T37" fmla="*/ 0 h 917"/>
                <a:gd name="T38" fmla="*/ 5 w 1127"/>
                <a:gd name="T39" fmla="*/ 0 h 917"/>
                <a:gd name="T40" fmla="*/ 4 w 1127"/>
                <a:gd name="T41" fmla="*/ 0 h 917"/>
                <a:gd name="T42" fmla="*/ 3 w 1127"/>
                <a:gd name="T43" fmla="*/ 1 h 917"/>
                <a:gd name="T44" fmla="*/ 2 w 1127"/>
                <a:gd name="T45" fmla="*/ 1 h 917"/>
                <a:gd name="T46" fmla="*/ 1 w 1127"/>
                <a:gd name="T47" fmla="*/ 2 h 917"/>
                <a:gd name="T48" fmla="*/ 0 w 1127"/>
                <a:gd name="T49" fmla="*/ 3 h 917"/>
                <a:gd name="T50" fmla="*/ 0 w 1127"/>
                <a:gd name="T51" fmla="*/ 4 h 917"/>
                <a:gd name="T52" fmla="*/ 0 w 1127"/>
                <a:gd name="T53" fmla="*/ 50 h 917"/>
                <a:gd name="T54" fmla="*/ 0 w 1127"/>
                <a:gd name="T55" fmla="*/ 51 h 917"/>
                <a:gd name="T56" fmla="*/ 1 w 1127"/>
                <a:gd name="T57" fmla="*/ 51 h 917"/>
                <a:gd name="T58" fmla="*/ 1 w 1127"/>
                <a:gd name="T59" fmla="*/ 52 h 917"/>
                <a:gd name="T60" fmla="*/ 2 w 1127"/>
                <a:gd name="T61" fmla="*/ 53 h 917"/>
                <a:gd name="T62" fmla="*/ 3 w 1127"/>
                <a:gd name="T63" fmla="*/ 53 h 917"/>
                <a:gd name="T64" fmla="*/ 5 w 1127"/>
                <a:gd name="T65" fmla="*/ 54 h 917"/>
                <a:gd name="T66" fmla="*/ 6 w 1127"/>
                <a:gd name="T67" fmla="*/ 54 h 917"/>
                <a:gd name="T68" fmla="*/ 8 w 1127"/>
                <a:gd name="T69" fmla="*/ 54 h 9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7"/>
                <a:gd name="T106" fmla="*/ 0 h 917"/>
                <a:gd name="T107" fmla="*/ 1127 w 1127"/>
                <a:gd name="T108" fmla="*/ 917 h 9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7" h="917">
                  <a:moveTo>
                    <a:pt x="68" y="917"/>
                  </a:moveTo>
                  <a:lnTo>
                    <a:pt x="1059" y="917"/>
                  </a:lnTo>
                  <a:lnTo>
                    <a:pt x="1066" y="917"/>
                  </a:lnTo>
                  <a:lnTo>
                    <a:pt x="1073" y="916"/>
                  </a:lnTo>
                  <a:lnTo>
                    <a:pt x="1079" y="915"/>
                  </a:lnTo>
                  <a:lnTo>
                    <a:pt x="1086" y="913"/>
                  </a:lnTo>
                  <a:lnTo>
                    <a:pt x="1092" y="909"/>
                  </a:lnTo>
                  <a:lnTo>
                    <a:pt x="1097" y="906"/>
                  </a:lnTo>
                  <a:lnTo>
                    <a:pt x="1102" y="902"/>
                  </a:lnTo>
                  <a:lnTo>
                    <a:pt x="1108" y="898"/>
                  </a:lnTo>
                  <a:lnTo>
                    <a:pt x="1112" y="892"/>
                  </a:lnTo>
                  <a:lnTo>
                    <a:pt x="1116" y="888"/>
                  </a:lnTo>
                  <a:lnTo>
                    <a:pt x="1119" y="882"/>
                  </a:lnTo>
                  <a:lnTo>
                    <a:pt x="1122" y="876"/>
                  </a:lnTo>
                  <a:lnTo>
                    <a:pt x="1125" y="870"/>
                  </a:lnTo>
                  <a:lnTo>
                    <a:pt x="1126" y="863"/>
                  </a:lnTo>
                  <a:lnTo>
                    <a:pt x="1127" y="856"/>
                  </a:lnTo>
                  <a:lnTo>
                    <a:pt x="1127" y="849"/>
                  </a:lnTo>
                  <a:lnTo>
                    <a:pt x="1127" y="68"/>
                  </a:lnTo>
                  <a:lnTo>
                    <a:pt x="1127" y="62"/>
                  </a:lnTo>
                  <a:lnTo>
                    <a:pt x="1126" y="55"/>
                  </a:lnTo>
                  <a:lnTo>
                    <a:pt x="1125" y="48"/>
                  </a:lnTo>
                  <a:lnTo>
                    <a:pt x="1122" y="42"/>
                  </a:lnTo>
                  <a:lnTo>
                    <a:pt x="1119" y="36"/>
                  </a:lnTo>
                  <a:lnTo>
                    <a:pt x="1116" y="31"/>
                  </a:lnTo>
                  <a:lnTo>
                    <a:pt x="1112" y="25"/>
                  </a:lnTo>
                  <a:lnTo>
                    <a:pt x="1108" y="21"/>
                  </a:lnTo>
                  <a:lnTo>
                    <a:pt x="1102" y="16"/>
                  </a:lnTo>
                  <a:lnTo>
                    <a:pt x="1097" y="12"/>
                  </a:lnTo>
                  <a:lnTo>
                    <a:pt x="1092" y="8"/>
                  </a:lnTo>
                  <a:lnTo>
                    <a:pt x="1086" y="6"/>
                  </a:lnTo>
                  <a:lnTo>
                    <a:pt x="1079" y="4"/>
                  </a:lnTo>
                  <a:lnTo>
                    <a:pt x="1073" y="2"/>
                  </a:lnTo>
                  <a:lnTo>
                    <a:pt x="1066" y="0"/>
                  </a:lnTo>
                  <a:lnTo>
                    <a:pt x="1059" y="0"/>
                  </a:lnTo>
                  <a:lnTo>
                    <a:pt x="68" y="0"/>
                  </a:lnTo>
                  <a:lnTo>
                    <a:pt x="61" y="0"/>
                  </a:lnTo>
                  <a:lnTo>
                    <a:pt x="54" y="2"/>
                  </a:lnTo>
                  <a:lnTo>
                    <a:pt x="48" y="4"/>
                  </a:lnTo>
                  <a:lnTo>
                    <a:pt x="41" y="6"/>
                  </a:lnTo>
                  <a:lnTo>
                    <a:pt x="35" y="8"/>
                  </a:lnTo>
                  <a:lnTo>
                    <a:pt x="29" y="12"/>
                  </a:lnTo>
                  <a:lnTo>
                    <a:pt x="25" y="16"/>
                  </a:lnTo>
                  <a:lnTo>
                    <a:pt x="19" y="21"/>
                  </a:lnTo>
                  <a:lnTo>
                    <a:pt x="15" y="25"/>
                  </a:lnTo>
                  <a:lnTo>
                    <a:pt x="11" y="31"/>
                  </a:lnTo>
                  <a:lnTo>
                    <a:pt x="8" y="36"/>
                  </a:lnTo>
                  <a:lnTo>
                    <a:pt x="5" y="42"/>
                  </a:lnTo>
                  <a:lnTo>
                    <a:pt x="2" y="48"/>
                  </a:lnTo>
                  <a:lnTo>
                    <a:pt x="1" y="55"/>
                  </a:lnTo>
                  <a:lnTo>
                    <a:pt x="0" y="62"/>
                  </a:lnTo>
                  <a:lnTo>
                    <a:pt x="0" y="68"/>
                  </a:lnTo>
                  <a:lnTo>
                    <a:pt x="0" y="849"/>
                  </a:lnTo>
                  <a:lnTo>
                    <a:pt x="0" y="856"/>
                  </a:lnTo>
                  <a:lnTo>
                    <a:pt x="1" y="863"/>
                  </a:lnTo>
                  <a:lnTo>
                    <a:pt x="2" y="870"/>
                  </a:lnTo>
                  <a:lnTo>
                    <a:pt x="5" y="876"/>
                  </a:lnTo>
                  <a:lnTo>
                    <a:pt x="8" y="882"/>
                  </a:lnTo>
                  <a:lnTo>
                    <a:pt x="11" y="888"/>
                  </a:lnTo>
                  <a:lnTo>
                    <a:pt x="15" y="892"/>
                  </a:lnTo>
                  <a:lnTo>
                    <a:pt x="19" y="898"/>
                  </a:lnTo>
                  <a:lnTo>
                    <a:pt x="25" y="902"/>
                  </a:lnTo>
                  <a:lnTo>
                    <a:pt x="29" y="906"/>
                  </a:lnTo>
                  <a:lnTo>
                    <a:pt x="35" y="909"/>
                  </a:lnTo>
                  <a:lnTo>
                    <a:pt x="41" y="913"/>
                  </a:lnTo>
                  <a:lnTo>
                    <a:pt x="48" y="915"/>
                  </a:lnTo>
                  <a:lnTo>
                    <a:pt x="54" y="916"/>
                  </a:lnTo>
                  <a:lnTo>
                    <a:pt x="61" y="917"/>
                  </a:lnTo>
                  <a:lnTo>
                    <a:pt x="68" y="917"/>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91" name="Freeform 847"/>
            <p:cNvSpPr>
              <a:spLocks/>
            </p:cNvSpPr>
            <p:nvPr/>
          </p:nvSpPr>
          <p:spPr bwMode="auto">
            <a:xfrm>
              <a:off x="993" y="2807"/>
              <a:ext cx="376" cy="222"/>
            </a:xfrm>
            <a:custGeom>
              <a:avLst/>
              <a:gdLst>
                <a:gd name="T0" fmla="*/ 118 w 1127"/>
                <a:gd name="T1" fmla="*/ 54 h 917"/>
                <a:gd name="T2" fmla="*/ 119 w 1127"/>
                <a:gd name="T3" fmla="*/ 54 h 917"/>
                <a:gd name="T4" fmla="*/ 121 w 1127"/>
                <a:gd name="T5" fmla="*/ 54 h 917"/>
                <a:gd name="T6" fmla="*/ 122 w 1127"/>
                <a:gd name="T7" fmla="*/ 53 h 917"/>
                <a:gd name="T8" fmla="*/ 123 w 1127"/>
                <a:gd name="T9" fmla="*/ 53 h 917"/>
                <a:gd name="T10" fmla="*/ 124 w 1127"/>
                <a:gd name="T11" fmla="*/ 52 h 917"/>
                <a:gd name="T12" fmla="*/ 125 w 1127"/>
                <a:gd name="T13" fmla="*/ 51 h 917"/>
                <a:gd name="T14" fmla="*/ 125 w 1127"/>
                <a:gd name="T15" fmla="*/ 51 h 917"/>
                <a:gd name="T16" fmla="*/ 125 w 1127"/>
                <a:gd name="T17" fmla="*/ 50 h 917"/>
                <a:gd name="T18" fmla="*/ 125 w 1127"/>
                <a:gd name="T19" fmla="*/ 4 h 917"/>
                <a:gd name="T20" fmla="*/ 125 w 1127"/>
                <a:gd name="T21" fmla="*/ 3 h 917"/>
                <a:gd name="T22" fmla="*/ 125 w 1127"/>
                <a:gd name="T23" fmla="*/ 2 h 917"/>
                <a:gd name="T24" fmla="*/ 124 w 1127"/>
                <a:gd name="T25" fmla="*/ 2 h 917"/>
                <a:gd name="T26" fmla="*/ 123 w 1127"/>
                <a:gd name="T27" fmla="*/ 1 h 917"/>
                <a:gd name="T28" fmla="*/ 122 w 1127"/>
                <a:gd name="T29" fmla="*/ 1 h 917"/>
                <a:gd name="T30" fmla="*/ 121 w 1127"/>
                <a:gd name="T31" fmla="*/ 0 h 917"/>
                <a:gd name="T32" fmla="*/ 119 w 1127"/>
                <a:gd name="T33" fmla="*/ 0 h 917"/>
                <a:gd name="T34" fmla="*/ 118 w 1127"/>
                <a:gd name="T35" fmla="*/ 0 h 917"/>
                <a:gd name="T36" fmla="*/ 7 w 1127"/>
                <a:gd name="T37" fmla="*/ 0 h 917"/>
                <a:gd name="T38" fmla="*/ 5 w 1127"/>
                <a:gd name="T39" fmla="*/ 0 h 917"/>
                <a:gd name="T40" fmla="*/ 4 w 1127"/>
                <a:gd name="T41" fmla="*/ 0 h 917"/>
                <a:gd name="T42" fmla="*/ 3 w 1127"/>
                <a:gd name="T43" fmla="*/ 1 h 917"/>
                <a:gd name="T44" fmla="*/ 2 w 1127"/>
                <a:gd name="T45" fmla="*/ 1 h 917"/>
                <a:gd name="T46" fmla="*/ 1 w 1127"/>
                <a:gd name="T47" fmla="*/ 2 h 917"/>
                <a:gd name="T48" fmla="*/ 0 w 1127"/>
                <a:gd name="T49" fmla="*/ 3 h 917"/>
                <a:gd name="T50" fmla="*/ 0 w 1127"/>
                <a:gd name="T51" fmla="*/ 4 h 917"/>
                <a:gd name="T52" fmla="*/ 0 w 1127"/>
                <a:gd name="T53" fmla="*/ 50 h 917"/>
                <a:gd name="T54" fmla="*/ 0 w 1127"/>
                <a:gd name="T55" fmla="*/ 51 h 917"/>
                <a:gd name="T56" fmla="*/ 1 w 1127"/>
                <a:gd name="T57" fmla="*/ 51 h 917"/>
                <a:gd name="T58" fmla="*/ 1 w 1127"/>
                <a:gd name="T59" fmla="*/ 52 h 917"/>
                <a:gd name="T60" fmla="*/ 2 w 1127"/>
                <a:gd name="T61" fmla="*/ 53 h 917"/>
                <a:gd name="T62" fmla="*/ 3 w 1127"/>
                <a:gd name="T63" fmla="*/ 53 h 917"/>
                <a:gd name="T64" fmla="*/ 5 w 1127"/>
                <a:gd name="T65" fmla="*/ 54 h 917"/>
                <a:gd name="T66" fmla="*/ 6 w 1127"/>
                <a:gd name="T67" fmla="*/ 54 h 917"/>
                <a:gd name="T68" fmla="*/ 8 w 1127"/>
                <a:gd name="T69" fmla="*/ 54 h 9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7"/>
                <a:gd name="T106" fmla="*/ 0 h 917"/>
                <a:gd name="T107" fmla="*/ 1127 w 1127"/>
                <a:gd name="T108" fmla="*/ 917 h 9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7" h="917">
                  <a:moveTo>
                    <a:pt x="68" y="917"/>
                  </a:moveTo>
                  <a:lnTo>
                    <a:pt x="1059" y="917"/>
                  </a:lnTo>
                  <a:lnTo>
                    <a:pt x="1066" y="917"/>
                  </a:lnTo>
                  <a:lnTo>
                    <a:pt x="1073" y="916"/>
                  </a:lnTo>
                  <a:lnTo>
                    <a:pt x="1079" y="915"/>
                  </a:lnTo>
                  <a:lnTo>
                    <a:pt x="1086" y="913"/>
                  </a:lnTo>
                  <a:lnTo>
                    <a:pt x="1092" y="909"/>
                  </a:lnTo>
                  <a:lnTo>
                    <a:pt x="1097" y="906"/>
                  </a:lnTo>
                  <a:lnTo>
                    <a:pt x="1102" y="902"/>
                  </a:lnTo>
                  <a:lnTo>
                    <a:pt x="1108" y="898"/>
                  </a:lnTo>
                  <a:lnTo>
                    <a:pt x="1112" y="892"/>
                  </a:lnTo>
                  <a:lnTo>
                    <a:pt x="1116" y="888"/>
                  </a:lnTo>
                  <a:lnTo>
                    <a:pt x="1119" y="882"/>
                  </a:lnTo>
                  <a:lnTo>
                    <a:pt x="1122" y="876"/>
                  </a:lnTo>
                  <a:lnTo>
                    <a:pt x="1125" y="870"/>
                  </a:lnTo>
                  <a:lnTo>
                    <a:pt x="1126" y="863"/>
                  </a:lnTo>
                  <a:lnTo>
                    <a:pt x="1127" y="856"/>
                  </a:lnTo>
                  <a:lnTo>
                    <a:pt x="1127" y="849"/>
                  </a:lnTo>
                  <a:lnTo>
                    <a:pt x="1127" y="68"/>
                  </a:lnTo>
                  <a:lnTo>
                    <a:pt x="1127" y="62"/>
                  </a:lnTo>
                  <a:lnTo>
                    <a:pt x="1126" y="55"/>
                  </a:lnTo>
                  <a:lnTo>
                    <a:pt x="1125" y="48"/>
                  </a:lnTo>
                  <a:lnTo>
                    <a:pt x="1122" y="42"/>
                  </a:lnTo>
                  <a:lnTo>
                    <a:pt x="1119" y="36"/>
                  </a:lnTo>
                  <a:lnTo>
                    <a:pt x="1116" y="31"/>
                  </a:lnTo>
                  <a:lnTo>
                    <a:pt x="1112" y="25"/>
                  </a:lnTo>
                  <a:lnTo>
                    <a:pt x="1108" y="21"/>
                  </a:lnTo>
                  <a:lnTo>
                    <a:pt x="1102" y="16"/>
                  </a:lnTo>
                  <a:lnTo>
                    <a:pt x="1097" y="12"/>
                  </a:lnTo>
                  <a:lnTo>
                    <a:pt x="1092" y="8"/>
                  </a:lnTo>
                  <a:lnTo>
                    <a:pt x="1086" y="6"/>
                  </a:lnTo>
                  <a:lnTo>
                    <a:pt x="1079" y="4"/>
                  </a:lnTo>
                  <a:lnTo>
                    <a:pt x="1073" y="2"/>
                  </a:lnTo>
                  <a:lnTo>
                    <a:pt x="1066" y="0"/>
                  </a:lnTo>
                  <a:lnTo>
                    <a:pt x="1059" y="0"/>
                  </a:lnTo>
                  <a:lnTo>
                    <a:pt x="68" y="0"/>
                  </a:lnTo>
                  <a:lnTo>
                    <a:pt x="61" y="0"/>
                  </a:lnTo>
                  <a:lnTo>
                    <a:pt x="54" y="2"/>
                  </a:lnTo>
                  <a:lnTo>
                    <a:pt x="48" y="4"/>
                  </a:lnTo>
                  <a:lnTo>
                    <a:pt x="41" y="6"/>
                  </a:lnTo>
                  <a:lnTo>
                    <a:pt x="35" y="8"/>
                  </a:lnTo>
                  <a:lnTo>
                    <a:pt x="29" y="12"/>
                  </a:lnTo>
                  <a:lnTo>
                    <a:pt x="25" y="16"/>
                  </a:lnTo>
                  <a:lnTo>
                    <a:pt x="19" y="21"/>
                  </a:lnTo>
                  <a:lnTo>
                    <a:pt x="15" y="25"/>
                  </a:lnTo>
                  <a:lnTo>
                    <a:pt x="11" y="31"/>
                  </a:lnTo>
                  <a:lnTo>
                    <a:pt x="8" y="36"/>
                  </a:lnTo>
                  <a:lnTo>
                    <a:pt x="5" y="42"/>
                  </a:lnTo>
                  <a:lnTo>
                    <a:pt x="2" y="48"/>
                  </a:lnTo>
                  <a:lnTo>
                    <a:pt x="1" y="55"/>
                  </a:lnTo>
                  <a:lnTo>
                    <a:pt x="0" y="62"/>
                  </a:lnTo>
                  <a:lnTo>
                    <a:pt x="0" y="68"/>
                  </a:lnTo>
                  <a:lnTo>
                    <a:pt x="0" y="849"/>
                  </a:lnTo>
                  <a:lnTo>
                    <a:pt x="0" y="856"/>
                  </a:lnTo>
                  <a:lnTo>
                    <a:pt x="1" y="863"/>
                  </a:lnTo>
                  <a:lnTo>
                    <a:pt x="2" y="870"/>
                  </a:lnTo>
                  <a:lnTo>
                    <a:pt x="5" y="876"/>
                  </a:lnTo>
                  <a:lnTo>
                    <a:pt x="8" y="882"/>
                  </a:lnTo>
                  <a:lnTo>
                    <a:pt x="11" y="888"/>
                  </a:lnTo>
                  <a:lnTo>
                    <a:pt x="15" y="892"/>
                  </a:lnTo>
                  <a:lnTo>
                    <a:pt x="19" y="898"/>
                  </a:lnTo>
                  <a:lnTo>
                    <a:pt x="25" y="902"/>
                  </a:lnTo>
                  <a:lnTo>
                    <a:pt x="29" y="906"/>
                  </a:lnTo>
                  <a:lnTo>
                    <a:pt x="35" y="909"/>
                  </a:lnTo>
                  <a:lnTo>
                    <a:pt x="41" y="913"/>
                  </a:lnTo>
                  <a:lnTo>
                    <a:pt x="48" y="915"/>
                  </a:lnTo>
                  <a:lnTo>
                    <a:pt x="54" y="916"/>
                  </a:lnTo>
                  <a:lnTo>
                    <a:pt x="61" y="917"/>
                  </a:lnTo>
                  <a:lnTo>
                    <a:pt x="68" y="917"/>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92" name="Rectangle 848"/>
            <p:cNvSpPr>
              <a:spLocks noChangeArrowheads="1"/>
            </p:cNvSpPr>
            <p:nvPr/>
          </p:nvSpPr>
          <p:spPr bwMode="auto">
            <a:xfrm>
              <a:off x="1040" y="2866"/>
              <a:ext cx="267"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ustomer Req </a:t>
              </a:r>
              <a:endParaRPr lang="en-US" sz="1800" b="0" kern="0" baseline="0">
                <a:solidFill>
                  <a:sysClr val="windowText" lastClr="000000"/>
                </a:solidFill>
                <a:latin typeface="Arial" charset="0"/>
                <a:ea typeface="ＭＳ Ｐゴシック"/>
                <a:cs typeface="ＭＳ Ｐゴシック"/>
              </a:endParaRPr>
            </a:p>
          </p:txBody>
        </p:sp>
        <p:sp>
          <p:nvSpPr>
            <p:cNvPr id="293" name="Rectangle 849"/>
            <p:cNvSpPr>
              <a:spLocks noChangeArrowheads="1"/>
            </p:cNvSpPr>
            <p:nvPr/>
          </p:nvSpPr>
          <p:spPr bwMode="auto">
            <a:xfrm>
              <a:off x="1310" y="2866"/>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294" name="Rectangle 850"/>
            <p:cNvSpPr>
              <a:spLocks noChangeArrowheads="1"/>
            </p:cNvSpPr>
            <p:nvPr/>
          </p:nvSpPr>
          <p:spPr bwMode="auto">
            <a:xfrm>
              <a:off x="1034" y="2901"/>
              <a:ext cx="30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sponse Mgmt </a:t>
              </a:r>
              <a:endParaRPr lang="en-US" sz="1800" b="0" kern="0" baseline="0">
                <a:solidFill>
                  <a:sysClr val="windowText" lastClr="000000"/>
                </a:solidFill>
                <a:latin typeface="Arial" charset="0"/>
                <a:ea typeface="ＭＳ Ｐゴシック"/>
                <a:cs typeface="ＭＳ Ｐゴシック"/>
              </a:endParaRPr>
            </a:p>
          </p:txBody>
        </p:sp>
        <p:sp>
          <p:nvSpPr>
            <p:cNvPr id="295" name="Rectangle 851"/>
            <p:cNvSpPr>
              <a:spLocks noChangeArrowheads="1"/>
            </p:cNvSpPr>
            <p:nvPr/>
          </p:nvSpPr>
          <p:spPr bwMode="auto">
            <a:xfrm>
              <a:off x="1068" y="2936"/>
              <a:ext cx="1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296" name="Rectangle 852"/>
            <p:cNvSpPr>
              <a:spLocks noChangeArrowheads="1"/>
            </p:cNvSpPr>
            <p:nvPr/>
          </p:nvSpPr>
          <p:spPr bwMode="auto">
            <a:xfrm>
              <a:off x="1082" y="2936"/>
              <a:ext cx="19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emergency</a:t>
              </a:r>
              <a:endParaRPr lang="en-US" sz="1800" b="0" kern="0" baseline="0">
                <a:solidFill>
                  <a:sysClr val="windowText" lastClr="000000"/>
                </a:solidFill>
                <a:latin typeface="Arial" charset="0"/>
                <a:ea typeface="ＭＳ Ｐゴシック"/>
                <a:cs typeface="ＭＳ Ｐゴシック"/>
              </a:endParaRPr>
            </a:p>
          </p:txBody>
        </p:sp>
        <p:sp>
          <p:nvSpPr>
            <p:cNvPr id="297" name="Rectangle 853"/>
            <p:cNvSpPr>
              <a:spLocks noChangeArrowheads="1"/>
            </p:cNvSpPr>
            <p:nvPr/>
          </p:nvSpPr>
          <p:spPr bwMode="auto">
            <a:xfrm>
              <a:off x="1280" y="2936"/>
              <a:ext cx="1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298" name="Freeform 854"/>
            <p:cNvSpPr>
              <a:spLocks/>
            </p:cNvSpPr>
            <p:nvPr/>
          </p:nvSpPr>
          <p:spPr bwMode="auto">
            <a:xfrm>
              <a:off x="993" y="3446"/>
              <a:ext cx="376" cy="223"/>
            </a:xfrm>
            <a:custGeom>
              <a:avLst/>
              <a:gdLst>
                <a:gd name="T0" fmla="*/ 118 w 1128"/>
                <a:gd name="T1" fmla="*/ 54 h 917"/>
                <a:gd name="T2" fmla="*/ 119 w 1128"/>
                <a:gd name="T3" fmla="*/ 54 h 917"/>
                <a:gd name="T4" fmla="*/ 121 w 1128"/>
                <a:gd name="T5" fmla="*/ 54 h 917"/>
                <a:gd name="T6" fmla="*/ 122 w 1128"/>
                <a:gd name="T7" fmla="*/ 54 h 917"/>
                <a:gd name="T8" fmla="*/ 123 w 1128"/>
                <a:gd name="T9" fmla="*/ 53 h 917"/>
                <a:gd name="T10" fmla="*/ 124 w 1128"/>
                <a:gd name="T11" fmla="*/ 52 h 917"/>
                <a:gd name="T12" fmla="*/ 125 w 1128"/>
                <a:gd name="T13" fmla="*/ 52 h 917"/>
                <a:gd name="T14" fmla="*/ 125 w 1128"/>
                <a:gd name="T15" fmla="*/ 51 h 917"/>
                <a:gd name="T16" fmla="*/ 125 w 1128"/>
                <a:gd name="T17" fmla="*/ 50 h 917"/>
                <a:gd name="T18" fmla="*/ 125 w 1128"/>
                <a:gd name="T19" fmla="*/ 4 h 917"/>
                <a:gd name="T20" fmla="*/ 125 w 1128"/>
                <a:gd name="T21" fmla="*/ 3 h 917"/>
                <a:gd name="T22" fmla="*/ 125 w 1128"/>
                <a:gd name="T23" fmla="*/ 2 h 917"/>
                <a:gd name="T24" fmla="*/ 124 w 1128"/>
                <a:gd name="T25" fmla="*/ 2 h 917"/>
                <a:gd name="T26" fmla="*/ 123 w 1128"/>
                <a:gd name="T27" fmla="*/ 1 h 917"/>
                <a:gd name="T28" fmla="*/ 122 w 1128"/>
                <a:gd name="T29" fmla="*/ 1 h 917"/>
                <a:gd name="T30" fmla="*/ 121 w 1128"/>
                <a:gd name="T31" fmla="*/ 0 h 917"/>
                <a:gd name="T32" fmla="*/ 119 w 1128"/>
                <a:gd name="T33" fmla="*/ 0 h 917"/>
                <a:gd name="T34" fmla="*/ 118 w 1128"/>
                <a:gd name="T35" fmla="*/ 0 h 917"/>
                <a:gd name="T36" fmla="*/ 8 w 1128"/>
                <a:gd name="T37" fmla="*/ 0 h 917"/>
                <a:gd name="T38" fmla="*/ 6 w 1128"/>
                <a:gd name="T39" fmla="*/ 0 h 917"/>
                <a:gd name="T40" fmla="*/ 5 w 1128"/>
                <a:gd name="T41" fmla="*/ 0 h 917"/>
                <a:gd name="T42" fmla="*/ 3 w 1128"/>
                <a:gd name="T43" fmla="*/ 1 h 917"/>
                <a:gd name="T44" fmla="*/ 2 w 1128"/>
                <a:gd name="T45" fmla="*/ 1 h 917"/>
                <a:gd name="T46" fmla="*/ 1 w 1128"/>
                <a:gd name="T47" fmla="*/ 2 h 917"/>
                <a:gd name="T48" fmla="*/ 1 w 1128"/>
                <a:gd name="T49" fmla="*/ 2 h 917"/>
                <a:gd name="T50" fmla="*/ 0 w 1128"/>
                <a:gd name="T51" fmla="*/ 3 h 917"/>
                <a:gd name="T52" fmla="*/ 0 w 1128"/>
                <a:gd name="T53" fmla="*/ 4 h 917"/>
                <a:gd name="T54" fmla="*/ 0 w 1128"/>
                <a:gd name="T55" fmla="*/ 51 h 917"/>
                <a:gd name="T56" fmla="*/ 0 w 1128"/>
                <a:gd name="T57" fmla="*/ 51 h 917"/>
                <a:gd name="T58" fmla="*/ 1 w 1128"/>
                <a:gd name="T59" fmla="*/ 52 h 917"/>
                <a:gd name="T60" fmla="*/ 2 w 1128"/>
                <a:gd name="T61" fmla="*/ 53 h 917"/>
                <a:gd name="T62" fmla="*/ 3 w 1128"/>
                <a:gd name="T63" fmla="*/ 53 h 917"/>
                <a:gd name="T64" fmla="*/ 4 w 1128"/>
                <a:gd name="T65" fmla="*/ 54 h 917"/>
                <a:gd name="T66" fmla="*/ 5 w 1128"/>
                <a:gd name="T67" fmla="*/ 54 h 917"/>
                <a:gd name="T68" fmla="*/ 7 w 1128"/>
                <a:gd name="T69" fmla="*/ 54 h 917"/>
                <a:gd name="T70" fmla="*/ 8 w 1128"/>
                <a:gd name="T71" fmla="*/ 54 h 9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28"/>
                <a:gd name="T109" fmla="*/ 0 h 917"/>
                <a:gd name="T110" fmla="*/ 1128 w 1128"/>
                <a:gd name="T111" fmla="*/ 917 h 9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28" h="917">
                  <a:moveTo>
                    <a:pt x="68" y="917"/>
                  </a:moveTo>
                  <a:lnTo>
                    <a:pt x="1060" y="917"/>
                  </a:lnTo>
                  <a:lnTo>
                    <a:pt x="1067" y="916"/>
                  </a:lnTo>
                  <a:lnTo>
                    <a:pt x="1074" y="915"/>
                  </a:lnTo>
                  <a:lnTo>
                    <a:pt x="1079" y="914"/>
                  </a:lnTo>
                  <a:lnTo>
                    <a:pt x="1086" y="911"/>
                  </a:lnTo>
                  <a:lnTo>
                    <a:pt x="1092" y="908"/>
                  </a:lnTo>
                  <a:lnTo>
                    <a:pt x="1097" y="905"/>
                  </a:lnTo>
                  <a:lnTo>
                    <a:pt x="1103" y="901"/>
                  </a:lnTo>
                  <a:lnTo>
                    <a:pt x="1108" y="897"/>
                  </a:lnTo>
                  <a:lnTo>
                    <a:pt x="1112" y="892"/>
                  </a:lnTo>
                  <a:lnTo>
                    <a:pt x="1116" y="886"/>
                  </a:lnTo>
                  <a:lnTo>
                    <a:pt x="1119" y="881"/>
                  </a:lnTo>
                  <a:lnTo>
                    <a:pt x="1122" y="875"/>
                  </a:lnTo>
                  <a:lnTo>
                    <a:pt x="1125" y="868"/>
                  </a:lnTo>
                  <a:lnTo>
                    <a:pt x="1126" y="863"/>
                  </a:lnTo>
                  <a:lnTo>
                    <a:pt x="1127" y="856"/>
                  </a:lnTo>
                  <a:lnTo>
                    <a:pt x="1128" y="849"/>
                  </a:lnTo>
                  <a:lnTo>
                    <a:pt x="1128" y="68"/>
                  </a:lnTo>
                  <a:lnTo>
                    <a:pt x="1127" y="60"/>
                  </a:lnTo>
                  <a:lnTo>
                    <a:pt x="1126" y="53"/>
                  </a:lnTo>
                  <a:lnTo>
                    <a:pt x="1125" y="48"/>
                  </a:lnTo>
                  <a:lnTo>
                    <a:pt x="1122" y="41"/>
                  </a:lnTo>
                  <a:lnTo>
                    <a:pt x="1119" y="35"/>
                  </a:lnTo>
                  <a:lnTo>
                    <a:pt x="1116" y="30"/>
                  </a:lnTo>
                  <a:lnTo>
                    <a:pt x="1112" y="24"/>
                  </a:lnTo>
                  <a:lnTo>
                    <a:pt x="1108" y="20"/>
                  </a:lnTo>
                  <a:lnTo>
                    <a:pt x="1103" y="15"/>
                  </a:lnTo>
                  <a:lnTo>
                    <a:pt x="1097" y="12"/>
                  </a:lnTo>
                  <a:lnTo>
                    <a:pt x="1092" y="8"/>
                  </a:lnTo>
                  <a:lnTo>
                    <a:pt x="1086" y="5"/>
                  </a:lnTo>
                  <a:lnTo>
                    <a:pt x="1079" y="3"/>
                  </a:lnTo>
                  <a:lnTo>
                    <a:pt x="1074" y="1"/>
                  </a:lnTo>
                  <a:lnTo>
                    <a:pt x="1067" y="0"/>
                  </a:lnTo>
                  <a:lnTo>
                    <a:pt x="1060" y="0"/>
                  </a:lnTo>
                  <a:lnTo>
                    <a:pt x="68" y="0"/>
                  </a:lnTo>
                  <a:lnTo>
                    <a:pt x="61" y="0"/>
                  </a:lnTo>
                  <a:lnTo>
                    <a:pt x="54" y="1"/>
                  </a:lnTo>
                  <a:lnTo>
                    <a:pt x="48" y="3"/>
                  </a:lnTo>
                  <a:lnTo>
                    <a:pt x="42" y="5"/>
                  </a:lnTo>
                  <a:lnTo>
                    <a:pt x="35" y="8"/>
                  </a:lnTo>
                  <a:lnTo>
                    <a:pt x="29" y="12"/>
                  </a:lnTo>
                  <a:lnTo>
                    <a:pt x="25" y="15"/>
                  </a:lnTo>
                  <a:lnTo>
                    <a:pt x="19" y="20"/>
                  </a:lnTo>
                  <a:lnTo>
                    <a:pt x="16" y="24"/>
                  </a:lnTo>
                  <a:lnTo>
                    <a:pt x="11" y="30"/>
                  </a:lnTo>
                  <a:lnTo>
                    <a:pt x="8" y="35"/>
                  </a:lnTo>
                  <a:lnTo>
                    <a:pt x="6" y="41"/>
                  </a:lnTo>
                  <a:lnTo>
                    <a:pt x="3" y="48"/>
                  </a:lnTo>
                  <a:lnTo>
                    <a:pt x="1" y="53"/>
                  </a:lnTo>
                  <a:lnTo>
                    <a:pt x="0" y="60"/>
                  </a:lnTo>
                  <a:lnTo>
                    <a:pt x="0" y="68"/>
                  </a:lnTo>
                  <a:lnTo>
                    <a:pt x="0" y="849"/>
                  </a:lnTo>
                  <a:lnTo>
                    <a:pt x="0" y="856"/>
                  </a:lnTo>
                  <a:lnTo>
                    <a:pt x="1" y="863"/>
                  </a:lnTo>
                  <a:lnTo>
                    <a:pt x="3" y="868"/>
                  </a:lnTo>
                  <a:lnTo>
                    <a:pt x="6" y="875"/>
                  </a:lnTo>
                  <a:lnTo>
                    <a:pt x="8" y="881"/>
                  </a:lnTo>
                  <a:lnTo>
                    <a:pt x="11" y="886"/>
                  </a:lnTo>
                  <a:lnTo>
                    <a:pt x="16" y="892"/>
                  </a:lnTo>
                  <a:lnTo>
                    <a:pt x="19" y="897"/>
                  </a:lnTo>
                  <a:lnTo>
                    <a:pt x="25" y="901"/>
                  </a:lnTo>
                  <a:lnTo>
                    <a:pt x="29" y="905"/>
                  </a:lnTo>
                  <a:lnTo>
                    <a:pt x="35" y="908"/>
                  </a:lnTo>
                  <a:lnTo>
                    <a:pt x="42" y="911"/>
                  </a:lnTo>
                  <a:lnTo>
                    <a:pt x="48" y="914"/>
                  </a:lnTo>
                  <a:lnTo>
                    <a:pt x="54" y="915"/>
                  </a:lnTo>
                  <a:lnTo>
                    <a:pt x="61" y="916"/>
                  </a:lnTo>
                  <a:lnTo>
                    <a:pt x="68" y="917"/>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299" name="Freeform 855"/>
            <p:cNvSpPr>
              <a:spLocks/>
            </p:cNvSpPr>
            <p:nvPr/>
          </p:nvSpPr>
          <p:spPr bwMode="auto">
            <a:xfrm>
              <a:off x="993" y="3446"/>
              <a:ext cx="376" cy="223"/>
            </a:xfrm>
            <a:custGeom>
              <a:avLst/>
              <a:gdLst>
                <a:gd name="T0" fmla="*/ 118 w 1128"/>
                <a:gd name="T1" fmla="*/ 54 h 917"/>
                <a:gd name="T2" fmla="*/ 119 w 1128"/>
                <a:gd name="T3" fmla="*/ 54 h 917"/>
                <a:gd name="T4" fmla="*/ 121 w 1128"/>
                <a:gd name="T5" fmla="*/ 54 h 917"/>
                <a:gd name="T6" fmla="*/ 122 w 1128"/>
                <a:gd name="T7" fmla="*/ 54 h 917"/>
                <a:gd name="T8" fmla="*/ 123 w 1128"/>
                <a:gd name="T9" fmla="*/ 53 h 917"/>
                <a:gd name="T10" fmla="*/ 124 w 1128"/>
                <a:gd name="T11" fmla="*/ 52 h 917"/>
                <a:gd name="T12" fmla="*/ 125 w 1128"/>
                <a:gd name="T13" fmla="*/ 52 h 917"/>
                <a:gd name="T14" fmla="*/ 125 w 1128"/>
                <a:gd name="T15" fmla="*/ 51 h 917"/>
                <a:gd name="T16" fmla="*/ 125 w 1128"/>
                <a:gd name="T17" fmla="*/ 50 h 917"/>
                <a:gd name="T18" fmla="*/ 125 w 1128"/>
                <a:gd name="T19" fmla="*/ 4 h 917"/>
                <a:gd name="T20" fmla="*/ 125 w 1128"/>
                <a:gd name="T21" fmla="*/ 3 h 917"/>
                <a:gd name="T22" fmla="*/ 125 w 1128"/>
                <a:gd name="T23" fmla="*/ 2 h 917"/>
                <a:gd name="T24" fmla="*/ 124 w 1128"/>
                <a:gd name="T25" fmla="*/ 2 h 917"/>
                <a:gd name="T26" fmla="*/ 123 w 1128"/>
                <a:gd name="T27" fmla="*/ 1 h 917"/>
                <a:gd name="T28" fmla="*/ 122 w 1128"/>
                <a:gd name="T29" fmla="*/ 1 h 917"/>
                <a:gd name="T30" fmla="*/ 121 w 1128"/>
                <a:gd name="T31" fmla="*/ 0 h 917"/>
                <a:gd name="T32" fmla="*/ 119 w 1128"/>
                <a:gd name="T33" fmla="*/ 0 h 917"/>
                <a:gd name="T34" fmla="*/ 118 w 1128"/>
                <a:gd name="T35" fmla="*/ 0 h 917"/>
                <a:gd name="T36" fmla="*/ 8 w 1128"/>
                <a:gd name="T37" fmla="*/ 0 h 917"/>
                <a:gd name="T38" fmla="*/ 6 w 1128"/>
                <a:gd name="T39" fmla="*/ 0 h 917"/>
                <a:gd name="T40" fmla="*/ 5 w 1128"/>
                <a:gd name="T41" fmla="*/ 0 h 917"/>
                <a:gd name="T42" fmla="*/ 3 w 1128"/>
                <a:gd name="T43" fmla="*/ 1 h 917"/>
                <a:gd name="T44" fmla="*/ 2 w 1128"/>
                <a:gd name="T45" fmla="*/ 1 h 917"/>
                <a:gd name="T46" fmla="*/ 1 w 1128"/>
                <a:gd name="T47" fmla="*/ 2 h 917"/>
                <a:gd name="T48" fmla="*/ 1 w 1128"/>
                <a:gd name="T49" fmla="*/ 2 h 917"/>
                <a:gd name="T50" fmla="*/ 0 w 1128"/>
                <a:gd name="T51" fmla="*/ 3 h 917"/>
                <a:gd name="T52" fmla="*/ 0 w 1128"/>
                <a:gd name="T53" fmla="*/ 4 h 917"/>
                <a:gd name="T54" fmla="*/ 0 w 1128"/>
                <a:gd name="T55" fmla="*/ 51 h 917"/>
                <a:gd name="T56" fmla="*/ 0 w 1128"/>
                <a:gd name="T57" fmla="*/ 51 h 917"/>
                <a:gd name="T58" fmla="*/ 1 w 1128"/>
                <a:gd name="T59" fmla="*/ 52 h 917"/>
                <a:gd name="T60" fmla="*/ 2 w 1128"/>
                <a:gd name="T61" fmla="*/ 53 h 917"/>
                <a:gd name="T62" fmla="*/ 3 w 1128"/>
                <a:gd name="T63" fmla="*/ 53 h 917"/>
                <a:gd name="T64" fmla="*/ 4 w 1128"/>
                <a:gd name="T65" fmla="*/ 54 h 917"/>
                <a:gd name="T66" fmla="*/ 5 w 1128"/>
                <a:gd name="T67" fmla="*/ 54 h 917"/>
                <a:gd name="T68" fmla="*/ 7 w 1128"/>
                <a:gd name="T69" fmla="*/ 54 h 917"/>
                <a:gd name="T70" fmla="*/ 8 w 1128"/>
                <a:gd name="T71" fmla="*/ 54 h 9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28"/>
                <a:gd name="T109" fmla="*/ 0 h 917"/>
                <a:gd name="T110" fmla="*/ 1128 w 1128"/>
                <a:gd name="T111" fmla="*/ 917 h 9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28" h="917">
                  <a:moveTo>
                    <a:pt x="68" y="917"/>
                  </a:moveTo>
                  <a:lnTo>
                    <a:pt x="1060" y="917"/>
                  </a:lnTo>
                  <a:lnTo>
                    <a:pt x="1067" y="916"/>
                  </a:lnTo>
                  <a:lnTo>
                    <a:pt x="1074" y="915"/>
                  </a:lnTo>
                  <a:lnTo>
                    <a:pt x="1079" y="914"/>
                  </a:lnTo>
                  <a:lnTo>
                    <a:pt x="1086" y="911"/>
                  </a:lnTo>
                  <a:lnTo>
                    <a:pt x="1092" y="908"/>
                  </a:lnTo>
                  <a:lnTo>
                    <a:pt x="1097" y="905"/>
                  </a:lnTo>
                  <a:lnTo>
                    <a:pt x="1103" y="901"/>
                  </a:lnTo>
                  <a:lnTo>
                    <a:pt x="1108" y="897"/>
                  </a:lnTo>
                  <a:lnTo>
                    <a:pt x="1112" y="892"/>
                  </a:lnTo>
                  <a:lnTo>
                    <a:pt x="1116" y="886"/>
                  </a:lnTo>
                  <a:lnTo>
                    <a:pt x="1119" y="881"/>
                  </a:lnTo>
                  <a:lnTo>
                    <a:pt x="1122" y="875"/>
                  </a:lnTo>
                  <a:lnTo>
                    <a:pt x="1125" y="868"/>
                  </a:lnTo>
                  <a:lnTo>
                    <a:pt x="1126" y="863"/>
                  </a:lnTo>
                  <a:lnTo>
                    <a:pt x="1127" y="856"/>
                  </a:lnTo>
                  <a:lnTo>
                    <a:pt x="1128" y="849"/>
                  </a:lnTo>
                  <a:lnTo>
                    <a:pt x="1128" y="68"/>
                  </a:lnTo>
                  <a:lnTo>
                    <a:pt x="1127" y="60"/>
                  </a:lnTo>
                  <a:lnTo>
                    <a:pt x="1126" y="53"/>
                  </a:lnTo>
                  <a:lnTo>
                    <a:pt x="1125" y="48"/>
                  </a:lnTo>
                  <a:lnTo>
                    <a:pt x="1122" y="41"/>
                  </a:lnTo>
                  <a:lnTo>
                    <a:pt x="1119" y="35"/>
                  </a:lnTo>
                  <a:lnTo>
                    <a:pt x="1116" y="30"/>
                  </a:lnTo>
                  <a:lnTo>
                    <a:pt x="1112" y="24"/>
                  </a:lnTo>
                  <a:lnTo>
                    <a:pt x="1108" y="20"/>
                  </a:lnTo>
                  <a:lnTo>
                    <a:pt x="1103" y="15"/>
                  </a:lnTo>
                  <a:lnTo>
                    <a:pt x="1097" y="12"/>
                  </a:lnTo>
                  <a:lnTo>
                    <a:pt x="1092" y="8"/>
                  </a:lnTo>
                  <a:lnTo>
                    <a:pt x="1086" y="5"/>
                  </a:lnTo>
                  <a:lnTo>
                    <a:pt x="1079" y="3"/>
                  </a:lnTo>
                  <a:lnTo>
                    <a:pt x="1074" y="1"/>
                  </a:lnTo>
                  <a:lnTo>
                    <a:pt x="1067" y="0"/>
                  </a:lnTo>
                  <a:lnTo>
                    <a:pt x="1060" y="0"/>
                  </a:lnTo>
                  <a:lnTo>
                    <a:pt x="68" y="0"/>
                  </a:lnTo>
                  <a:lnTo>
                    <a:pt x="61" y="0"/>
                  </a:lnTo>
                  <a:lnTo>
                    <a:pt x="54" y="1"/>
                  </a:lnTo>
                  <a:lnTo>
                    <a:pt x="48" y="3"/>
                  </a:lnTo>
                  <a:lnTo>
                    <a:pt x="42" y="5"/>
                  </a:lnTo>
                  <a:lnTo>
                    <a:pt x="35" y="8"/>
                  </a:lnTo>
                  <a:lnTo>
                    <a:pt x="29" y="12"/>
                  </a:lnTo>
                  <a:lnTo>
                    <a:pt x="25" y="15"/>
                  </a:lnTo>
                  <a:lnTo>
                    <a:pt x="19" y="20"/>
                  </a:lnTo>
                  <a:lnTo>
                    <a:pt x="16" y="24"/>
                  </a:lnTo>
                  <a:lnTo>
                    <a:pt x="11" y="30"/>
                  </a:lnTo>
                  <a:lnTo>
                    <a:pt x="8" y="35"/>
                  </a:lnTo>
                  <a:lnTo>
                    <a:pt x="6" y="41"/>
                  </a:lnTo>
                  <a:lnTo>
                    <a:pt x="3" y="48"/>
                  </a:lnTo>
                  <a:lnTo>
                    <a:pt x="1" y="53"/>
                  </a:lnTo>
                  <a:lnTo>
                    <a:pt x="0" y="60"/>
                  </a:lnTo>
                  <a:lnTo>
                    <a:pt x="0" y="68"/>
                  </a:lnTo>
                  <a:lnTo>
                    <a:pt x="0" y="849"/>
                  </a:lnTo>
                  <a:lnTo>
                    <a:pt x="0" y="856"/>
                  </a:lnTo>
                  <a:lnTo>
                    <a:pt x="1" y="863"/>
                  </a:lnTo>
                  <a:lnTo>
                    <a:pt x="3" y="868"/>
                  </a:lnTo>
                  <a:lnTo>
                    <a:pt x="6" y="875"/>
                  </a:lnTo>
                  <a:lnTo>
                    <a:pt x="8" y="881"/>
                  </a:lnTo>
                  <a:lnTo>
                    <a:pt x="11" y="886"/>
                  </a:lnTo>
                  <a:lnTo>
                    <a:pt x="16" y="892"/>
                  </a:lnTo>
                  <a:lnTo>
                    <a:pt x="19" y="897"/>
                  </a:lnTo>
                  <a:lnTo>
                    <a:pt x="25" y="901"/>
                  </a:lnTo>
                  <a:lnTo>
                    <a:pt x="29" y="905"/>
                  </a:lnTo>
                  <a:lnTo>
                    <a:pt x="35" y="908"/>
                  </a:lnTo>
                  <a:lnTo>
                    <a:pt x="42" y="911"/>
                  </a:lnTo>
                  <a:lnTo>
                    <a:pt x="48" y="914"/>
                  </a:lnTo>
                  <a:lnTo>
                    <a:pt x="54" y="915"/>
                  </a:lnTo>
                  <a:lnTo>
                    <a:pt x="61" y="916"/>
                  </a:lnTo>
                  <a:lnTo>
                    <a:pt x="68" y="917"/>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00" name="Rectangle 856"/>
            <p:cNvSpPr>
              <a:spLocks noChangeArrowheads="1"/>
            </p:cNvSpPr>
            <p:nvPr/>
          </p:nvSpPr>
          <p:spPr bwMode="auto">
            <a:xfrm>
              <a:off x="1045" y="3505"/>
              <a:ext cx="25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chargeable </a:t>
              </a:r>
              <a:endParaRPr lang="en-US" sz="1800" b="0" kern="0" baseline="0">
                <a:solidFill>
                  <a:sysClr val="windowText" lastClr="000000"/>
                </a:solidFill>
                <a:latin typeface="Arial" charset="0"/>
                <a:ea typeface="ＭＳ Ｐゴシック"/>
                <a:cs typeface="ＭＳ Ｐゴシック"/>
              </a:endParaRPr>
            </a:p>
          </p:txBody>
        </p:sp>
        <p:sp>
          <p:nvSpPr>
            <p:cNvPr id="301" name="Rectangle 857"/>
            <p:cNvSpPr>
              <a:spLocks noChangeArrowheads="1"/>
            </p:cNvSpPr>
            <p:nvPr/>
          </p:nvSpPr>
          <p:spPr bwMode="auto">
            <a:xfrm>
              <a:off x="1306" y="3505"/>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302" name="Rectangle 858"/>
            <p:cNvSpPr>
              <a:spLocks noChangeArrowheads="1"/>
            </p:cNvSpPr>
            <p:nvPr/>
          </p:nvSpPr>
          <p:spPr bwMode="auto">
            <a:xfrm>
              <a:off x="1068" y="3540"/>
              <a:ext cx="23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coverable </a:t>
              </a:r>
              <a:endParaRPr lang="en-US" sz="1800" b="0" kern="0" baseline="0">
                <a:solidFill>
                  <a:sysClr val="windowText" lastClr="000000"/>
                </a:solidFill>
                <a:latin typeface="Arial" charset="0"/>
                <a:ea typeface="ＭＳ Ｐゴシック"/>
                <a:cs typeface="ＭＳ Ｐゴシック"/>
              </a:endParaRPr>
            </a:p>
          </p:txBody>
        </p:sp>
        <p:sp>
          <p:nvSpPr>
            <p:cNvPr id="303" name="Rectangle 859"/>
            <p:cNvSpPr>
              <a:spLocks noChangeArrowheads="1"/>
            </p:cNvSpPr>
            <p:nvPr/>
          </p:nvSpPr>
          <p:spPr bwMode="auto">
            <a:xfrm>
              <a:off x="1045" y="3575"/>
              <a:ext cx="26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venue Mgmt</a:t>
              </a:r>
              <a:endParaRPr lang="en-US" sz="1800" b="0" kern="0" baseline="0">
                <a:solidFill>
                  <a:sysClr val="windowText" lastClr="000000"/>
                </a:solidFill>
                <a:latin typeface="Arial" charset="0"/>
                <a:ea typeface="ＭＳ Ｐゴシック"/>
                <a:cs typeface="ＭＳ Ｐゴシック"/>
              </a:endParaRPr>
            </a:p>
          </p:txBody>
        </p:sp>
        <p:sp>
          <p:nvSpPr>
            <p:cNvPr id="304" name="Rectangle 860"/>
            <p:cNvSpPr>
              <a:spLocks noChangeArrowheads="1"/>
            </p:cNvSpPr>
            <p:nvPr/>
          </p:nvSpPr>
          <p:spPr bwMode="auto">
            <a:xfrm>
              <a:off x="4982" y="2586"/>
              <a:ext cx="723" cy="768"/>
            </a:xfrm>
            <a:prstGeom prst="rect">
              <a:avLst/>
            </a:prstGeom>
            <a:solidFill>
              <a:srgbClr val="6A6ACE"/>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05" name="Rectangle 861"/>
            <p:cNvSpPr>
              <a:spLocks noChangeArrowheads="1"/>
            </p:cNvSpPr>
            <p:nvPr/>
          </p:nvSpPr>
          <p:spPr bwMode="auto">
            <a:xfrm>
              <a:off x="4982" y="2586"/>
              <a:ext cx="723" cy="768"/>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06" name="Rectangle 862"/>
            <p:cNvSpPr>
              <a:spLocks noChangeArrowheads="1"/>
            </p:cNvSpPr>
            <p:nvPr/>
          </p:nvSpPr>
          <p:spPr bwMode="auto">
            <a:xfrm>
              <a:off x="5173" y="2599"/>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7</a:t>
              </a:r>
              <a:endParaRPr lang="en-US" sz="1800" b="0" kern="0" baseline="0">
                <a:solidFill>
                  <a:sysClr val="windowText" lastClr="000000"/>
                </a:solidFill>
                <a:latin typeface="Arial" charset="0"/>
                <a:ea typeface="ＭＳ Ｐゴシック"/>
                <a:cs typeface="ＭＳ Ｐゴシック"/>
              </a:endParaRPr>
            </a:p>
          </p:txBody>
        </p:sp>
        <p:sp>
          <p:nvSpPr>
            <p:cNvPr id="307" name="Rectangle 863"/>
            <p:cNvSpPr>
              <a:spLocks noChangeArrowheads="1"/>
            </p:cNvSpPr>
            <p:nvPr/>
          </p:nvSpPr>
          <p:spPr bwMode="auto">
            <a:xfrm>
              <a:off x="5213" y="2599"/>
              <a:ext cx="40"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308" name="Rectangle 864"/>
            <p:cNvSpPr>
              <a:spLocks noChangeArrowheads="1"/>
            </p:cNvSpPr>
            <p:nvPr/>
          </p:nvSpPr>
          <p:spPr bwMode="auto">
            <a:xfrm>
              <a:off x="5252" y="2599"/>
              <a:ext cx="288" cy="75"/>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Manage </a:t>
              </a:r>
              <a:endParaRPr lang="en-US" sz="1800" b="0" kern="0" baseline="0">
                <a:solidFill>
                  <a:sysClr val="windowText" lastClr="000000"/>
                </a:solidFill>
                <a:latin typeface="Arial" charset="0"/>
                <a:ea typeface="ＭＳ Ｐゴシック"/>
                <a:cs typeface="ＭＳ Ｐゴシック"/>
              </a:endParaRPr>
            </a:p>
          </p:txBody>
        </p:sp>
        <p:sp>
          <p:nvSpPr>
            <p:cNvPr id="309" name="Rectangle 865"/>
            <p:cNvSpPr>
              <a:spLocks noChangeArrowheads="1"/>
            </p:cNvSpPr>
            <p:nvPr/>
          </p:nvSpPr>
          <p:spPr bwMode="auto">
            <a:xfrm>
              <a:off x="5039" y="2660"/>
              <a:ext cx="624" cy="76"/>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Regulatory Affairs</a:t>
              </a:r>
              <a:endParaRPr lang="en-US" sz="1800" b="0" kern="0" baseline="0">
                <a:solidFill>
                  <a:sysClr val="windowText" lastClr="000000"/>
                </a:solidFill>
                <a:latin typeface="Arial" charset="0"/>
                <a:ea typeface="ＭＳ Ｐゴシック"/>
                <a:cs typeface="ＭＳ Ｐゴシック"/>
              </a:endParaRPr>
            </a:p>
          </p:txBody>
        </p:sp>
        <p:sp>
          <p:nvSpPr>
            <p:cNvPr id="310" name="Freeform 866"/>
            <p:cNvSpPr>
              <a:spLocks/>
            </p:cNvSpPr>
            <p:nvPr/>
          </p:nvSpPr>
          <p:spPr bwMode="auto">
            <a:xfrm>
              <a:off x="5129" y="2783"/>
              <a:ext cx="429" cy="198"/>
            </a:xfrm>
            <a:custGeom>
              <a:avLst/>
              <a:gdLst>
                <a:gd name="T0" fmla="*/ 135 w 1286"/>
                <a:gd name="T1" fmla="*/ 48 h 814"/>
                <a:gd name="T2" fmla="*/ 137 w 1286"/>
                <a:gd name="T3" fmla="*/ 48 h 814"/>
                <a:gd name="T4" fmla="*/ 138 w 1286"/>
                <a:gd name="T5" fmla="*/ 48 h 814"/>
                <a:gd name="T6" fmla="*/ 140 w 1286"/>
                <a:gd name="T7" fmla="*/ 47 h 814"/>
                <a:gd name="T8" fmla="*/ 141 w 1286"/>
                <a:gd name="T9" fmla="*/ 47 h 814"/>
                <a:gd name="T10" fmla="*/ 142 w 1286"/>
                <a:gd name="T11" fmla="*/ 46 h 814"/>
                <a:gd name="T12" fmla="*/ 142 w 1286"/>
                <a:gd name="T13" fmla="*/ 46 h 814"/>
                <a:gd name="T14" fmla="*/ 143 w 1286"/>
                <a:gd name="T15" fmla="*/ 45 h 814"/>
                <a:gd name="T16" fmla="*/ 143 w 1286"/>
                <a:gd name="T17" fmla="*/ 44 h 814"/>
                <a:gd name="T18" fmla="*/ 143 w 1286"/>
                <a:gd name="T19" fmla="*/ 4 h 814"/>
                <a:gd name="T20" fmla="*/ 143 w 1286"/>
                <a:gd name="T21" fmla="*/ 3 h 814"/>
                <a:gd name="T22" fmla="*/ 142 w 1286"/>
                <a:gd name="T23" fmla="*/ 2 h 814"/>
                <a:gd name="T24" fmla="*/ 142 w 1286"/>
                <a:gd name="T25" fmla="*/ 2 h 814"/>
                <a:gd name="T26" fmla="*/ 141 w 1286"/>
                <a:gd name="T27" fmla="*/ 1 h 814"/>
                <a:gd name="T28" fmla="*/ 140 w 1286"/>
                <a:gd name="T29" fmla="*/ 1 h 814"/>
                <a:gd name="T30" fmla="*/ 138 w 1286"/>
                <a:gd name="T31" fmla="*/ 0 h 814"/>
                <a:gd name="T32" fmla="*/ 137 w 1286"/>
                <a:gd name="T33" fmla="*/ 0 h 814"/>
                <a:gd name="T34" fmla="*/ 135 w 1286"/>
                <a:gd name="T35" fmla="*/ 0 h 814"/>
                <a:gd name="T36" fmla="*/ 7 w 1286"/>
                <a:gd name="T37" fmla="*/ 0 h 814"/>
                <a:gd name="T38" fmla="*/ 5 w 1286"/>
                <a:gd name="T39" fmla="*/ 0 h 814"/>
                <a:gd name="T40" fmla="*/ 4 w 1286"/>
                <a:gd name="T41" fmla="*/ 0 h 814"/>
                <a:gd name="T42" fmla="*/ 3 w 1286"/>
                <a:gd name="T43" fmla="*/ 1 h 814"/>
                <a:gd name="T44" fmla="*/ 2 w 1286"/>
                <a:gd name="T45" fmla="*/ 1 h 814"/>
                <a:gd name="T46" fmla="*/ 1 w 1286"/>
                <a:gd name="T47" fmla="*/ 2 h 814"/>
                <a:gd name="T48" fmla="*/ 0 w 1286"/>
                <a:gd name="T49" fmla="*/ 3 h 814"/>
                <a:gd name="T50" fmla="*/ 0 w 1286"/>
                <a:gd name="T51" fmla="*/ 4 h 814"/>
                <a:gd name="T52" fmla="*/ 0 w 1286"/>
                <a:gd name="T53" fmla="*/ 44 h 814"/>
                <a:gd name="T54" fmla="*/ 0 w 1286"/>
                <a:gd name="T55" fmla="*/ 45 h 814"/>
                <a:gd name="T56" fmla="*/ 1 w 1286"/>
                <a:gd name="T57" fmla="*/ 46 h 814"/>
                <a:gd name="T58" fmla="*/ 1 w 1286"/>
                <a:gd name="T59" fmla="*/ 46 h 814"/>
                <a:gd name="T60" fmla="*/ 2 w 1286"/>
                <a:gd name="T61" fmla="*/ 47 h 814"/>
                <a:gd name="T62" fmla="*/ 3 w 1286"/>
                <a:gd name="T63" fmla="*/ 47 h 814"/>
                <a:gd name="T64" fmla="*/ 5 w 1286"/>
                <a:gd name="T65" fmla="*/ 48 h 814"/>
                <a:gd name="T66" fmla="*/ 6 w 1286"/>
                <a:gd name="T67" fmla="*/ 48 h 814"/>
                <a:gd name="T68" fmla="*/ 8 w 1286"/>
                <a:gd name="T69" fmla="*/ 48 h 8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86"/>
                <a:gd name="T106" fmla="*/ 0 h 814"/>
                <a:gd name="T107" fmla="*/ 1286 w 1286"/>
                <a:gd name="T108" fmla="*/ 814 h 8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86" h="814">
                  <a:moveTo>
                    <a:pt x="68" y="814"/>
                  </a:moveTo>
                  <a:lnTo>
                    <a:pt x="1218" y="814"/>
                  </a:lnTo>
                  <a:lnTo>
                    <a:pt x="1225" y="813"/>
                  </a:lnTo>
                  <a:lnTo>
                    <a:pt x="1232" y="812"/>
                  </a:lnTo>
                  <a:lnTo>
                    <a:pt x="1239" y="811"/>
                  </a:lnTo>
                  <a:lnTo>
                    <a:pt x="1244" y="808"/>
                  </a:lnTo>
                  <a:lnTo>
                    <a:pt x="1251" y="805"/>
                  </a:lnTo>
                  <a:lnTo>
                    <a:pt x="1257" y="802"/>
                  </a:lnTo>
                  <a:lnTo>
                    <a:pt x="1261" y="798"/>
                  </a:lnTo>
                  <a:lnTo>
                    <a:pt x="1266" y="794"/>
                  </a:lnTo>
                  <a:lnTo>
                    <a:pt x="1270" y="789"/>
                  </a:lnTo>
                  <a:lnTo>
                    <a:pt x="1275" y="784"/>
                  </a:lnTo>
                  <a:lnTo>
                    <a:pt x="1278" y="778"/>
                  </a:lnTo>
                  <a:lnTo>
                    <a:pt x="1281" y="772"/>
                  </a:lnTo>
                  <a:lnTo>
                    <a:pt x="1283" y="766"/>
                  </a:lnTo>
                  <a:lnTo>
                    <a:pt x="1285" y="760"/>
                  </a:lnTo>
                  <a:lnTo>
                    <a:pt x="1286" y="753"/>
                  </a:lnTo>
                  <a:lnTo>
                    <a:pt x="1286" y="746"/>
                  </a:lnTo>
                  <a:lnTo>
                    <a:pt x="1286" y="68"/>
                  </a:lnTo>
                  <a:lnTo>
                    <a:pt x="1286" y="60"/>
                  </a:lnTo>
                  <a:lnTo>
                    <a:pt x="1285" y="53"/>
                  </a:lnTo>
                  <a:lnTo>
                    <a:pt x="1283" y="48"/>
                  </a:lnTo>
                  <a:lnTo>
                    <a:pt x="1281" y="41"/>
                  </a:lnTo>
                  <a:lnTo>
                    <a:pt x="1278" y="35"/>
                  </a:lnTo>
                  <a:lnTo>
                    <a:pt x="1275" y="30"/>
                  </a:lnTo>
                  <a:lnTo>
                    <a:pt x="1270" y="24"/>
                  </a:lnTo>
                  <a:lnTo>
                    <a:pt x="1266" y="19"/>
                  </a:lnTo>
                  <a:lnTo>
                    <a:pt x="1261" y="15"/>
                  </a:lnTo>
                  <a:lnTo>
                    <a:pt x="1257" y="12"/>
                  </a:lnTo>
                  <a:lnTo>
                    <a:pt x="1251" y="8"/>
                  </a:lnTo>
                  <a:lnTo>
                    <a:pt x="1244" y="5"/>
                  </a:lnTo>
                  <a:lnTo>
                    <a:pt x="1239" y="3"/>
                  </a:lnTo>
                  <a:lnTo>
                    <a:pt x="1232" y="1"/>
                  </a:lnTo>
                  <a:lnTo>
                    <a:pt x="1225" y="0"/>
                  </a:lnTo>
                  <a:lnTo>
                    <a:pt x="1218" y="0"/>
                  </a:lnTo>
                  <a:lnTo>
                    <a:pt x="68" y="0"/>
                  </a:lnTo>
                  <a:lnTo>
                    <a:pt x="61" y="0"/>
                  </a:lnTo>
                  <a:lnTo>
                    <a:pt x="54" y="1"/>
                  </a:lnTo>
                  <a:lnTo>
                    <a:pt x="48" y="3"/>
                  </a:lnTo>
                  <a:lnTo>
                    <a:pt x="42" y="5"/>
                  </a:lnTo>
                  <a:lnTo>
                    <a:pt x="35" y="8"/>
                  </a:lnTo>
                  <a:lnTo>
                    <a:pt x="30" y="12"/>
                  </a:lnTo>
                  <a:lnTo>
                    <a:pt x="25" y="15"/>
                  </a:lnTo>
                  <a:lnTo>
                    <a:pt x="19" y="19"/>
                  </a:lnTo>
                  <a:lnTo>
                    <a:pt x="16" y="24"/>
                  </a:lnTo>
                  <a:lnTo>
                    <a:pt x="11" y="30"/>
                  </a:lnTo>
                  <a:lnTo>
                    <a:pt x="8" y="35"/>
                  </a:lnTo>
                  <a:lnTo>
                    <a:pt x="6" y="41"/>
                  </a:lnTo>
                  <a:lnTo>
                    <a:pt x="4" y="48"/>
                  </a:lnTo>
                  <a:lnTo>
                    <a:pt x="1" y="53"/>
                  </a:lnTo>
                  <a:lnTo>
                    <a:pt x="0" y="60"/>
                  </a:lnTo>
                  <a:lnTo>
                    <a:pt x="0" y="68"/>
                  </a:lnTo>
                  <a:lnTo>
                    <a:pt x="0" y="746"/>
                  </a:lnTo>
                  <a:lnTo>
                    <a:pt x="0" y="753"/>
                  </a:lnTo>
                  <a:lnTo>
                    <a:pt x="1" y="760"/>
                  </a:lnTo>
                  <a:lnTo>
                    <a:pt x="4" y="766"/>
                  </a:lnTo>
                  <a:lnTo>
                    <a:pt x="6" y="772"/>
                  </a:lnTo>
                  <a:lnTo>
                    <a:pt x="8" y="778"/>
                  </a:lnTo>
                  <a:lnTo>
                    <a:pt x="11" y="784"/>
                  </a:lnTo>
                  <a:lnTo>
                    <a:pt x="16" y="789"/>
                  </a:lnTo>
                  <a:lnTo>
                    <a:pt x="19" y="794"/>
                  </a:lnTo>
                  <a:lnTo>
                    <a:pt x="25" y="798"/>
                  </a:lnTo>
                  <a:lnTo>
                    <a:pt x="30" y="802"/>
                  </a:lnTo>
                  <a:lnTo>
                    <a:pt x="35" y="805"/>
                  </a:lnTo>
                  <a:lnTo>
                    <a:pt x="42" y="808"/>
                  </a:lnTo>
                  <a:lnTo>
                    <a:pt x="48" y="811"/>
                  </a:lnTo>
                  <a:lnTo>
                    <a:pt x="54" y="812"/>
                  </a:lnTo>
                  <a:lnTo>
                    <a:pt x="61" y="813"/>
                  </a:lnTo>
                  <a:lnTo>
                    <a:pt x="68" y="814"/>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11" name="Freeform 867"/>
            <p:cNvSpPr>
              <a:spLocks/>
            </p:cNvSpPr>
            <p:nvPr/>
          </p:nvSpPr>
          <p:spPr bwMode="auto">
            <a:xfrm>
              <a:off x="5129" y="2783"/>
              <a:ext cx="429" cy="198"/>
            </a:xfrm>
            <a:custGeom>
              <a:avLst/>
              <a:gdLst>
                <a:gd name="T0" fmla="*/ 135 w 1286"/>
                <a:gd name="T1" fmla="*/ 48 h 814"/>
                <a:gd name="T2" fmla="*/ 137 w 1286"/>
                <a:gd name="T3" fmla="*/ 48 h 814"/>
                <a:gd name="T4" fmla="*/ 138 w 1286"/>
                <a:gd name="T5" fmla="*/ 48 h 814"/>
                <a:gd name="T6" fmla="*/ 140 w 1286"/>
                <a:gd name="T7" fmla="*/ 47 h 814"/>
                <a:gd name="T8" fmla="*/ 141 w 1286"/>
                <a:gd name="T9" fmla="*/ 47 h 814"/>
                <a:gd name="T10" fmla="*/ 142 w 1286"/>
                <a:gd name="T11" fmla="*/ 46 h 814"/>
                <a:gd name="T12" fmla="*/ 142 w 1286"/>
                <a:gd name="T13" fmla="*/ 46 h 814"/>
                <a:gd name="T14" fmla="*/ 143 w 1286"/>
                <a:gd name="T15" fmla="*/ 45 h 814"/>
                <a:gd name="T16" fmla="*/ 143 w 1286"/>
                <a:gd name="T17" fmla="*/ 44 h 814"/>
                <a:gd name="T18" fmla="*/ 143 w 1286"/>
                <a:gd name="T19" fmla="*/ 4 h 814"/>
                <a:gd name="T20" fmla="*/ 143 w 1286"/>
                <a:gd name="T21" fmla="*/ 3 h 814"/>
                <a:gd name="T22" fmla="*/ 142 w 1286"/>
                <a:gd name="T23" fmla="*/ 2 h 814"/>
                <a:gd name="T24" fmla="*/ 142 w 1286"/>
                <a:gd name="T25" fmla="*/ 2 h 814"/>
                <a:gd name="T26" fmla="*/ 141 w 1286"/>
                <a:gd name="T27" fmla="*/ 1 h 814"/>
                <a:gd name="T28" fmla="*/ 140 w 1286"/>
                <a:gd name="T29" fmla="*/ 1 h 814"/>
                <a:gd name="T30" fmla="*/ 138 w 1286"/>
                <a:gd name="T31" fmla="*/ 0 h 814"/>
                <a:gd name="T32" fmla="*/ 137 w 1286"/>
                <a:gd name="T33" fmla="*/ 0 h 814"/>
                <a:gd name="T34" fmla="*/ 135 w 1286"/>
                <a:gd name="T35" fmla="*/ 0 h 814"/>
                <a:gd name="T36" fmla="*/ 7 w 1286"/>
                <a:gd name="T37" fmla="*/ 0 h 814"/>
                <a:gd name="T38" fmla="*/ 5 w 1286"/>
                <a:gd name="T39" fmla="*/ 0 h 814"/>
                <a:gd name="T40" fmla="*/ 4 w 1286"/>
                <a:gd name="T41" fmla="*/ 0 h 814"/>
                <a:gd name="T42" fmla="*/ 3 w 1286"/>
                <a:gd name="T43" fmla="*/ 1 h 814"/>
                <a:gd name="T44" fmla="*/ 2 w 1286"/>
                <a:gd name="T45" fmla="*/ 1 h 814"/>
                <a:gd name="T46" fmla="*/ 1 w 1286"/>
                <a:gd name="T47" fmla="*/ 2 h 814"/>
                <a:gd name="T48" fmla="*/ 0 w 1286"/>
                <a:gd name="T49" fmla="*/ 3 h 814"/>
                <a:gd name="T50" fmla="*/ 0 w 1286"/>
                <a:gd name="T51" fmla="*/ 4 h 814"/>
                <a:gd name="T52" fmla="*/ 0 w 1286"/>
                <a:gd name="T53" fmla="*/ 44 h 814"/>
                <a:gd name="T54" fmla="*/ 0 w 1286"/>
                <a:gd name="T55" fmla="*/ 45 h 814"/>
                <a:gd name="T56" fmla="*/ 1 w 1286"/>
                <a:gd name="T57" fmla="*/ 46 h 814"/>
                <a:gd name="T58" fmla="*/ 1 w 1286"/>
                <a:gd name="T59" fmla="*/ 46 h 814"/>
                <a:gd name="T60" fmla="*/ 2 w 1286"/>
                <a:gd name="T61" fmla="*/ 47 h 814"/>
                <a:gd name="T62" fmla="*/ 3 w 1286"/>
                <a:gd name="T63" fmla="*/ 47 h 814"/>
                <a:gd name="T64" fmla="*/ 5 w 1286"/>
                <a:gd name="T65" fmla="*/ 48 h 814"/>
                <a:gd name="T66" fmla="*/ 6 w 1286"/>
                <a:gd name="T67" fmla="*/ 48 h 814"/>
                <a:gd name="T68" fmla="*/ 8 w 1286"/>
                <a:gd name="T69" fmla="*/ 48 h 8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86"/>
                <a:gd name="T106" fmla="*/ 0 h 814"/>
                <a:gd name="T107" fmla="*/ 1286 w 1286"/>
                <a:gd name="T108" fmla="*/ 814 h 8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86" h="814">
                  <a:moveTo>
                    <a:pt x="68" y="814"/>
                  </a:moveTo>
                  <a:lnTo>
                    <a:pt x="1218" y="814"/>
                  </a:lnTo>
                  <a:lnTo>
                    <a:pt x="1225" y="813"/>
                  </a:lnTo>
                  <a:lnTo>
                    <a:pt x="1232" y="812"/>
                  </a:lnTo>
                  <a:lnTo>
                    <a:pt x="1239" y="811"/>
                  </a:lnTo>
                  <a:lnTo>
                    <a:pt x="1244" y="808"/>
                  </a:lnTo>
                  <a:lnTo>
                    <a:pt x="1251" y="805"/>
                  </a:lnTo>
                  <a:lnTo>
                    <a:pt x="1257" y="802"/>
                  </a:lnTo>
                  <a:lnTo>
                    <a:pt x="1261" y="798"/>
                  </a:lnTo>
                  <a:lnTo>
                    <a:pt x="1266" y="794"/>
                  </a:lnTo>
                  <a:lnTo>
                    <a:pt x="1270" y="789"/>
                  </a:lnTo>
                  <a:lnTo>
                    <a:pt x="1275" y="784"/>
                  </a:lnTo>
                  <a:lnTo>
                    <a:pt x="1278" y="778"/>
                  </a:lnTo>
                  <a:lnTo>
                    <a:pt x="1281" y="772"/>
                  </a:lnTo>
                  <a:lnTo>
                    <a:pt x="1283" y="766"/>
                  </a:lnTo>
                  <a:lnTo>
                    <a:pt x="1285" y="760"/>
                  </a:lnTo>
                  <a:lnTo>
                    <a:pt x="1286" y="753"/>
                  </a:lnTo>
                  <a:lnTo>
                    <a:pt x="1286" y="746"/>
                  </a:lnTo>
                  <a:lnTo>
                    <a:pt x="1286" y="68"/>
                  </a:lnTo>
                  <a:lnTo>
                    <a:pt x="1286" y="60"/>
                  </a:lnTo>
                  <a:lnTo>
                    <a:pt x="1285" y="53"/>
                  </a:lnTo>
                  <a:lnTo>
                    <a:pt x="1283" y="48"/>
                  </a:lnTo>
                  <a:lnTo>
                    <a:pt x="1281" y="41"/>
                  </a:lnTo>
                  <a:lnTo>
                    <a:pt x="1278" y="35"/>
                  </a:lnTo>
                  <a:lnTo>
                    <a:pt x="1275" y="30"/>
                  </a:lnTo>
                  <a:lnTo>
                    <a:pt x="1270" y="24"/>
                  </a:lnTo>
                  <a:lnTo>
                    <a:pt x="1266" y="19"/>
                  </a:lnTo>
                  <a:lnTo>
                    <a:pt x="1261" y="15"/>
                  </a:lnTo>
                  <a:lnTo>
                    <a:pt x="1257" y="12"/>
                  </a:lnTo>
                  <a:lnTo>
                    <a:pt x="1251" y="8"/>
                  </a:lnTo>
                  <a:lnTo>
                    <a:pt x="1244" y="5"/>
                  </a:lnTo>
                  <a:lnTo>
                    <a:pt x="1239" y="3"/>
                  </a:lnTo>
                  <a:lnTo>
                    <a:pt x="1232" y="1"/>
                  </a:lnTo>
                  <a:lnTo>
                    <a:pt x="1225" y="0"/>
                  </a:lnTo>
                  <a:lnTo>
                    <a:pt x="1218" y="0"/>
                  </a:lnTo>
                  <a:lnTo>
                    <a:pt x="68" y="0"/>
                  </a:lnTo>
                  <a:lnTo>
                    <a:pt x="61" y="0"/>
                  </a:lnTo>
                  <a:lnTo>
                    <a:pt x="54" y="1"/>
                  </a:lnTo>
                  <a:lnTo>
                    <a:pt x="48" y="3"/>
                  </a:lnTo>
                  <a:lnTo>
                    <a:pt x="42" y="5"/>
                  </a:lnTo>
                  <a:lnTo>
                    <a:pt x="35" y="8"/>
                  </a:lnTo>
                  <a:lnTo>
                    <a:pt x="30" y="12"/>
                  </a:lnTo>
                  <a:lnTo>
                    <a:pt x="25" y="15"/>
                  </a:lnTo>
                  <a:lnTo>
                    <a:pt x="19" y="19"/>
                  </a:lnTo>
                  <a:lnTo>
                    <a:pt x="16" y="24"/>
                  </a:lnTo>
                  <a:lnTo>
                    <a:pt x="11" y="30"/>
                  </a:lnTo>
                  <a:lnTo>
                    <a:pt x="8" y="35"/>
                  </a:lnTo>
                  <a:lnTo>
                    <a:pt x="6" y="41"/>
                  </a:lnTo>
                  <a:lnTo>
                    <a:pt x="4" y="48"/>
                  </a:lnTo>
                  <a:lnTo>
                    <a:pt x="1" y="53"/>
                  </a:lnTo>
                  <a:lnTo>
                    <a:pt x="0" y="60"/>
                  </a:lnTo>
                  <a:lnTo>
                    <a:pt x="0" y="68"/>
                  </a:lnTo>
                  <a:lnTo>
                    <a:pt x="0" y="746"/>
                  </a:lnTo>
                  <a:lnTo>
                    <a:pt x="0" y="753"/>
                  </a:lnTo>
                  <a:lnTo>
                    <a:pt x="1" y="760"/>
                  </a:lnTo>
                  <a:lnTo>
                    <a:pt x="4" y="766"/>
                  </a:lnTo>
                  <a:lnTo>
                    <a:pt x="6" y="772"/>
                  </a:lnTo>
                  <a:lnTo>
                    <a:pt x="8" y="778"/>
                  </a:lnTo>
                  <a:lnTo>
                    <a:pt x="11" y="784"/>
                  </a:lnTo>
                  <a:lnTo>
                    <a:pt x="16" y="789"/>
                  </a:lnTo>
                  <a:lnTo>
                    <a:pt x="19" y="794"/>
                  </a:lnTo>
                  <a:lnTo>
                    <a:pt x="25" y="798"/>
                  </a:lnTo>
                  <a:lnTo>
                    <a:pt x="30" y="802"/>
                  </a:lnTo>
                  <a:lnTo>
                    <a:pt x="35" y="805"/>
                  </a:lnTo>
                  <a:lnTo>
                    <a:pt x="42" y="808"/>
                  </a:lnTo>
                  <a:lnTo>
                    <a:pt x="48" y="811"/>
                  </a:lnTo>
                  <a:lnTo>
                    <a:pt x="54" y="812"/>
                  </a:lnTo>
                  <a:lnTo>
                    <a:pt x="61" y="813"/>
                  </a:lnTo>
                  <a:lnTo>
                    <a:pt x="68" y="81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12" name="Rectangle 868"/>
            <p:cNvSpPr>
              <a:spLocks noChangeArrowheads="1"/>
            </p:cNvSpPr>
            <p:nvPr/>
          </p:nvSpPr>
          <p:spPr bwMode="auto">
            <a:xfrm>
              <a:off x="5204" y="2847"/>
              <a:ext cx="7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g</a:t>
              </a:r>
              <a:endParaRPr lang="en-US" sz="1800" b="0" kern="0" baseline="0">
                <a:solidFill>
                  <a:sysClr val="windowText" lastClr="000000"/>
                </a:solidFill>
                <a:latin typeface="Arial" charset="0"/>
                <a:ea typeface="ＭＳ Ｐゴシック"/>
                <a:cs typeface="ＭＳ Ｐゴシック"/>
              </a:endParaRPr>
            </a:p>
          </p:txBody>
        </p:sp>
        <p:sp>
          <p:nvSpPr>
            <p:cNvPr id="313" name="Rectangle 869"/>
            <p:cNvSpPr>
              <a:spLocks noChangeArrowheads="1"/>
            </p:cNvSpPr>
            <p:nvPr/>
          </p:nvSpPr>
          <p:spPr bwMode="auto">
            <a:xfrm>
              <a:off x="5278" y="2847"/>
              <a:ext cx="4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 </a:t>
              </a:r>
              <a:endParaRPr lang="en-US" sz="1800" b="0" kern="0" baseline="0">
                <a:solidFill>
                  <a:sysClr val="windowText" lastClr="000000"/>
                </a:solidFill>
                <a:latin typeface="Arial" charset="0"/>
                <a:ea typeface="ＭＳ Ｐゴシック"/>
                <a:cs typeface="ＭＳ Ｐゴシック"/>
              </a:endParaRPr>
            </a:p>
          </p:txBody>
        </p:sp>
        <p:sp>
          <p:nvSpPr>
            <p:cNvPr id="314" name="Rectangle 870"/>
            <p:cNvSpPr>
              <a:spLocks noChangeArrowheads="1"/>
            </p:cNvSpPr>
            <p:nvPr/>
          </p:nvSpPr>
          <p:spPr bwMode="auto">
            <a:xfrm>
              <a:off x="5322" y="2847"/>
              <a:ext cx="17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venue </a:t>
              </a:r>
              <a:endParaRPr lang="en-US" sz="1800" b="0" kern="0" baseline="0">
                <a:solidFill>
                  <a:sysClr val="windowText" lastClr="000000"/>
                </a:solidFill>
                <a:latin typeface="Arial" charset="0"/>
                <a:ea typeface="ＭＳ Ｐゴシック"/>
                <a:cs typeface="ＭＳ Ｐゴシック"/>
              </a:endParaRPr>
            </a:p>
          </p:txBody>
        </p:sp>
        <p:sp>
          <p:nvSpPr>
            <p:cNvPr id="315" name="Rectangle 871"/>
            <p:cNvSpPr>
              <a:spLocks noChangeArrowheads="1"/>
            </p:cNvSpPr>
            <p:nvPr/>
          </p:nvSpPr>
          <p:spPr bwMode="auto">
            <a:xfrm>
              <a:off x="5213" y="2882"/>
              <a:ext cx="25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Strategy Mgmt</a:t>
              </a:r>
              <a:endParaRPr lang="en-US" sz="1800" b="0" kern="0" baseline="0">
                <a:solidFill>
                  <a:sysClr val="windowText" lastClr="000000"/>
                </a:solidFill>
                <a:latin typeface="Arial" charset="0"/>
                <a:ea typeface="ＭＳ Ｐゴシック"/>
                <a:cs typeface="ＭＳ Ｐゴシック"/>
              </a:endParaRPr>
            </a:p>
          </p:txBody>
        </p:sp>
        <p:sp>
          <p:nvSpPr>
            <p:cNvPr id="316" name="Freeform 872"/>
            <p:cNvSpPr>
              <a:spLocks/>
            </p:cNvSpPr>
            <p:nvPr/>
          </p:nvSpPr>
          <p:spPr bwMode="auto">
            <a:xfrm>
              <a:off x="5129" y="3068"/>
              <a:ext cx="429" cy="199"/>
            </a:xfrm>
            <a:custGeom>
              <a:avLst/>
              <a:gdLst>
                <a:gd name="T0" fmla="*/ 135 w 1286"/>
                <a:gd name="T1" fmla="*/ 49 h 814"/>
                <a:gd name="T2" fmla="*/ 137 w 1286"/>
                <a:gd name="T3" fmla="*/ 49 h 814"/>
                <a:gd name="T4" fmla="*/ 138 w 1286"/>
                <a:gd name="T5" fmla="*/ 48 h 814"/>
                <a:gd name="T6" fmla="*/ 140 w 1286"/>
                <a:gd name="T7" fmla="*/ 48 h 814"/>
                <a:gd name="T8" fmla="*/ 141 w 1286"/>
                <a:gd name="T9" fmla="*/ 47 h 814"/>
                <a:gd name="T10" fmla="*/ 142 w 1286"/>
                <a:gd name="T11" fmla="*/ 47 h 814"/>
                <a:gd name="T12" fmla="*/ 142 w 1286"/>
                <a:gd name="T13" fmla="*/ 46 h 814"/>
                <a:gd name="T14" fmla="*/ 143 w 1286"/>
                <a:gd name="T15" fmla="*/ 45 h 814"/>
                <a:gd name="T16" fmla="*/ 143 w 1286"/>
                <a:gd name="T17" fmla="*/ 44 h 814"/>
                <a:gd name="T18" fmla="*/ 143 w 1286"/>
                <a:gd name="T19" fmla="*/ 4 h 814"/>
                <a:gd name="T20" fmla="*/ 143 w 1286"/>
                <a:gd name="T21" fmla="*/ 3 h 814"/>
                <a:gd name="T22" fmla="*/ 142 w 1286"/>
                <a:gd name="T23" fmla="*/ 2 h 814"/>
                <a:gd name="T24" fmla="*/ 142 w 1286"/>
                <a:gd name="T25" fmla="*/ 2 h 814"/>
                <a:gd name="T26" fmla="*/ 141 w 1286"/>
                <a:gd name="T27" fmla="*/ 1 h 814"/>
                <a:gd name="T28" fmla="*/ 140 w 1286"/>
                <a:gd name="T29" fmla="*/ 1 h 814"/>
                <a:gd name="T30" fmla="*/ 138 w 1286"/>
                <a:gd name="T31" fmla="*/ 0 h 814"/>
                <a:gd name="T32" fmla="*/ 137 w 1286"/>
                <a:gd name="T33" fmla="*/ 0 h 814"/>
                <a:gd name="T34" fmla="*/ 135 w 1286"/>
                <a:gd name="T35" fmla="*/ 0 h 814"/>
                <a:gd name="T36" fmla="*/ 7 w 1286"/>
                <a:gd name="T37" fmla="*/ 0 h 814"/>
                <a:gd name="T38" fmla="*/ 5 w 1286"/>
                <a:gd name="T39" fmla="*/ 0 h 814"/>
                <a:gd name="T40" fmla="*/ 4 w 1286"/>
                <a:gd name="T41" fmla="*/ 0 h 814"/>
                <a:gd name="T42" fmla="*/ 3 w 1286"/>
                <a:gd name="T43" fmla="*/ 1 h 814"/>
                <a:gd name="T44" fmla="*/ 2 w 1286"/>
                <a:gd name="T45" fmla="*/ 1 h 814"/>
                <a:gd name="T46" fmla="*/ 1 w 1286"/>
                <a:gd name="T47" fmla="*/ 2 h 814"/>
                <a:gd name="T48" fmla="*/ 0 w 1286"/>
                <a:gd name="T49" fmla="*/ 3 h 814"/>
                <a:gd name="T50" fmla="*/ 0 w 1286"/>
                <a:gd name="T51" fmla="*/ 4 h 814"/>
                <a:gd name="T52" fmla="*/ 0 w 1286"/>
                <a:gd name="T53" fmla="*/ 44 h 814"/>
                <a:gd name="T54" fmla="*/ 0 w 1286"/>
                <a:gd name="T55" fmla="*/ 45 h 814"/>
                <a:gd name="T56" fmla="*/ 1 w 1286"/>
                <a:gd name="T57" fmla="*/ 46 h 814"/>
                <a:gd name="T58" fmla="*/ 1 w 1286"/>
                <a:gd name="T59" fmla="*/ 47 h 814"/>
                <a:gd name="T60" fmla="*/ 2 w 1286"/>
                <a:gd name="T61" fmla="*/ 47 h 814"/>
                <a:gd name="T62" fmla="*/ 3 w 1286"/>
                <a:gd name="T63" fmla="*/ 48 h 814"/>
                <a:gd name="T64" fmla="*/ 5 w 1286"/>
                <a:gd name="T65" fmla="*/ 48 h 814"/>
                <a:gd name="T66" fmla="*/ 6 w 1286"/>
                <a:gd name="T67" fmla="*/ 49 h 814"/>
                <a:gd name="T68" fmla="*/ 8 w 1286"/>
                <a:gd name="T69" fmla="*/ 49 h 8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86"/>
                <a:gd name="T106" fmla="*/ 0 h 814"/>
                <a:gd name="T107" fmla="*/ 1286 w 1286"/>
                <a:gd name="T108" fmla="*/ 814 h 8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86" h="814">
                  <a:moveTo>
                    <a:pt x="68" y="814"/>
                  </a:moveTo>
                  <a:lnTo>
                    <a:pt x="1218" y="814"/>
                  </a:lnTo>
                  <a:lnTo>
                    <a:pt x="1225" y="814"/>
                  </a:lnTo>
                  <a:lnTo>
                    <a:pt x="1232" y="813"/>
                  </a:lnTo>
                  <a:lnTo>
                    <a:pt x="1239" y="810"/>
                  </a:lnTo>
                  <a:lnTo>
                    <a:pt x="1244" y="808"/>
                  </a:lnTo>
                  <a:lnTo>
                    <a:pt x="1251" y="806"/>
                  </a:lnTo>
                  <a:lnTo>
                    <a:pt x="1257" y="802"/>
                  </a:lnTo>
                  <a:lnTo>
                    <a:pt x="1261" y="798"/>
                  </a:lnTo>
                  <a:lnTo>
                    <a:pt x="1266" y="794"/>
                  </a:lnTo>
                  <a:lnTo>
                    <a:pt x="1270" y="789"/>
                  </a:lnTo>
                  <a:lnTo>
                    <a:pt x="1275" y="784"/>
                  </a:lnTo>
                  <a:lnTo>
                    <a:pt x="1278" y="779"/>
                  </a:lnTo>
                  <a:lnTo>
                    <a:pt x="1281" y="773"/>
                  </a:lnTo>
                  <a:lnTo>
                    <a:pt x="1283" y="766"/>
                  </a:lnTo>
                  <a:lnTo>
                    <a:pt x="1285" y="759"/>
                  </a:lnTo>
                  <a:lnTo>
                    <a:pt x="1286" y="753"/>
                  </a:lnTo>
                  <a:lnTo>
                    <a:pt x="1286" y="746"/>
                  </a:lnTo>
                  <a:lnTo>
                    <a:pt x="1286" y="68"/>
                  </a:lnTo>
                  <a:lnTo>
                    <a:pt x="1286" y="61"/>
                  </a:lnTo>
                  <a:lnTo>
                    <a:pt x="1285" y="54"/>
                  </a:lnTo>
                  <a:lnTo>
                    <a:pt x="1283" y="47"/>
                  </a:lnTo>
                  <a:lnTo>
                    <a:pt x="1281" y="42"/>
                  </a:lnTo>
                  <a:lnTo>
                    <a:pt x="1278" y="35"/>
                  </a:lnTo>
                  <a:lnTo>
                    <a:pt x="1275" y="30"/>
                  </a:lnTo>
                  <a:lnTo>
                    <a:pt x="1270" y="25"/>
                  </a:lnTo>
                  <a:lnTo>
                    <a:pt x="1266" y="20"/>
                  </a:lnTo>
                  <a:lnTo>
                    <a:pt x="1261" y="16"/>
                  </a:lnTo>
                  <a:lnTo>
                    <a:pt x="1257" y="11"/>
                  </a:lnTo>
                  <a:lnTo>
                    <a:pt x="1251" y="8"/>
                  </a:lnTo>
                  <a:lnTo>
                    <a:pt x="1244" y="5"/>
                  </a:lnTo>
                  <a:lnTo>
                    <a:pt x="1239" y="3"/>
                  </a:lnTo>
                  <a:lnTo>
                    <a:pt x="1232" y="1"/>
                  </a:lnTo>
                  <a:lnTo>
                    <a:pt x="1225" y="0"/>
                  </a:lnTo>
                  <a:lnTo>
                    <a:pt x="1218" y="0"/>
                  </a:lnTo>
                  <a:lnTo>
                    <a:pt x="68" y="0"/>
                  </a:lnTo>
                  <a:lnTo>
                    <a:pt x="61" y="0"/>
                  </a:lnTo>
                  <a:lnTo>
                    <a:pt x="54" y="1"/>
                  </a:lnTo>
                  <a:lnTo>
                    <a:pt x="48" y="3"/>
                  </a:lnTo>
                  <a:lnTo>
                    <a:pt x="42" y="5"/>
                  </a:lnTo>
                  <a:lnTo>
                    <a:pt x="35" y="8"/>
                  </a:lnTo>
                  <a:lnTo>
                    <a:pt x="30" y="11"/>
                  </a:lnTo>
                  <a:lnTo>
                    <a:pt x="25" y="16"/>
                  </a:lnTo>
                  <a:lnTo>
                    <a:pt x="19" y="20"/>
                  </a:lnTo>
                  <a:lnTo>
                    <a:pt x="16" y="25"/>
                  </a:lnTo>
                  <a:lnTo>
                    <a:pt x="11" y="30"/>
                  </a:lnTo>
                  <a:lnTo>
                    <a:pt x="8" y="35"/>
                  </a:lnTo>
                  <a:lnTo>
                    <a:pt x="6" y="42"/>
                  </a:lnTo>
                  <a:lnTo>
                    <a:pt x="4" y="47"/>
                  </a:lnTo>
                  <a:lnTo>
                    <a:pt x="1" y="54"/>
                  </a:lnTo>
                  <a:lnTo>
                    <a:pt x="0" y="61"/>
                  </a:lnTo>
                  <a:lnTo>
                    <a:pt x="0" y="68"/>
                  </a:lnTo>
                  <a:lnTo>
                    <a:pt x="0" y="746"/>
                  </a:lnTo>
                  <a:lnTo>
                    <a:pt x="0" y="753"/>
                  </a:lnTo>
                  <a:lnTo>
                    <a:pt x="1" y="759"/>
                  </a:lnTo>
                  <a:lnTo>
                    <a:pt x="4" y="766"/>
                  </a:lnTo>
                  <a:lnTo>
                    <a:pt x="6" y="773"/>
                  </a:lnTo>
                  <a:lnTo>
                    <a:pt x="8" y="779"/>
                  </a:lnTo>
                  <a:lnTo>
                    <a:pt x="11" y="784"/>
                  </a:lnTo>
                  <a:lnTo>
                    <a:pt x="16" y="789"/>
                  </a:lnTo>
                  <a:lnTo>
                    <a:pt x="19" y="794"/>
                  </a:lnTo>
                  <a:lnTo>
                    <a:pt x="25" y="798"/>
                  </a:lnTo>
                  <a:lnTo>
                    <a:pt x="30" y="802"/>
                  </a:lnTo>
                  <a:lnTo>
                    <a:pt x="35" y="806"/>
                  </a:lnTo>
                  <a:lnTo>
                    <a:pt x="42" y="808"/>
                  </a:lnTo>
                  <a:lnTo>
                    <a:pt x="48" y="810"/>
                  </a:lnTo>
                  <a:lnTo>
                    <a:pt x="54" y="813"/>
                  </a:lnTo>
                  <a:lnTo>
                    <a:pt x="61" y="814"/>
                  </a:lnTo>
                  <a:lnTo>
                    <a:pt x="68" y="814"/>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17" name="Freeform 873"/>
            <p:cNvSpPr>
              <a:spLocks/>
            </p:cNvSpPr>
            <p:nvPr/>
          </p:nvSpPr>
          <p:spPr bwMode="auto">
            <a:xfrm>
              <a:off x="5129" y="3068"/>
              <a:ext cx="429" cy="199"/>
            </a:xfrm>
            <a:custGeom>
              <a:avLst/>
              <a:gdLst>
                <a:gd name="T0" fmla="*/ 135 w 1286"/>
                <a:gd name="T1" fmla="*/ 49 h 814"/>
                <a:gd name="T2" fmla="*/ 137 w 1286"/>
                <a:gd name="T3" fmla="*/ 49 h 814"/>
                <a:gd name="T4" fmla="*/ 138 w 1286"/>
                <a:gd name="T5" fmla="*/ 48 h 814"/>
                <a:gd name="T6" fmla="*/ 140 w 1286"/>
                <a:gd name="T7" fmla="*/ 48 h 814"/>
                <a:gd name="T8" fmla="*/ 141 w 1286"/>
                <a:gd name="T9" fmla="*/ 47 h 814"/>
                <a:gd name="T10" fmla="*/ 142 w 1286"/>
                <a:gd name="T11" fmla="*/ 47 h 814"/>
                <a:gd name="T12" fmla="*/ 142 w 1286"/>
                <a:gd name="T13" fmla="*/ 46 h 814"/>
                <a:gd name="T14" fmla="*/ 143 w 1286"/>
                <a:gd name="T15" fmla="*/ 45 h 814"/>
                <a:gd name="T16" fmla="*/ 143 w 1286"/>
                <a:gd name="T17" fmla="*/ 44 h 814"/>
                <a:gd name="T18" fmla="*/ 143 w 1286"/>
                <a:gd name="T19" fmla="*/ 4 h 814"/>
                <a:gd name="T20" fmla="*/ 143 w 1286"/>
                <a:gd name="T21" fmla="*/ 3 h 814"/>
                <a:gd name="T22" fmla="*/ 142 w 1286"/>
                <a:gd name="T23" fmla="*/ 2 h 814"/>
                <a:gd name="T24" fmla="*/ 142 w 1286"/>
                <a:gd name="T25" fmla="*/ 2 h 814"/>
                <a:gd name="T26" fmla="*/ 141 w 1286"/>
                <a:gd name="T27" fmla="*/ 1 h 814"/>
                <a:gd name="T28" fmla="*/ 140 w 1286"/>
                <a:gd name="T29" fmla="*/ 1 h 814"/>
                <a:gd name="T30" fmla="*/ 138 w 1286"/>
                <a:gd name="T31" fmla="*/ 0 h 814"/>
                <a:gd name="T32" fmla="*/ 137 w 1286"/>
                <a:gd name="T33" fmla="*/ 0 h 814"/>
                <a:gd name="T34" fmla="*/ 135 w 1286"/>
                <a:gd name="T35" fmla="*/ 0 h 814"/>
                <a:gd name="T36" fmla="*/ 7 w 1286"/>
                <a:gd name="T37" fmla="*/ 0 h 814"/>
                <a:gd name="T38" fmla="*/ 5 w 1286"/>
                <a:gd name="T39" fmla="*/ 0 h 814"/>
                <a:gd name="T40" fmla="*/ 4 w 1286"/>
                <a:gd name="T41" fmla="*/ 0 h 814"/>
                <a:gd name="T42" fmla="*/ 3 w 1286"/>
                <a:gd name="T43" fmla="*/ 1 h 814"/>
                <a:gd name="T44" fmla="*/ 2 w 1286"/>
                <a:gd name="T45" fmla="*/ 1 h 814"/>
                <a:gd name="T46" fmla="*/ 1 w 1286"/>
                <a:gd name="T47" fmla="*/ 2 h 814"/>
                <a:gd name="T48" fmla="*/ 0 w 1286"/>
                <a:gd name="T49" fmla="*/ 3 h 814"/>
                <a:gd name="T50" fmla="*/ 0 w 1286"/>
                <a:gd name="T51" fmla="*/ 4 h 814"/>
                <a:gd name="T52" fmla="*/ 0 w 1286"/>
                <a:gd name="T53" fmla="*/ 44 h 814"/>
                <a:gd name="T54" fmla="*/ 0 w 1286"/>
                <a:gd name="T55" fmla="*/ 45 h 814"/>
                <a:gd name="T56" fmla="*/ 1 w 1286"/>
                <a:gd name="T57" fmla="*/ 46 h 814"/>
                <a:gd name="T58" fmla="*/ 1 w 1286"/>
                <a:gd name="T59" fmla="*/ 47 h 814"/>
                <a:gd name="T60" fmla="*/ 2 w 1286"/>
                <a:gd name="T61" fmla="*/ 47 h 814"/>
                <a:gd name="T62" fmla="*/ 3 w 1286"/>
                <a:gd name="T63" fmla="*/ 48 h 814"/>
                <a:gd name="T64" fmla="*/ 5 w 1286"/>
                <a:gd name="T65" fmla="*/ 48 h 814"/>
                <a:gd name="T66" fmla="*/ 6 w 1286"/>
                <a:gd name="T67" fmla="*/ 49 h 814"/>
                <a:gd name="T68" fmla="*/ 8 w 1286"/>
                <a:gd name="T69" fmla="*/ 49 h 8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86"/>
                <a:gd name="T106" fmla="*/ 0 h 814"/>
                <a:gd name="T107" fmla="*/ 1286 w 1286"/>
                <a:gd name="T108" fmla="*/ 814 h 8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86" h="814">
                  <a:moveTo>
                    <a:pt x="68" y="814"/>
                  </a:moveTo>
                  <a:lnTo>
                    <a:pt x="1218" y="814"/>
                  </a:lnTo>
                  <a:lnTo>
                    <a:pt x="1225" y="814"/>
                  </a:lnTo>
                  <a:lnTo>
                    <a:pt x="1232" y="813"/>
                  </a:lnTo>
                  <a:lnTo>
                    <a:pt x="1239" y="810"/>
                  </a:lnTo>
                  <a:lnTo>
                    <a:pt x="1244" y="808"/>
                  </a:lnTo>
                  <a:lnTo>
                    <a:pt x="1251" y="806"/>
                  </a:lnTo>
                  <a:lnTo>
                    <a:pt x="1257" y="802"/>
                  </a:lnTo>
                  <a:lnTo>
                    <a:pt x="1261" y="798"/>
                  </a:lnTo>
                  <a:lnTo>
                    <a:pt x="1266" y="794"/>
                  </a:lnTo>
                  <a:lnTo>
                    <a:pt x="1270" y="789"/>
                  </a:lnTo>
                  <a:lnTo>
                    <a:pt x="1275" y="784"/>
                  </a:lnTo>
                  <a:lnTo>
                    <a:pt x="1278" y="779"/>
                  </a:lnTo>
                  <a:lnTo>
                    <a:pt x="1281" y="773"/>
                  </a:lnTo>
                  <a:lnTo>
                    <a:pt x="1283" y="766"/>
                  </a:lnTo>
                  <a:lnTo>
                    <a:pt x="1285" y="759"/>
                  </a:lnTo>
                  <a:lnTo>
                    <a:pt x="1286" y="753"/>
                  </a:lnTo>
                  <a:lnTo>
                    <a:pt x="1286" y="746"/>
                  </a:lnTo>
                  <a:lnTo>
                    <a:pt x="1286" y="68"/>
                  </a:lnTo>
                  <a:lnTo>
                    <a:pt x="1286" y="61"/>
                  </a:lnTo>
                  <a:lnTo>
                    <a:pt x="1285" y="54"/>
                  </a:lnTo>
                  <a:lnTo>
                    <a:pt x="1283" y="47"/>
                  </a:lnTo>
                  <a:lnTo>
                    <a:pt x="1281" y="42"/>
                  </a:lnTo>
                  <a:lnTo>
                    <a:pt x="1278" y="35"/>
                  </a:lnTo>
                  <a:lnTo>
                    <a:pt x="1275" y="30"/>
                  </a:lnTo>
                  <a:lnTo>
                    <a:pt x="1270" y="25"/>
                  </a:lnTo>
                  <a:lnTo>
                    <a:pt x="1266" y="20"/>
                  </a:lnTo>
                  <a:lnTo>
                    <a:pt x="1261" y="16"/>
                  </a:lnTo>
                  <a:lnTo>
                    <a:pt x="1257" y="11"/>
                  </a:lnTo>
                  <a:lnTo>
                    <a:pt x="1251" y="8"/>
                  </a:lnTo>
                  <a:lnTo>
                    <a:pt x="1244" y="5"/>
                  </a:lnTo>
                  <a:lnTo>
                    <a:pt x="1239" y="3"/>
                  </a:lnTo>
                  <a:lnTo>
                    <a:pt x="1232" y="1"/>
                  </a:lnTo>
                  <a:lnTo>
                    <a:pt x="1225" y="0"/>
                  </a:lnTo>
                  <a:lnTo>
                    <a:pt x="1218" y="0"/>
                  </a:lnTo>
                  <a:lnTo>
                    <a:pt x="68" y="0"/>
                  </a:lnTo>
                  <a:lnTo>
                    <a:pt x="61" y="0"/>
                  </a:lnTo>
                  <a:lnTo>
                    <a:pt x="54" y="1"/>
                  </a:lnTo>
                  <a:lnTo>
                    <a:pt x="48" y="3"/>
                  </a:lnTo>
                  <a:lnTo>
                    <a:pt x="42" y="5"/>
                  </a:lnTo>
                  <a:lnTo>
                    <a:pt x="35" y="8"/>
                  </a:lnTo>
                  <a:lnTo>
                    <a:pt x="30" y="11"/>
                  </a:lnTo>
                  <a:lnTo>
                    <a:pt x="25" y="16"/>
                  </a:lnTo>
                  <a:lnTo>
                    <a:pt x="19" y="20"/>
                  </a:lnTo>
                  <a:lnTo>
                    <a:pt x="16" y="25"/>
                  </a:lnTo>
                  <a:lnTo>
                    <a:pt x="11" y="30"/>
                  </a:lnTo>
                  <a:lnTo>
                    <a:pt x="8" y="35"/>
                  </a:lnTo>
                  <a:lnTo>
                    <a:pt x="6" y="42"/>
                  </a:lnTo>
                  <a:lnTo>
                    <a:pt x="4" y="47"/>
                  </a:lnTo>
                  <a:lnTo>
                    <a:pt x="1" y="54"/>
                  </a:lnTo>
                  <a:lnTo>
                    <a:pt x="0" y="61"/>
                  </a:lnTo>
                  <a:lnTo>
                    <a:pt x="0" y="68"/>
                  </a:lnTo>
                  <a:lnTo>
                    <a:pt x="0" y="746"/>
                  </a:lnTo>
                  <a:lnTo>
                    <a:pt x="0" y="753"/>
                  </a:lnTo>
                  <a:lnTo>
                    <a:pt x="1" y="759"/>
                  </a:lnTo>
                  <a:lnTo>
                    <a:pt x="4" y="766"/>
                  </a:lnTo>
                  <a:lnTo>
                    <a:pt x="6" y="773"/>
                  </a:lnTo>
                  <a:lnTo>
                    <a:pt x="8" y="779"/>
                  </a:lnTo>
                  <a:lnTo>
                    <a:pt x="11" y="784"/>
                  </a:lnTo>
                  <a:lnTo>
                    <a:pt x="16" y="789"/>
                  </a:lnTo>
                  <a:lnTo>
                    <a:pt x="19" y="794"/>
                  </a:lnTo>
                  <a:lnTo>
                    <a:pt x="25" y="798"/>
                  </a:lnTo>
                  <a:lnTo>
                    <a:pt x="30" y="802"/>
                  </a:lnTo>
                  <a:lnTo>
                    <a:pt x="35" y="806"/>
                  </a:lnTo>
                  <a:lnTo>
                    <a:pt x="42" y="808"/>
                  </a:lnTo>
                  <a:lnTo>
                    <a:pt x="48" y="810"/>
                  </a:lnTo>
                  <a:lnTo>
                    <a:pt x="54" y="813"/>
                  </a:lnTo>
                  <a:lnTo>
                    <a:pt x="61" y="814"/>
                  </a:lnTo>
                  <a:lnTo>
                    <a:pt x="68" y="81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18" name="Rectangle 874"/>
            <p:cNvSpPr>
              <a:spLocks noChangeArrowheads="1"/>
            </p:cNvSpPr>
            <p:nvPr/>
          </p:nvSpPr>
          <p:spPr bwMode="auto">
            <a:xfrm>
              <a:off x="5161" y="3150"/>
              <a:ext cx="7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g</a:t>
              </a:r>
              <a:endParaRPr lang="en-US" sz="1800" b="0" kern="0" baseline="0">
                <a:solidFill>
                  <a:sysClr val="windowText" lastClr="000000"/>
                </a:solidFill>
                <a:latin typeface="Arial" charset="0"/>
                <a:ea typeface="ＭＳ Ｐゴシック"/>
                <a:cs typeface="ＭＳ Ｐゴシック"/>
              </a:endParaRPr>
            </a:p>
          </p:txBody>
        </p:sp>
        <p:sp>
          <p:nvSpPr>
            <p:cNvPr id="319" name="Rectangle 875"/>
            <p:cNvSpPr>
              <a:spLocks noChangeArrowheads="1"/>
            </p:cNvSpPr>
            <p:nvPr/>
          </p:nvSpPr>
          <p:spPr bwMode="auto">
            <a:xfrm>
              <a:off x="5235" y="3150"/>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320" name="Rectangle 876"/>
            <p:cNvSpPr>
              <a:spLocks noChangeArrowheads="1"/>
            </p:cNvSpPr>
            <p:nvPr/>
          </p:nvSpPr>
          <p:spPr bwMode="auto">
            <a:xfrm>
              <a:off x="5257" y="3150"/>
              <a:ext cx="26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dirty="0">
                  <a:solidFill>
                    <a:srgbClr val="000000"/>
                  </a:solidFill>
                  <a:latin typeface="Arial" charset="0"/>
                  <a:ea typeface="ＭＳ Ｐゴシック"/>
                  <a:cs typeface="ＭＳ Ｐゴシック"/>
                </a:rPr>
                <a:t>Interface </a:t>
              </a:r>
              <a:r>
                <a:rPr lang="en-US" sz="500" b="0" kern="0" baseline="0" dirty="0" err="1">
                  <a:solidFill>
                    <a:srgbClr val="000000"/>
                  </a:solidFill>
                  <a:latin typeface="Arial" charset="0"/>
                  <a:ea typeface="ＭＳ Ｐゴシック"/>
                  <a:cs typeface="ＭＳ Ｐゴシック"/>
                </a:rPr>
                <a:t>Mgmt</a:t>
              </a:r>
              <a:endParaRPr lang="en-US" sz="1800" b="0" kern="0" baseline="0" dirty="0">
                <a:solidFill>
                  <a:sysClr val="windowText" lastClr="000000"/>
                </a:solidFill>
                <a:latin typeface="Arial" charset="0"/>
                <a:ea typeface="ＭＳ Ｐゴシック"/>
                <a:cs typeface="ＭＳ Ｐゴシック"/>
              </a:endParaRPr>
            </a:p>
          </p:txBody>
        </p:sp>
        <p:sp>
          <p:nvSpPr>
            <p:cNvPr id="321" name="Rectangle 877"/>
            <p:cNvSpPr>
              <a:spLocks noChangeArrowheads="1"/>
            </p:cNvSpPr>
            <p:nvPr/>
          </p:nvSpPr>
          <p:spPr bwMode="auto">
            <a:xfrm>
              <a:off x="1528" y="1390"/>
              <a:ext cx="391" cy="1636"/>
            </a:xfrm>
            <a:prstGeom prst="rect">
              <a:avLst/>
            </a:prstGeom>
            <a:solidFill>
              <a:srgbClr val="CCCDFF"/>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22" name="Rectangle 878"/>
            <p:cNvSpPr>
              <a:spLocks noChangeArrowheads="1"/>
            </p:cNvSpPr>
            <p:nvPr/>
          </p:nvSpPr>
          <p:spPr bwMode="auto">
            <a:xfrm>
              <a:off x="1528" y="1390"/>
              <a:ext cx="391" cy="1636"/>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23" name="Rectangle 879"/>
            <p:cNvSpPr>
              <a:spLocks noChangeArrowheads="1"/>
            </p:cNvSpPr>
            <p:nvPr/>
          </p:nvSpPr>
          <p:spPr bwMode="auto">
            <a:xfrm>
              <a:off x="1619" y="1403"/>
              <a:ext cx="31"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2</a:t>
              </a:r>
              <a:endParaRPr lang="en-US" sz="1800" b="0" kern="0" baseline="0">
                <a:solidFill>
                  <a:sysClr val="windowText" lastClr="000000"/>
                </a:solidFill>
                <a:latin typeface="Arial" charset="0"/>
                <a:ea typeface="ＭＳ Ｐゴシック"/>
                <a:cs typeface="ＭＳ Ｐゴシック"/>
              </a:endParaRPr>
            </a:p>
          </p:txBody>
        </p:sp>
        <p:sp>
          <p:nvSpPr>
            <p:cNvPr id="324" name="Rectangle 880"/>
            <p:cNvSpPr>
              <a:spLocks noChangeArrowheads="1"/>
            </p:cNvSpPr>
            <p:nvPr/>
          </p:nvSpPr>
          <p:spPr bwMode="auto">
            <a:xfrm>
              <a:off x="1650" y="1403"/>
              <a:ext cx="1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325" name="Rectangle 881"/>
            <p:cNvSpPr>
              <a:spLocks noChangeArrowheads="1"/>
            </p:cNvSpPr>
            <p:nvPr/>
          </p:nvSpPr>
          <p:spPr bwMode="auto">
            <a:xfrm>
              <a:off x="1665" y="1403"/>
              <a:ext cx="47"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1 </a:t>
              </a:r>
              <a:endParaRPr lang="en-US" sz="1800" b="0" kern="0" baseline="0">
                <a:solidFill>
                  <a:sysClr val="windowText" lastClr="000000"/>
                </a:solidFill>
                <a:latin typeface="Arial" charset="0"/>
                <a:ea typeface="ＭＳ Ｐゴシック"/>
                <a:cs typeface="ＭＳ Ｐゴシック"/>
              </a:endParaRPr>
            </a:p>
          </p:txBody>
        </p:sp>
        <p:sp>
          <p:nvSpPr>
            <p:cNvPr id="326" name="Rectangle 882"/>
            <p:cNvSpPr>
              <a:spLocks noChangeArrowheads="1"/>
            </p:cNvSpPr>
            <p:nvPr/>
          </p:nvSpPr>
          <p:spPr bwMode="auto">
            <a:xfrm>
              <a:off x="1711" y="1403"/>
              <a:ext cx="134"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Plan </a:t>
              </a:r>
              <a:endParaRPr lang="en-US" sz="1800" b="0" kern="0" baseline="0">
                <a:solidFill>
                  <a:sysClr val="windowText" lastClr="000000"/>
                </a:solidFill>
                <a:latin typeface="Arial" charset="0"/>
                <a:ea typeface="ＭＳ Ｐゴシック"/>
                <a:cs typeface="ＭＳ Ｐゴシック"/>
              </a:endParaRPr>
            </a:p>
          </p:txBody>
        </p:sp>
        <p:sp>
          <p:nvSpPr>
            <p:cNvPr id="327" name="Rectangle 883"/>
            <p:cNvSpPr>
              <a:spLocks noChangeArrowheads="1"/>
            </p:cNvSpPr>
            <p:nvPr/>
          </p:nvSpPr>
          <p:spPr bwMode="auto">
            <a:xfrm>
              <a:off x="1627" y="1452"/>
              <a:ext cx="15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Work </a:t>
              </a:r>
              <a:endParaRPr lang="en-US" sz="1800" b="0" kern="0" baseline="0">
                <a:solidFill>
                  <a:sysClr val="windowText" lastClr="000000"/>
                </a:solidFill>
                <a:latin typeface="Arial" charset="0"/>
                <a:ea typeface="ＭＳ Ｐゴシック"/>
                <a:cs typeface="ＭＳ Ｐゴシック"/>
              </a:endParaRPr>
            </a:p>
          </p:txBody>
        </p:sp>
        <p:sp>
          <p:nvSpPr>
            <p:cNvPr id="328" name="Rectangle 884"/>
            <p:cNvSpPr>
              <a:spLocks noChangeArrowheads="1"/>
            </p:cNvSpPr>
            <p:nvPr/>
          </p:nvSpPr>
          <p:spPr bwMode="auto">
            <a:xfrm>
              <a:off x="1780" y="1452"/>
              <a:ext cx="5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329" name="Rectangle 885"/>
            <p:cNvSpPr>
              <a:spLocks noChangeArrowheads="1"/>
            </p:cNvSpPr>
            <p:nvPr/>
          </p:nvSpPr>
          <p:spPr bwMode="auto">
            <a:xfrm>
              <a:off x="1587" y="1500"/>
              <a:ext cx="293"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Enterprise </a:t>
              </a:r>
              <a:endParaRPr lang="en-US" sz="1800" b="0" kern="0" baseline="0">
                <a:solidFill>
                  <a:sysClr val="windowText" lastClr="000000"/>
                </a:solidFill>
                <a:latin typeface="Arial" charset="0"/>
                <a:ea typeface="ＭＳ Ｐゴシック"/>
                <a:cs typeface="ＭＳ Ｐゴシック"/>
              </a:endParaRPr>
            </a:p>
          </p:txBody>
        </p:sp>
        <p:sp>
          <p:nvSpPr>
            <p:cNvPr id="330" name="Rectangle 886"/>
            <p:cNvSpPr>
              <a:spLocks noChangeArrowheads="1"/>
            </p:cNvSpPr>
            <p:nvPr/>
          </p:nvSpPr>
          <p:spPr bwMode="auto">
            <a:xfrm>
              <a:off x="1582" y="1548"/>
              <a:ext cx="285"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Resources</a:t>
              </a:r>
              <a:endParaRPr lang="en-US" sz="1800" b="0" kern="0" baseline="0">
                <a:solidFill>
                  <a:sysClr val="windowText" lastClr="000000"/>
                </a:solidFill>
                <a:latin typeface="Arial" charset="0"/>
                <a:ea typeface="ＭＳ Ｐゴシック"/>
                <a:cs typeface="ＭＳ Ｐゴシック"/>
              </a:endParaRPr>
            </a:p>
          </p:txBody>
        </p:sp>
        <p:sp>
          <p:nvSpPr>
            <p:cNvPr id="331" name="Freeform 887"/>
            <p:cNvSpPr>
              <a:spLocks/>
            </p:cNvSpPr>
            <p:nvPr/>
          </p:nvSpPr>
          <p:spPr bwMode="auto">
            <a:xfrm>
              <a:off x="1553" y="1689"/>
              <a:ext cx="338" cy="211"/>
            </a:xfrm>
            <a:custGeom>
              <a:avLst/>
              <a:gdLst>
                <a:gd name="T0" fmla="*/ 105 w 1014"/>
                <a:gd name="T1" fmla="*/ 51 h 869"/>
                <a:gd name="T2" fmla="*/ 107 w 1014"/>
                <a:gd name="T3" fmla="*/ 51 h 869"/>
                <a:gd name="T4" fmla="*/ 108 w 1014"/>
                <a:gd name="T5" fmla="*/ 51 h 869"/>
                <a:gd name="T6" fmla="*/ 109 w 1014"/>
                <a:gd name="T7" fmla="*/ 51 h 869"/>
                <a:gd name="T8" fmla="*/ 110 w 1014"/>
                <a:gd name="T9" fmla="*/ 50 h 869"/>
                <a:gd name="T10" fmla="*/ 111 w 1014"/>
                <a:gd name="T11" fmla="*/ 50 h 869"/>
                <a:gd name="T12" fmla="*/ 112 w 1014"/>
                <a:gd name="T13" fmla="*/ 49 h 869"/>
                <a:gd name="T14" fmla="*/ 113 w 1014"/>
                <a:gd name="T15" fmla="*/ 48 h 869"/>
                <a:gd name="T16" fmla="*/ 113 w 1014"/>
                <a:gd name="T17" fmla="*/ 47 h 869"/>
                <a:gd name="T18" fmla="*/ 113 w 1014"/>
                <a:gd name="T19" fmla="*/ 4 h 869"/>
                <a:gd name="T20" fmla="*/ 113 w 1014"/>
                <a:gd name="T21" fmla="*/ 3 h 869"/>
                <a:gd name="T22" fmla="*/ 112 w 1014"/>
                <a:gd name="T23" fmla="*/ 2 h 869"/>
                <a:gd name="T24" fmla="*/ 111 w 1014"/>
                <a:gd name="T25" fmla="*/ 2 h 869"/>
                <a:gd name="T26" fmla="*/ 110 w 1014"/>
                <a:gd name="T27" fmla="*/ 1 h 869"/>
                <a:gd name="T28" fmla="*/ 109 w 1014"/>
                <a:gd name="T29" fmla="*/ 1 h 869"/>
                <a:gd name="T30" fmla="*/ 108 w 1014"/>
                <a:gd name="T31" fmla="*/ 0 h 869"/>
                <a:gd name="T32" fmla="*/ 107 w 1014"/>
                <a:gd name="T33" fmla="*/ 0 h 869"/>
                <a:gd name="T34" fmla="*/ 105 w 1014"/>
                <a:gd name="T35" fmla="*/ 0 h 869"/>
                <a:gd name="T36" fmla="*/ 7 w 1014"/>
                <a:gd name="T37" fmla="*/ 0 h 869"/>
                <a:gd name="T38" fmla="*/ 5 w 1014"/>
                <a:gd name="T39" fmla="*/ 0 h 869"/>
                <a:gd name="T40" fmla="*/ 4 w 1014"/>
                <a:gd name="T41" fmla="*/ 0 h 869"/>
                <a:gd name="T42" fmla="*/ 3 w 1014"/>
                <a:gd name="T43" fmla="*/ 1 h 869"/>
                <a:gd name="T44" fmla="*/ 2 w 1014"/>
                <a:gd name="T45" fmla="*/ 1 h 869"/>
                <a:gd name="T46" fmla="*/ 1 w 1014"/>
                <a:gd name="T47" fmla="*/ 2 h 869"/>
                <a:gd name="T48" fmla="*/ 0 w 1014"/>
                <a:gd name="T49" fmla="*/ 3 h 869"/>
                <a:gd name="T50" fmla="*/ 0 w 1014"/>
                <a:gd name="T51" fmla="*/ 4 h 869"/>
                <a:gd name="T52" fmla="*/ 0 w 1014"/>
                <a:gd name="T53" fmla="*/ 47 h 869"/>
                <a:gd name="T54" fmla="*/ 0 w 1014"/>
                <a:gd name="T55" fmla="*/ 48 h 869"/>
                <a:gd name="T56" fmla="*/ 1 w 1014"/>
                <a:gd name="T57" fmla="*/ 49 h 869"/>
                <a:gd name="T58" fmla="*/ 1 w 1014"/>
                <a:gd name="T59" fmla="*/ 50 h 869"/>
                <a:gd name="T60" fmla="*/ 2 w 1014"/>
                <a:gd name="T61" fmla="*/ 50 h 869"/>
                <a:gd name="T62" fmla="*/ 3 w 1014"/>
                <a:gd name="T63" fmla="*/ 51 h 869"/>
                <a:gd name="T64" fmla="*/ 5 w 1014"/>
                <a:gd name="T65" fmla="*/ 51 h 869"/>
                <a:gd name="T66" fmla="*/ 6 w 1014"/>
                <a:gd name="T67" fmla="*/ 51 h 869"/>
                <a:gd name="T68" fmla="*/ 8 w 1014"/>
                <a:gd name="T69" fmla="*/ 51 h 8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14"/>
                <a:gd name="T106" fmla="*/ 0 h 869"/>
                <a:gd name="T107" fmla="*/ 1014 w 1014"/>
                <a:gd name="T108" fmla="*/ 869 h 8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14" h="869">
                  <a:moveTo>
                    <a:pt x="68" y="869"/>
                  </a:moveTo>
                  <a:lnTo>
                    <a:pt x="946" y="869"/>
                  </a:lnTo>
                  <a:lnTo>
                    <a:pt x="953" y="869"/>
                  </a:lnTo>
                  <a:lnTo>
                    <a:pt x="960" y="868"/>
                  </a:lnTo>
                  <a:lnTo>
                    <a:pt x="967" y="866"/>
                  </a:lnTo>
                  <a:lnTo>
                    <a:pt x="972" y="864"/>
                  </a:lnTo>
                  <a:lnTo>
                    <a:pt x="978" y="861"/>
                  </a:lnTo>
                  <a:lnTo>
                    <a:pt x="984" y="857"/>
                  </a:lnTo>
                  <a:lnTo>
                    <a:pt x="989" y="854"/>
                  </a:lnTo>
                  <a:lnTo>
                    <a:pt x="994" y="850"/>
                  </a:lnTo>
                  <a:lnTo>
                    <a:pt x="998" y="844"/>
                  </a:lnTo>
                  <a:lnTo>
                    <a:pt x="1003" y="839"/>
                  </a:lnTo>
                  <a:lnTo>
                    <a:pt x="1006" y="834"/>
                  </a:lnTo>
                  <a:lnTo>
                    <a:pt x="1009" y="828"/>
                  </a:lnTo>
                  <a:lnTo>
                    <a:pt x="1011" y="821"/>
                  </a:lnTo>
                  <a:lnTo>
                    <a:pt x="1013" y="814"/>
                  </a:lnTo>
                  <a:lnTo>
                    <a:pt x="1013" y="808"/>
                  </a:lnTo>
                  <a:lnTo>
                    <a:pt x="1014" y="801"/>
                  </a:lnTo>
                  <a:lnTo>
                    <a:pt x="1014" y="67"/>
                  </a:lnTo>
                  <a:lnTo>
                    <a:pt x="1013" y="61"/>
                  </a:lnTo>
                  <a:lnTo>
                    <a:pt x="1013" y="54"/>
                  </a:lnTo>
                  <a:lnTo>
                    <a:pt x="1011" y="47"/>
                  </a:lnTo>
                  <a:lnTo>
                    <a:pt x="1009" y="40"/>
                  </a:lnTo>
                  <a:lnTo>
                    <a:pt x="1006" y="35"/>
                  </a:lnTo>
                  <a:lnTo>
                    <a:pt x="1003" y="29"/>
                  </a:lnTo>
                  <a:lnTo>
                    <a:pt x="998" y="24"/>
                  </a:lnTo>
                  <a:lnTo>
                    <a:pt x="994" y="19"/>
                  </a:lnTo>
                  <a:lnTo>
                    <a:pt x="989" y="14"/>
                  </a:lnTo>
                  <a:lnTo>
                    <a:pt x="984" y="11"/>
                  </a:lnTo>
                  <a:lnTo>
                    <a:pt x="978" y="7"/>
                  </a:lnTo>
                  <a:lnTo>
                    <a:pt x="972" y="4"/>
                  </a:lnTo>
                  <a:lnTo>
                    <a:pt x="967" y="2"/>
                  </a:lnTo>
                  <a:lnTo>
                    <a:pt x="960" y="1"/>
                  </a:lnTo>
                  <a:lnTo>
                    <a:pt x="953" y="0"/>
                  </a:lnTo>
                  <a:lnTo>
                    <a:pt x="946" y="0"/>
                  </a:lnTo>
                  <a:lnTo>
                    <a:pt x="68" y="0"/>
                  </a:lnTo>
                  <a:lnTo>
                    <a:pt x="60" y="0"/>
                  </a:lnTo>
                  <a:lnTo>
                    <a:pt x="54" y="1"/>
                  </a:lnTo>
                  <a:lnTo>
                    <a:pt x="48" y="2"/>
                  </a:lnTo>
                  <a:lnTo>
                    <a:pt x="41" y="4"/>
                  </a:lnTo>
                  <a:lnTo>
                    <a:pt x="36" y="7"/>
                  </a:lnTo>
                  <a:lnTo>
                    <a:pt x="30" y="11"/>
                  </a:lnTo>
                  <a:lnTo>
                    <a:pt x="24" y="14"/>
                  </a:lnTo>
                  <a:lnTo>
                    <a:pt x="20" y="19"/>
                  </a:lnTo>
                  <a:lnTo>
                    <a:pt x="15" y="24"/>
                  </a:lnTo>
                  <a:lnTo>
                    <a:pt x="12" y="29"/>
                  </a:lnTo>
                  <a:lnTo>
                    <a:pt x="8" y="35"/>
                  </a:lnTo>
                  <a:lnTo>
                    <a:pt x="5" y="40"/>
                  </a:lnTo>
                  <a:lnTo>
                    <a:pt x="3" y="47"/>
                  </a:lnTo>
                  <a:lnTo>
                    <a:pt x="2" y="54"/>
                  </a:lnTo>
                  <a:lnTo>
                    <a:pt x="0" y="61"/>
                  </a:lnTo>
                  <a:lnTo>
                    <a:pt x="0" y="67"/>
                  </a:lnTo>
                  <a:lnTo>
                    <a:pt x="0" y="801"/>
                  </a:lnTo>
                  <a:lnTo>
                    <a:pt x="0" y="808"/>
                  </a:lnTo>
                  <a:lnTo>
                    <a:pt x="2" y="814"/>
                  </a:lnTo>
                  <a:lnTo>
                    <a:pt x="3" y="821"/>
                  </a:lnTo>
                  <a:lnTo>
                    <a:pt x="5" y="828"/>
                  </a:lnTo>
                  <a:lnTo>
                    <a:pt x="8" y="834"/>
                  </a:lnTo>
                  <a:lnTo>
                    <a:pt x="12" y="839"/>
                  </a:lnTo>
                  <a:lnTo>
                    <a:pt x="15" y="844"/>
                  </a:lnTo>
                  <a:lnTo>
                    <a:pt x="20" y="850"/>
                  </a:lnTo>
                  <a:lnTo>
                    <a:pt x="24" y="854"/>
                  </a:lnTo>
                  <a:lnTo>
                    <a:pt x="30" y="857"/>
                  </a:lnTo>
                  <a:lnTo>
                    <a:pt x="36" y="861"/>
                  </a:lnTo>
                  <a:lnTo>
                    <a:pt x="41" y="864"/>
                  </a:lnTo>
                  <a:lnTo>
                    <a:pt x="48" y="866"/>
                  </a:lnTo>
                  <a:lnTo>
                    <a:pt x="54" y="868"/>
                  </a:lnTo>
                  <a:lnTo>
                    <a:pt x="60" y="869"/>
                  </a:lnTo>
                  <a:lnTo>
                    <a:pt x="68" y="869"/>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32" name="Freeform 888"/>
            <p:cNvSpPr>
              <a:spLocks/>
            </p:cNvSpPr>
            <p:nvPr/>
          </p:nvSpPr>
          <p:spPr bwMode="auto">
            <a:xfrm>
              <a:off x="1553" y="1689"/>
              <a:ext cx="338" cy="211"/>
            </a:xfrm>
            <a:custGeom>
              <a:avLst/>
              <a:gdLst>
                <a:gd name="T0" fmla="*/ 105 w 1014"/>
                <a:gd name="T1" fmla="*/ 51 h 869"/>
                <a:gd name="T2" fmla="*/ 107 w 1014"/>
                <a:gd name="T3" fmla="*/ 51 h 869"/>
                <a:gd name="T4" fmla="*/ 108 w 1014"/>
                <a:gd name="T5" fmla="*/ 51 h 869"/>
                <a:gd name="T6" fmla="*/ 109 w 1014"/>
                <a:gd name="T7" fmla="*/ 51 h 869"/>
                <a:gd name="T8" fmla="*/ 110 w 1014"/>
                <a:gd name="T9" fmla="*/ 50 h 869"/>
                <a:gd name="T10" fmla="*/ 111 w 1014"/>
                <a:gd name="T11" fmla="*/ 50 h 869"/>
                <a:gd name="T12" fmla="*/ 112 w 1014"/>
                <a:gd name="T13" fmla="*/ 49 h 869"/>
                <a:gd name="T14" fmla="*/ 113 w 1014"/>
                <a:gd name="T15" fmla="*/ 48 h 869"/>
                <a:gd name="T16" fmla="*/ 113 w 1014"/>
                <a:gd name="T17" fmla="*/ 47 h 869"/>
                <a:gd name="T18" fmla="*/ 113 w 1014"/>
                <a:gd name="T19" fmla="*/ 4 h 869"/>
                <a:gd name="T20" fmla="*/ 113 w 1014"/>
                <a:gd name="T21" fmla="*/ 3 h 869"/>
                <a:gd name="T22" fmla="*/ 112 w 1014"/>
                <a:gd name="T23" fmla="*/ 2 h 869"/>
                <a:gd name="T24" fmla="*/ 111 w 1014"/>
                <a:gd name="T25" fmla="*/ 2 h 869"/>
                <a:gd name="T26" fmla="*/ 110 w 1014"/>
                <a:gd name="T27" fmla="*/ 1 h 869"/>
                <a:gd name="T28" fmla="*/ 109 w 1014"/>
                <a:gd name="T29" fmla="*/ 1 h 869"/>
                <a:gd name="T30" fmla="*/ 108 w 1014"/>
                <a:gd name="T31" fmla="*/ 0 h 869"/>
                <a:gd name="T32" fmla="*/ 107 w 1014"/>
                <a:gd name="T33" fmla="*/ 0 h 869"/>
                <a:gd name="T34" fmla="*/ 105 w 1014"/>
                <a:gd name="T35" fmla="*/ 0 h 869"/>
                <a:gd name="T36" fmla="*/ 7 w 1014"/>
                <a:gd name="T37" fmla="*/ 0 h 869"/>
                <a:gd name="T38" fmla="*/ 5 w 1014"/>
                <a:gd name="T39" fmla="*/ 0 h 869"/>
                <a:gd name="T40" fmla="*/ 4 w 1014"/>
                <a:gd name="T41" fmla="*/ 0 h 869"/>
                <a:gd name="T42" fmla="*/ 3 w 1014"/>
                <a:gd name="T43" fmla="*/ 1 h 869"/>
                <a:gd name="T44" fmla="*/ 2 w 1014"/>
                <a:gd name="T45" fmla="*/ 1 h 869"/>
                <a:gd name="T46" fmla="*/ 1 w 1014"/>
                <a:gd name="T47" fmla="*/ 2 h 869"/>
                <a:gd name="T48" fmla="*/ 0 w 1014"/>
                <a:gd name="T49" fmla="*/ 3 h 869"/>
                <a:gd name="T50" fmla="*/ 0 w 1014"/>
                <a:gd name="T51" fmla="*/ 4 h 869"/>
                <a:gd name="T52" fmla="*/ 0 w 1014"/>
                <a:gd name="T53" fmla="*/ 47 h 869"/>
                <a:gd name="T54" fmla="*/ 0 w 1014"/>
                <a:gd name="T55" fmla="*/ 48 h 869"/>
                <a:gd name="T56" fmla="*/ 1 w 1014"/>
                <a:gd name="T57" fmla="*/ 49 h 869"/>
                <a:gd name="T58" fmla="*/ 1 w 1014"/>
                <a:gd name="T59" fmla="*/ 50 h 869"/>
                <a:gd name="T60" fmla="*/ 2 w 1014"/>
                <a:gd name="T61" fmla="*/ 50 h 869"/>
                <a:gd name="T62" fmla="*/ 3 w 1014"/>
                <a:gd name="T63" fmla="*/ 51 h 869"/>
                <a:gd name="T64" fmla="*/ 5 w 1014"/>
                <a:gd name="T65" fmla="*/ 51 h 869"/>
                <a:gd name="T66" fmla="*/ 6 w 1014"/>
                <a:gd name="T67" fmla="*/ 51 h 869"/>
                <a:gd name="T68" fmla="*/ 8 w 1014"/>
                <a:gd name="T69" fmla="*/ 51 h 8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14"/>
                <a:gd name="T106" fmla="*/ 0 h 869"/>
                <a:gd name="T107" fmla="*/ 1014 w 1014"/>
                <a:gd name="T108" fmla="*/ 869 h 8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14" h="869">
                  <a:moveTo>
                    <a:pt x="68" y="869"/>
                  </a:moveTo>
                  <a:lnTo>
                    <a:pt x="946" y="869"/>
                  </a:lnTo>
                  <a:lnTo>
                    <a:pt x="953" y="869"/>
                  </a:lnTo>
                  <a:lnTo>
                    <a:pt x="960" y="868"/>
                  </a:lnTo>
                  <a:lnTo>
                    <a:pt x="967" y="866"/>
                  </a:lnTo>
                  <a:lnTo>
                    <a:pt x="972" y="864"/>
                  </a:lnTo>
                  <a:lnTo>
                    <a:pt x="978" y="861"/>
                  </a:lnTo>
                  <a:lnTo>
                    <a:pt x="984" y="857"/>
                  </a:lnTo>
                  <a:lnTo>
                    <a:pt x="989" y="854"/>
                  </a:lnTo>
                  <a:lnTo>
                    <a:pt x="994" y="850"/>
                  </a:lnTo>
                  <a:lnTo>
                    <a:pt x="998" y="844"/>
                  </a:lnTo>
                  <a:lnTo>
                    <a:pt x="1003" y="839"/>
                  </a:lnTo>
                  <a:lnTo>
                    <a:pt x="1006" y="834"/>
                  </a:lnTo>
                  <a:lnTo>
                    <a:pt x="1009" y="828"/>
                  </a:lnTo>
                  <a:lnTo>
                    <a:pt x="1011" y="821"/>
                  </a:lnTo>
                  <a:lnTo>
                    <a:pt x="1013" y="814"/>
                  </a:lnTo>
                  <a:lnTo>
                    <a:pt x="1013" y="808"/>
                  </a:lnTo>
                  <a:lnTo>
                    <a:pt x="1014" y="801"/>
                  </a:lnTo>
                  <a:lnTo>
                    <a:pt x="1014" y="67"/>
                  </a:lnTo>
                  <a:lnTo>
                    <a:pt x="1013" y="61"/>
                  </a:lnTo>
                  <a:lnTo>
                    <a:pt x="1013" y="54"/>
                  </a:lnTo>
                  <a:lnTo>
                    <a:pt x="1011" y="47"/>
                  </a:lnTo>
                  <a:lnTo>
                    <a:pt x="1009" y="40"/>
                  </a:lnTo>
                  <a:lnTo>
                    <a:pt x="1006" y="35"/>
                  </a:lnTo>
                  <a:lnTo>
                    <a:pt x="1003" y="29"/>
                  </a:lnTo>
                  <a:lnTo>
                    <a:pt x="998" y="24"/>
                  </a:lnTo>
                  <a:lnTo>
                    <a:pt x="994" y="19"/>
                  </a:lnTo>
                  <a:lnTo>
                    <a:pt x="989" y="14"/>
                  </a:lnTo>
                  <a:lnTo>
                    <a:pt x="984" y="11"/>
                  </a:lnTo>
                  <a:lnTo>
                    <a:pt x="978" y="7"/>
                  </a:lnTo>
                  <a:lnTo>
                    <a:pt x="972" y="4"/>
                  </a:lnTo>
                  <a:lnTo>
                    <a:pt x="967" y="2"/>
                  </a:lnTo>
                  <a:lnTo>
                    <a:pt x="960" y="1"/>
                  </a:lnTo>
                  <a:lnTo>
                    <a:pt x="953" y="0"/>
                  </a:lnTo>
                  <a:lnTo>
                    <a:pt x="946" y="0"/>
                  </a:lnTo>
                  <a:lnTo>
                    <a:pt x="68" y="0"/>
                  </a:lnTo>
                  <a:lnTo>
                    <a:pt x="60" y="0"/>
                  </a:lnTo>
                  <a:lnTo>
                    <a:pt x="54" y="1"/>
                  </a:lnTo>
                  <a:lnTo>
                    <a:pt x="48" y="2"/>
                  </a:lnTo>
                  <a:lnTo>
                    <a:pt x="41" y="4"/>
                  </a:lnTo>
                  <a:lnTo>
                    <a:pt x="36" y="7"/>
                  </a:lnTo>
                  <a:lnTo>
                    <a:pt x="30" y="11"/>
                  </a:lnTo>
                  <a:lnTo>
                    <a:pt x="24" y="14"/>
                  </a:lnTo>
                  <a:lnTo>
                    <a:pt x="20" y="19"/>
                  </a:lnTo>
                  <a:lnTo>
                    <a:pt x="15" y="24"/>
                  </a:lnTo>
                  <a:lnTo>
                    <a:pt x="12" y="29"/>
                  </a:lnTo>
                  <a:lnTo>
                    <a:pt x="8" y="35"/>
                  </a:lnTo>
                  <a:lnTo>
                    <a:pt x="5" y="40"/>
                  </a:lnTo>
                  <a:lnTo>
                    <a:pt x="3" y="47"/>
                  </a:lnTo>
                  <a:lnTo>
                    <a:pt x="2" y="54"/>
                  </a:lnTo>
                  <a:lnTo>
                    <a:pt x="0" y="61"/>
                  </a:lnTo>
                  <a:lnTo>
                    <a:pt x="0" y="67"/>
                  </a:lnTo>
                  <a:lnTo>
                    <a:pt x="0" y="801"/>
                  </a:lnTo>
                  <a:lnTo>
                    <a:pt x="0" y="808"/>
                  </a:lnTo>
                  <a:lnTo>
                    <a:pt x="2" y="814"/>
                  </a:lnTo>
                  <a:lnTo>
                    <a:pt x="3" y="821"/>
                  </a:lnTo>
                  <a:lnTo>
                    <a:pt x="5" y="828"/>
                  </a:lnTo>
                  <a:lnTo>
                    <a:pt x="8" y="834"/>
                  </a:lnTo>
                  <a:lnTo>
                    <a:pt x="12" y="839"/>
                  </a:lnTo>
                  <a:lnTo>
                    <a:pt x="15" y="844"/>
                  </a:lnTo>
                  <a:lnTo>
                    <a:pt x="20" y="850"/>
                  </a:lnTo>
                  <a:lnTo>
                    <a:pt x="24" y="854"/>
                  </a:lnTo>
                  <a:lnTo>
                    <a:pt x="30" y="857"/>
                  </a:lnTo>
                  <a:lnTo>
                    <a:pt x="36" y="861"/>
                  </a:lnTo>
                  <a:lnTo>
                    <a:pt x="41" y="864"/>
                  </a:lnTo>
                  <a:lnTo>
                    <a:pt x="48" y="866"/>
                  </a:lnTo>
                  <a:lnTo>
                    <a:pt x="54" y="868"/>
                  </a:lnTo>
                  <a:lnTo>
                    <a:pt x="60" y="869"/>
                  </a:lnTo>
                  <a:lnTo>
                    <a:pt x="68" y="869"/>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33" name="Rectangle 889"/>
            <p:cNvSpPr>
              <a:spLocks noChangeArrowheads="1"/>
            </p:cNvSpPr>
            <p:nvPr/>
          </p:nvSpPr>
          <p:spPr bwMode="auto">
            <a:xfrm>
              <a:off x="1631" y="1724"/>
              <a:ext cx="18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Integrated </a:t>
              </a:r>
              <a:endParaRPr lang="en-US" sz="1800" b="0" kern="0" baseline="0">
                <a:solidFill>
                  <a:sysClr val="windowText" lastClr="000000"/>
                </a:solidFill>
                <a:latin typeface="Arial" charset="0"/>
                <a:ea typeface="ＭＳ Ｐゴシック"/>
                <a:cs typeface="ＭＳ Ｐゴシック"/>
              </a:endParaRPr>
            </a:p>
          </p:txBody>
        </p:sp>
        <p:sp>
          <p:nvSpPr>
            <p:cNvPr id="334" name="Rectangle 890"/>
            <p:cNvSpPr>
              <a:spLocks noChangeArrowheads="1"/>
            </p:cNvSpPr>
            <p:nvPr/>
          </p:nvSpPr>
          <p:spPr bwMode="auto">
            <a:xfrm>
              <a:off x="1616" y="1759"/>
              <a:ext cx="18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source </a:t>
              </a:r>
              <a:endParaRPr lang="en-US" sz="1800" b="0" kern="0" baseline="0">
                <a:solidFill>
                  <a:sysClr val="windowText" lastClr="000000"/>
                </a:solidFill>
                <a:latin typeface="Arial" charset="0"/>
                <a:ea typeface="ＭＳ Ｐゴシック"/>
                <a:cs typeface="ＭＳ Ｐゴシック"/>
              </a:endParaRPr>
            </a:p>
          </p:txBody>
        </p:sp>
        <p:sp>
          <p:nvSpPr>
            <p:cNvPr id="335" name="Rectangle 891"/>
            <p:cNvSpPr>
              <a:spLocks noChangeArrowheads="1"/>
            </p:cNvSpPr>
            <p:nvPr/>
          </p:nvSpPr>
          <p:spPr bwMode="auto">
            <a:xfrm>
              <a:off x="1800" y="1759"/>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336" name="Rectangle 892"/>
            <p:cNvSpPr>
              <a:spLocks noChangeArrowheads="1"/>
            </p:cNvSpPr>
            <p:nvPr/>
          </p:nvSpPr>
          <p:spPr bwMode="auto">
            <a:xfrm>
              <a:off x="1602" y="1795"/>
              <a:ext cx="24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Supply Chain </a:t>
              </a:r>
              <a:endParaRPr lang="en-US" sz="1800" b="0" kern="0" baseline="0">
                <a:solidFill>
                  <a:sysClr val="windowText" lastClr="000000"/>
                </a:solidFill>
                <a:latin typeface="Arial" charset="0"/>
                <a:ea typeface="ＭＳ Ｐゴシック"/>
                <a:cs typeface="ＭＳ Ｐゴシック"/>
              </a:endParaRPr>
            </a:p>
          </p:txBody>
        </p:sp>
        <p:sp>
          <p:nvSpPr>
            <p:cNvPr id="337" name="Rectangle 893"/>
            <p:cNvSpPr>
              <a:spLocks noChangeArrowheads="1"/>
            </p:cNvSpPr>
            <p:nvPr/>
          </p:nvSpPr>
          <p:spPr bwMode="auto">
            <a:xfrm>
              <a:off x="1644" y="1830"/>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lanning</a:t>
              </a:r>
              <a:endParaRPr lang="en-US" sz="1800" b="0" kern="0" baseline="0">
                <a:solidFill>
                  <a:sysClr val="windowText" lastClr="000000"/>
                </a:solidFill>
                <a:latin typeface="Arial" charset="0"/>
                <a:ea typeface="ＭＳ Ｐゴシック"/>
                <a:cs typeface="ＭＳ Ｐゴシック"/>
              </a:endParaRPr>
            </a:p>
          </p:txBody>
        </p:sp>
        <p:sp>
          <p:nvSpPr>
            <p:cNvPr id="338" name="Freeform 894"/>
            <p:cNvSpPr>
              <a:spLocks/>
            </p:cNvSpPr>
            <p:nvPr/>
          </p:nvSpPr>
          <p:spPr bwMode="auto">
            <a:xfrm>
              <a:off x="1553" y="1941"/>
              <a:ext cx="338" cy="211"/>
            </a:xfrm>
            <a:custGeom>
              <a:avLst/>
              <a:gdLst>
                <a:gd name="T0" fmla="*/ 105 w 1014"/>
                <a:gd name="T1" fmla="*/ 51 h 869"/>
                <a:gd name="T2" fmla="*/ 107 w 1014"/>
                <a:gd name="T3" fmla="*/ 51 h 869"/>
                <a:gd name="T4" fmla="*/ 108 w 1014"/>
                <a:gd name="T5" fmla="*/ 51 h 869"/>
                <a:gd name="T6" fmla="*/ 109 w 1014"/>
                <a:gd name="T7" fmla="*/ 51 h 869"/>
                <a:gd name="T8" fmla="*/ 110 w 1014"/>
                <a:gd name="T9" fmla="*/ 50 h 869"/>
                <a:gd name="T10" fmla="*/ 111 w 1014"/>
                <a:gd name="T11" fmla="*/ 50 h 869"/>
                <a:gd name="T12" fmla="*/ 112 w 1014"/>
                <a:gd name="T13" fmla="*/ 49 h 869"/>
                <a:gd name="T14" fmla="*/ 113 w 1014"/>
                <a:gd name="T15" fmla="*/ 48 h 869"/>
                <a:gd name="T16" fmla="*/ 113 w 1014"/>
                <a:gd name="T17" fmla="*/ 47 h 869"/>
                <a:gd name="T18" fmla="*/ 113 w 1014"/>
                <a:gd name="T19" fmla="*/ 4 h 869"/>
                <a:gd name="T20" fmla="*/ 113 w 1014"/>
                <a:gd name="T21" fmla="*/ 3 h 869"/>
                <a:gd name="T22" fmla="*/ 112 w 1014"/>
                <a:gd name="T23" fmla="*/ 2 h 869"/>
                <a:gd name="T24" fmla="*/ 111 w 1014"/>
                <a:gd name="T25" fmla="*/ 2 h 869"/>
                <a:gd name="T26" fmla="*/ 110 w 1014"/>
                <a:gd name="T27" fmla="*/ 1 h 869"/>
                <a:gd name="T28" fmla="*/ 109 w 1014"/>
                <a:gd name="T29" fmla="*/ 1 h 869"/>
                <a:gd name="T30" fmla="*/ 108 w 1014"/>
                <a:gd name="T31" fmla="*/ 0 h 869"/>
                <a:gd name="T32" fmla="*/ 107 w 1014"/>
                <a:gd name="T33" fmla="*/ 0 h 869"/>
                <a:gd name="T34" fmla="*/ 105 w 1014"/>
                <a:gd name="T35" fmla="*/ 0 h 869"/>
                <a:gd name="T36" fmla="*/ 7 w 1014"/>
                <a:gd name="T37" fmla="*/ 0 h 869"/>
                <a:gd name="T38" fmla="*/ 5 w 1014"/>
                <a:gd name="T39" fmla="*/ 0 h 869"/>
                <a:gd name="T40" fmla="*/ 4 w 1014"/>
                <a:gd name="T41" fmla="*/ 0 h 869"/>
                <a:gd name="T42" fmla="*/ 3 w 1014"/>
                <a:gd name="T43" fmla="*/ 1 h 869"/>
                <a:gd name="T44" fmla="*/ 2 w 1014"/>
                <a:gd name="T45" fmla="*/ 1 h 869"/>
                <a:gd name="T46" fmla="*/ 1 w 1014"/>
                <a:gd name="T47" fmla="*/ 2 h 869"/>
                <a:gd name="T48" fmla="*/ 0 w 1014"/>
                <a:gd name="T49" fmla="*/ 3 h 869"/>
                <a:gd name="T50" fmla="*/ 0 w 1014"/>
                <a:gd name="T51" fmla="*/ 4 h 869"/>
                <a:gd name="T52" fmla="*/ 0 w 1014"/>
                <a:gd name="T53" fmla="*/ 47 h 869"/>
                <a:gd name="T54" fmla="*/ 0 w 1014"/>
                <a:gd name="T55" fmla="*/ 48 h 869"/>
                <a:gd name="T56" fmla="*/ 1 w 1014"/>
                <a:gd name="T57" fmla="*/ 49 h 869"/>
                <a:gd name="T58" fmla="*/ 1 w 1014"/>
                <a:gd name="T59" fmla="*/ 50 h 869"/>
                <a:gd name="T60" fmla="*/ 2 w 1014"/>
                <a:gd name="T61" fmla="*/ 50 h 869"/>
                <a:gd name="T62" fmla="*/ 3 w 1014"/>
                <a:gd name="T63" fmla="*/ 51 h 869"/>
                <a:gd name="T64" fmla="*/ 5 w 1014"/>
                <a:gd name="T65" fmla="*/ 51 h 869"/>
                <a:gd name="T66" fmla="*/ 6 w 1014"/>
                <a:gd name="T67" fmla="*/ 51 h 869"/>
                <a:gd name="T68" fmla="*/ 8 w 1014"/>
                <a:gd name="T69" fmla="*/ 51 h 8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14"/>
                <a:gd name="T106" fmla="*/ 0 h 869"/>
                <a:gd name="T107" fmla="*/ 1014 w 1014"/>
                <a:gd name="T108" fmla="*/ 869 h 8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14" h="869">
                  <a:moveTo>
                    <a:pt x="68" y="869"/>
                  </a:moveTo>
                  <a:lnTo>
                    <a:pt x="946" y="869"/>
                  </a:lnTo>
                  <a:lnTo>
                    <a:pt x="953" y="869"/>
                  </a:lnTo>
                  <a:lnTo>
                    <a:pt x="960" y="868"/>
                  </a:lnTo>
                  <a:lnTo>
                    <a:pt x="967" y="867"/>
                  </a:lnTo>
                  <a:lnTo>
                    <a:pt x="972" y="865"/>
                  </a:lnTo>
                  <a:lnTo>
                    <a:pt x="978" y="861"/>
                  </a:lnTo>
                  <a:lnTo>
                    <a:pt x="984" y="858"/>
                  </a:lnTo>
                  <a:lnTo>
                    <a:pt x="989" y="855"/>
                  </a:lnTo>
                  <a:lnTo>
                    <a:pt x="994" y="850"/>
                  </a:lnTo>
                  <a:lnTo>
                    <a:pt x="998" y="845"/>
                  </a:lnTo>
                  <a:lnTo>
                    <a:pt x="1003" y="840"/>
                  </a:lnTo>
                  <a:lnTo>
                    <a:pt x="1006" y="834"/>
                  </a:lnTo>
                  <a:lnTo>
                    <a:pt x="1009" y="829"/>
                  </a:lnTo>
                  <a:lnTo>
                    <a:pt x="1011" y="822"/>
                  </a:lnTo>
                  <a:lnTo>
                    <a:pt x="1013" y="815"/>
                  </a:lnTo>
                  <a:lnTo>
                    <a:pt x="1013" y="808"/>
                  </a:lnTo>
                  <a:lnTo>
                    <a:pt x="1014" y="802"/>
                  </a:lnTo>
                  <a:lnTo>
                    <a:pt x="1014" y="68"/>
                  </a:lnTo>
                  <a:lnTo>
                    <a:pt x="1013" y="61"/>
                  </a:lnTo>
                  <a:lnTo>
                    <a:pt x="1013" y="54"/>
                  </a:lnTo>
                  <a:lnTo>
                    <a:pt x="1011" y="48"/>
                  </a:lnTo>
                  <a:lnTo>
                    <a:pt x="1009" y="41"/>
                  </a:lnTo>
                  <a:lnTo>
                    <a:pt x="1006" y="35"/>
                  </a:lnTo>
                  <a:lnTo>
                    <a:pt x="1003" y="30"/>
                  </a:lnTo>
                  <a:lnTo>
                    <a:pt x="998" y="25"/>
                  </a:lnTo>
                  <a:lnTo>
                    <a:pt x="994" y="19"/>
                  </a:lnTo>
                  <a:lnTo>
                    <a:pt x="989" y="16"/>
                  </a:lnTo>
                  <a:lnTo>
                    <a:pt x="984" y="11"/>
                  </a:lnTo>
                  <a:lnTo>
                    <a:pt x="978" y="8"/>
                  </a:lnTo>
                  <a:lnTo>
                    <a:pt x="972" y="6"/>
                  </a:lnTo>
                  <a:lnTo>
                    <a:pt x="967" y="2"/>
                  </a:lnTo>
                  <a:lnTo>
                    <a:pt x="960" y="1"/>
                  </a:lnTo>
                  <a:lnTo>
                    <a:pt x="953" y="0"/>
                  </a:lnTo>
                  <a:lnTo>
                    <a:pt x="946" y="0"/>
                  </a:lnTo>
                  <a:lnTo>
                    <a:pt x="68" y="0"/>
                  </a:lnTo>
                  <a:lnTo>
                    <a:pt x="60" y="0"/>
                  </a:lnTo>
                  <a:lnTo>
                    <a:pt x="54" y="1"/>
                  </a:lnTo>
                  <a:lnTo>
                    <a:pt x="48" y="2"/>
                  </a:lnTo>
                  <a:lnTo>
                    <a:pt x="41" y="6"/>
                  </a:lnTo>
                  <a:lnTo>
                    <a:pt x="36" y="8"/>
                  </a:lnTo>
                  <a:lnTo>
                    <a:pt x="30" y="11"/>
                  </a:lnTo>
                  <a:lnTo>
                    <a:pt x="24" y="16"/>
                  </a:lnTo>
                  <a:lnTo>
                    <a:pt x="20" y="19"/>
                  </a:lnTo>
                  <a:lnTo>
                    <a:pt x="15" y="25"/>
                  </a:lnTo>
                  <a:lnTo>
                    <a:pt x="12" y="30"/>
                  </a:lnTo>
                  <a:lnTo>
                    <a:pt x="8" y="35"/>
                  </a:lnTo>
                  <a:lnTo>
                    <a:pt x="5" y="41"/>
                  </a:lnTo>
                  <a:lnTo>
                    <a:pt x="3" y="48"/>
                  </a:lnTo>
                  <a:lnTo>
                    <a:pt x="2" y="54"/>
                  </a:lnTo>
                  <a:lnTo>
                    <a:pt x="0" y="61"/>
                  </a:lnTo>
                  <a:lnTo>
                    <a:pt x="0" y="68"/>
                  </a:lnTo>
                  <a:lnTo>
                    <a:pt x="0" y="802"/>
                  </a:lnTo>
                  <a:lnTo>
                    <a:pt x="0" y="808"/>
                  </a:lnTo>
                  <a:lnTo>
                    <a:pt x="2" y="815"/>
                  </a:lnTo>
                  <a:lnTo>
                    <a:pt x="3" y="822"/>
                  </a:lnTo>
                  <a:lnTo>
                    <a:pt x="5" y="829"/>
                  </a:lnTo>
                  <a:lnTo>
                    <a:pt x="8" y="834"/>
                  </a:lnTo>
                  <a:lnTo>
                    <a:pt x="12" y="840"/>
                  </a:lnTo>
                  <a:lnTo>
                    <a:pt x="15" y="845"/>
                  </a:lnTo>
                  <a:lnTo>
                    <a:pt x="20" y="850"/>
                  </a:lnTo>
                  <a:lnTo>
                    <a:pt x="24" y="855"/>
                  </a:lnTo>
                  <a:lnTo>
                    <a:pt x="30" y="858"/>
                  </a:lnTo>
                  <a:lnTo>
                    <a:pt x="36" y="861"/>
                  </a:lnTo>
                  <a:lnTo>
                    <a:pt x="41" y="865"/>
                  </a:lnTo>
                  <a:lnTo>
                    <a:pt x="48" y="867"/>
                  </a:lnTo>
                  <a:lnTo>
                    <a:pt x="54" y="868"/>
                  </a:lnTo>
                  <a:lnTo>
                    <a:pt x="60" y="869"/>
                  </a:lnTo>
                  <a:lnTo>
                    <a:pt x="68" y="869"/>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39" name="Freeform 895"/>
            <p:cNvSpPr>
              <a:spLocks/>
            </p:cNvSpPr>
            <p:nvPr/>
          </p:nvSpPr>
          <p:spPr bwMode="auto">
            <a:xfrm>
              <a:off x="1553" y="1941"/>
              <a:ext cx="338" cy="211"/>
            </a:xfrm>
            <a:custGeom>
              <a:avLst/>
              <a:gdLst>
                <a:gd name="T0" fmla="*/ 105 w 1014"/>
                <a:gd name="T1" fmla="*/ 51 h 869"/>
                <a:gd name="T2" fmla="*/ 107 w 1014"/>
                <a:gd name="T3" fmla="*/ 51 h 869"/>
                <a:gd name="T4" fmla="*/ 108 w 1014"/>
                <a:gd name="T5" fmla="*/ 51 h 869"/>
                <a:gd name="T6" fmla="*/ 109 w 1014"/>
                <a:gd name="T7" fmla="*/ 51 h 869"/>
                <a:gd name="T8" fmla="*/ 110 w 1014"/>
                <a:gd name="T9" fmla="*/ 50 h 869"/>
                <a:gd name="T10" fmla="*/ 111 w 1014"/>
                <a:gd name="T11" fmla="*/ 50 h 869"/>
                <a:gd name="T12" fmla="*/ 112 w 1014"/>
                <a:gd name="T13" fmla="*/ 49 h 869"/>
                <a:gd name="T14" fmla="*/ 113 w 1014"/>
                <a:gd name="T15" fmla="*/ 48 h 869"/>
                <a:gd name="T16" fmla="*/ 113 w 1014"/>
                <a:gd name="T17" fmla="*/ 47 h 869"/>
                <a:gd name="T18" fmla="*/ 113 w 1014"/>
                <a:gd name="T19" fmla="*/ 4 h 869"/>
                <a:gd name="T20" fmla="*/ 113 w 1014"/>
                <a:gd name="T21" fmla="*/ 3 h 869"/>
                <a:gd name="T22" fmla="*/ 112 w 1014"/>
                <a:gd name="T23" fmla="*/ 2 h 869"/>
                <a:gd name="T24" fmla="*/ 111 w 1014"/>
                <a:gd name="T25" fmla="*/ 2 h 869"/>
                <a:gd name="T26" fmla="*/ 110 w 1014"/>
                <a:gd name="T27" fmla="*/ 1 h 869"/>
                <a:gd name="T28" fmla="*/ 109 w 1014"/>
                <a:gd name="T29" fmla="*/ 1 h 869"/>
                <a:gd name="T30" fmla="*/ 108 w 1014"/>
                <a:gd name="T31" fmla="*/ 0 h 869"/>
                <a:gd name="T32" fmla="*/ 107 w 1014"/>
                <a:gd name="T33" fmla="*/ 0 h 869"/>
                <a:gd name="T34" fmla="*/ 105 w 1014"/>
                <a:gd name="T35" fmla="*/ 0 h 869"/>
                <a:gd name="T36" fmla="*/ 7 w 1014"/>
                <a:gd name="T37" fmla="*/ 0 h 869"/>
                <a:gd name="T38" fmla="*/ 5 w 1014"/>
                <a:gd name="T39" fmla="*/ 0 h 869"/>
                <a:gd name="T40" fmla="*/ 4 w 1014"/>
                <a:gd name="T41" fmla="*/ 0 h 869"/>
                <a:gd name="T42" fmla="*/ 3 w 1014"/>
                <a:gd name="T43" fmla="*/ 1 h 869"/>
                <a:gd name="T44" fmla="*/ 2 w 1014"/>
                <a:gd name="T45" fmla="*/ 1 h 869"/>
                <a:gd name="T46" fmla="*/ 1 w 1014"/>
                <a:gd name="T47" fmla="*/ 2 h 869"/>
                <a:gd name="T48" fmla="*/ 0 w 1014"/>
                <a:gd name="T49" fmla="*/ 3 h 869"/>
                <a:gd name="T50" fmla="*/ 0 w 1014"/>
                <a:gd name="T51" fmla="*/ 4 h 869"/>
                <a:gd name="T52" fmla="*/ 0 w 1014"/>
                <a:gd name="T53" fmla="*/ 47 h 869"/>
                <a:gd name="T54" fmla="*/ 0 w 1014"/>
                <a:gd name="T55" fmla="*/ 48 h 869"/>
                <a:gd name="T56" fmla="*/ 1 w 1014"/>
                <a:gd name="T57" fmla="*/ 49 h 869"/>
                <a:gd name="T58" fmla="*/ 1 w 1014"/>
                <a:gd name="T59" fmla="*/ 50 h 869"/>
                <a:gd name="T60" fmla="*/ 2 w 1014"/>
                <a:gd name="T61" fmla="*/ 50 h 869"/>
                <a:gd name="T62" fmla="*/ 3 w 1014"/>
                <a:gd name="T63" fmla="*/ 51 h 869"/>
                <a:gd name="T64" fmla="*/ 5 w 1014"/>
                <a:gd name="T65" fmla="*/ 51 h 869"/>
                <a:gd name="T66" fmla="*/ 6 w 1014"/>
                <a:gd name="T67" fmla="*/ 51 h 869"/>
                <a:gd name="T68" fmla="*/ 8 w 1014"/>
                <a:gd name="T69" fmla="*/ 51 h 8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14"/>
                <a:gd name="T106" fmla="*/ 0 h 869"/>
                <a:gd name="T107" fmla="*/ 1014 w 1014"/>
                <a:gd name="T108" fmla="*/ 869 h 8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14" h="869">
                  <a:moveTo>
                    <a:pt x="68" y="869"/>
                  </a:moveTo>
                  <a:lnTo>
                    <a:pt x="946" y="869"/>
                  </a:lnTo>
                  <a:lnTo>
                    <a:pt x="953" y="869"/>
                  </a:lnTo>
                  <a:lnTo>
                    <a:pt x="960" y="868"/>
                  </a:lnTo>
                  <a:lnTo>
                    <a:pt x="967" y="867"/>
                  </a:lnTo>
                  <a:lnTo>
                    <a:pt x="972" y="865"/>
                  </a:lnTo>
                  <a:lnTo>
                    <a:pt x="978" y="861"/>
                  </a:lnTo>
                  <a:lnTo>
                    <a:pt x="984" y="858"/>
                  </a:lnTo>
                  <a:lnTo>
                    <a:pt x="989" y="855"/>
                  </a:lnTo>
                  <a:lnTo>
                    <a:pt x="994" y="850"/>
                  </a:lnTo>
                  <a:lnTo>
                    <a:pt x="998" y="845"/>
                  </a:lnTo>
                  <a:lnTo>
                    <a:pt x="1003" y="840"/>
                  </a:lnTo>
                  <a:lnTo>
                    <a:pt x="1006" y="834"/>
                  </a:lnTo>
                  <a:lnTo>
                    <a:pt x="1009" y="829"/>
                  </a:lnTo>
                  <a:lnTo>
                    <a:pt x="1011" y="822"/>
                  </a:lnTo>
                  <a:lnTo>
                    <a:pt x="1013" y="815"/>
                  </a:lnTo>
                  <a:lnTo>
                    <a:pt x="1013" y="808"/>
                  </a:lnTo>
                  <a:lnTo>
                    <a:pt x="1014" y="802"/>
                  </a:lnTo>
                  <a:lnTo>
                    <a:pt x="1014" y="68"/>
                  </a:lnTo>
                  <a:lnTo>
                    <a:pt x="1013" y="61"/>
                  </a:lnTo>
                  <a:lnTo>
                    <a:pt x="1013" y="54"/>
                  </a:lnTo>
                  <a:lnTo>
                    <a:pt x="1011" y="48"/>
                  </a:lnTo>
                  <a:lnTo>
                    <a:pt x="1009" y="41"/>
                  </a:lnTo>
                  <a:lnTo>
                    <a:pt x="1006" y="35"/>
                  </a:lnTo>
                  <a:lnTo>
                    <a:pt x="1003" y="30"/>
                  </a:lnTo>
                  <a:lnTo>
                    <a:pt x="998" y="25"/>
                  </a:lnTo>
                  <a:lnTo>
                    <a:pt x="994" y="19"/>
                  </a:lnTo>
                  <a:lnTo>
                    <a:pt x="989" y="16"/>
                  </a:lnTo>
                  <a:lnTo>
                    <a:pt x="984" y="11"/>
                  </a:lnTo>
                  <a:lnTo>
                    <a:pt x="978" y="8"/>
                  </a:lnTo>
                  <a:lnTo>
                    <a:pt x="972" y="6"/>
                  </a:lnTo>
                  <a:lnTo>
                    <a:pt x="967" y="2"/>
                  </a:lnTo>
                  <a:lnTo>
                    <a:pt x="960" y="1"/>
                  </a:lnTo>
                  <a:lnTo>
                    <a:pt x="953" y="0"/>
                  </a:lnTo>
                  <a:lnTo>
                    <a:pt x="946" y="0"/>
                  </a:lnTo>
                  <a:lnTo>
                    <a:pt x="68" y="0"/>
                  </a:lnTo>
                  <a:lnTo>
                    <a:pt x="60" y="0"/>
                  </a:lnTo>
                  <a:lnTo>
                    <a:pt x="54" y="1"/>
                  </a:lnTo>
                  <a:lnTo>
                    <a:pt x="48" y="2"/>
                  </a:lnTo>
                  <a:lnTo>
                    <a:pt x="41" y="6"/>
                  </a:lnTo>
                  <a:lnTo>
                    <a:pt x="36" y="8"/>
                  </a:lnTo>
                  <a:lnTo>
                    <a:pt x="30" y="11"/>
                  </a:lnTo>
                  <a:lnTo>
                    <a:pt x="24" y="16"/>
                  </a:lnTo>
                  <a:lnTo>
                    <a:pt x="20" y="19"/>
                  </a:lnTo>
                  <a:lnTo>
                    <a:pt x="15" y="25"/>
                  </a:lnTo>
                  <a:lnTo>
                    <a:pt x="12" y="30"/>
                  </a:lnTo>
                  <a:lnTo>
                    <a:pt x="8" y="35"/>
                  </a:lnTo>
                  <a:lnTo>
                    <a:pt x="5" y="41"/>
                  </a:lnTo>
                  <a:lnTo>
                    <a:pt x="3" y="48"/>
                  </a:lnTo>
                  <a:lnTo>
                    <a:pt x="2" y="54"/>
                  </a:lnTo>
                  <a:lnTo>
                    <a:pt x="0" y="61"/>
                  </a:lnTo>
                  <a:lnTo>
                    <a:pt x="0" y="68"/>
                  </a:lnTo>
                  <a:lnTo>
                    <a:pt x="0" y="802"/>
                  </a:lnTo>
                  <a:lnTo>
                    <a:pt x="0" y="808"/>
                  </a:lnTo>
                  <a:lnTo>
                    <a:pt x="2" y="815"/>
                  </a:lnTo>
                  <a:lnTo>
                    <a:pt x="3" y="822"/>
                  </a:lnTo>
                  <a:lnTo>
                    <a:pt x="5" y="829"/>
                  </a:lnTo>
                  <a:lnTo>
                    <a:pt x="8" y="834"/>
                  </a:lnTo>
                  <a:lnTo>
                    <a:pt x="12" y="840"/>
                  </a:lnTo>
                  <a:lnTo>
                    <a:pt x="15" y="845"/>
                  </a:lnTo>
                  <a:lnTo>
                    <a:pt x="20" y="850"/>
                  </a:lnTo>
                  <a:lnTo>
                    <a:pt x="24" y="855"/>
                  </a:lnTo>
                  <a:lnTo>
                    <a:pt x="30" y="858"/>
                  </a:lnTo>
                  <a:lnTo>
                    <a:pt x="36" y="861"/>
                  </a:lnTo>
                  <a:lnTo>
                    <a:pt x="41" y="865"/>
                  </a:lnTo>
                  <a:lnTo>
                    <a:pt x="48" y="867"/>
                  </a:lnTo>
                  <a:lnTo>
                    <a:pt x="54" y="868"/>
                  </a:lnTo>
                  <a:lnTo>
                    <a:pt x="60" y="869"/>
                  </a:lnTo>
                  <a:lnTo>
                    <a:pt x="68" y="869"/>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40" name="Rectangle 896"/>
            <p:cNvSpPr>
              <a:spLocks noChangeArrowheads="1"/>
            </p:cNvSpPr>
            <p:nvPr/>
          </p:nvSpPr>
          <p:spPr bwMode="auto">
            <a:xfrm>
              <a:off x="1628" y="2011"/>
              <a:ext cx="19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ontractor </a:t>
              </a:r>
              <a:endParaRPr lang="en-US" sz="1800" b="0" kern="0" baseline="0">
                <a:solidFill>
                  <a:sysClr val="windowText" lastClr="000000"/>
                </a:solidFill>
                <a:latin typeface="Arial" charset="0"/>
                <a:ea typeface="ＭＳ Ｐゴシック"/>
                <a:cs typeface="ＭＳ Ｐゴシック"/>
              </a:endParaRPr>
            </a:p>
          </p:txBody>
        </p:sp>
        <p:sp>
          <p:nvSpPr>
            <p:cNvPr id="341" name="Rectangle 897"/>
            <p:cNvSpPr>
              <a:spLocks noChangeArrowheads="1"/>
            </p:cNvSpPr>
            <p:nvPr/>
          </p:nvSpPr>
          <p:spPr bwMode="auto">
            <a:xfrm>
              <a:off x="1647" y="2047"/>
              <a:ext cx="14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Strategy</a:t>
              </a:r>
              <a:endParaRPr lang="en-US" sz="1800" b="0" kern="0" baseline="0">
                <a:solidFill>
                  <a:sysClr val="windowText" lastClr="000000"/>
                </a:solidFill>
                <a:latin typeface="Arial" charset="0"/>
                <a:ea typeface="ＭＳ Ｐゴシック"/>
                <a:cs typeface="ＭＳ Ｐゴシック"/>
              </a:endParaRPr>
            </a:p>
          </p:txBody>
        </p:sp>
        <p:sp>
          <p:nvSpPr>
            <p:cNvPr id="342" name="Freeform 898"/>
            <p:cNvSpPr>
              <a:spLocks/>
            </p:cNvSpPr>
            <p:nvPr/>
          </p:nvSpPr>
          <p:spPr bwMode="auto">
            <a:xfrm>
              <a:off x="1553" y="2185"/>
              <a:ext cx="338" cy="212"/>
            </a:xfrm>
            <a:custGeom>
              <a:avLst/>
              <a:gdLst>
                <a:gd name="T0" fmla="*/ 105 w 1014"/>
                <a:gd name="T1" fmla="*/ 51 h 871"/>
                <a:gd name="T2" fmla="*/ 107 w 1014"/>
                <a:gd name="T3" fmla="*/ 51 h 871"/>
                <a:gd name="T4" fmla="*/ 108 w 1014"/>
                <a:gd name="T5" fmla="*/ 51 h 871"/>
                <a:gd name="T6" fmla="*/ 109 w 1014"/>
                <a:gd name="T7" fmla="*/ 50 h 871"/>
                <a:gd name="T8" fmla="*/ 110 w 1014"/>
                <a:gd name="T9" fmla="*/ 50 h 871"/>
                <a:gd name="T10" fmla="*/ 111 w 1014"/>
                <a:gd name="T11" fmla="*/ 49 h 871"/>
                <a:gd name="T12" fmla="*/ 112 w 1014"/>
                <a:gd name="T13" fmla="*/ 49 h 871"/>
                <a:gd name="T14" fmla="*/ 113 w 1014"/>
                <a:gd name="T15" fmla="*/ 48 h 871"/>
                <a:gd name="T16" fmla="*/ 113 w 1014"/>
                <a:gd name="T17" fmla="*/ 47 h 871"/>
                <a:gd name="T18" fmla="*/ 113 w 1014"/>
                <a:gd name="T19" fmla="*/ 4 h 871"/>
                <a:gd name="T20" fmla="*/ 113 w 1014"/>
                <a:gd name="T21" fmla="*/ 3 h 871"/>
                <a:gd name="T22" fmla="*/ 112 w 1014"/>
                <a:gd name="T23" fmla="*/ 2 h 871"/>
                <a:gd name="T24" fmla="*/ 111 w 1014"/>
                <a:gd name="T25" fmla="*/ 2 h 871"/>
                <a:gd name="T26" fmla="*/ 110 w 1014"/>
                <a:gd name="T27" fmla="*/ 1 h 871"/>
                <a:gd name="T28" fmla="*/ 109 w 1014"/>
                <a:gd name="T29" fmla="*/ 1 h 871"/>
                <a:gd name="T30" fmla="*/ 108 w 1014"/>
                <a:gd name="T31" fmla="*/ 0 h 871"/>
                <a:gd name="T32" fmla="*/ 107 w 1014"/>
                <a:gd name="T33" fmla="*/ 0 h 871"/>
                <a:gd name="T34" fmla="*/ 105 w 1014"/>
                <a:gd name="T35" fmla="*/ 0 h 871"/>
                <a:gd name="T36" fmla="*/ 7 w 1014"/>
                <a:gd name="T37" fmla="*/ 0 h 871"/>
                <a:gd name="T38" fmla="*/ 5 w 1014"/>
                <a:gd name="T39" fmla="*/ 0 h 871"/>
                <a:gd name="T40" fmla="*/ 4 w 1014"/>
                <a:gd name="T41" fmla="*/ 0 h 871"/>
                <a:gd name="T42" fmla="*/ 3 w 1014"/>
                <a:gd name="T43" fmla="*/ 1 h 871"/>
                <a:gd name="T44" fmla="*/ 2 w 1014"/>
                <a:gd name="T45" fmla="*/ 1 h 871"/>
                <a:gd name="T46" fmla="*/ 1 w 1014"/>
                <a:gd name="T47" fmla="*/ 2 h 871"/>
                <a:gd name="T48" fmla="*/ 0 w 1014"/>
                <a:gd name="T49" fmla="*/ 3 h 871"/>
                <a:gd name="T50" fmla="*/ 0 w 1014"/>
                <a:gd name="T51" fmla="*/ 4 h 871"/>
                <a:gd name="T52" fmla="*/ 0 w 1014"/>
                <a:gd name="T53" fmla="*/ 47 h 871"/>
                <a:gd name="T54" fmla="*/ 0 w 1014"/>
                <a:gd name="T55" fmla="*/ 48 h 871"/>
                <a:gd name="T56" fmla="*/ 1 w 1014"/>
                <a:gd name="T57" fmla="*/ 49 h 871"/>
                <a:gd name="T58" fmla="*/ 1 w 1014"/>
                <a:gd name="T59" fmla="*/ 49 h 871"/>
                <a:gd name="T60" fmla="*/ 2 w 1014"/>
                <a:gd name="T61" fmla="*/ 50 h 871"/>
                <a:gd name="T62" fmla="*/ 3 w 1014"/>
                <a:gd name="T63" fmla="*/ 50 h 871"/>
                <a:gd name="T64" fmla="*/ 5 w 1014"/>
                <a:gd name="T65" fmla="*/ 51 h 871"/>
                <a:gd name="T66" fmla="*/ 6 w 1014"/>
                <a:gd name="T67" fmla="*/ 51 h 871"/>
                <a:gd name="T68" fmla="*/ 8 w 1014"/>
                <a:gd name="T69" fmla="*/ 51 h 87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14"/>
                <a:gd name="T106" fmla="*/ 0 h 871"/>
                <a:gd name="T107" fmla="*/ 1014 w 1014"/>
                <a:gd name="T108" fmla="*/ 871 h 87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14" h="871">
                  <a:moveTo>
                    <a:pt x="68" y="871"/>
                  </a:moveTo>
                  <a:lnTo>
                    <a:pt x="946" y="871"/>
                  </a:lnTo>
                  <a:lnTo>
                    <a:pt x="953" y="869"/>
                  </a:lnTo>
                  <a:lnTo>
                    <a:pt x="960" y="868"/>
                  </a:lnTo>
                  <a:lnTo>
                    <a:pt x="967" y="867"/>
                  </a:lnTo>
                  <a:lnTo>
                    <a:pt x="972" y="865"/>
                  </a:lnTo>
                  <a:lnTo>
                    <a:pt x="978" y="861"/>
                  </a:lnTo>
                  <a:lnTo>
                    <a:pt x="984" y="858"/>
                  </a:lnTo>
                  <a:lnTo>
                    <a:pt x="989" y="855"/>
                  </a:lnTo>
                  <a:lnTo>
                    <a:pt x="994" y="850"/>
                  </a:lnTo>
                  <a:lnTo>
                    <a:pt x="998" y="846"/>
                  </a:lnTo>
                  <a:lnTo>
                    <a:pt x="1003" y="840"/>
                  </a:lnTo>
                  <a:lnTo>
                    <a:pt x="1006" y="834"/>
                  </a:lnTo>
                  <a:lnTo>
                    <a:pt x="1009" y="829"/>
                  </a:lnTo>
                  <a:lnTo>
                    <a:pt x="1011" y="822"/>
                  </a:lnTo>
                  <a:lnTo>
                    <a:pt x="1013" y="816"/>
                  </a:lnTo>
                  <a:lnTo>
                    <a:pt x="1013" y="809"/>
                  </a:lnTo>
                  <a:lnTo>
                    <a:pt x="1014" y="803"/>
                  </a:lnTo>
                  <a:lnTo>
                    <a:pt x="1014" y="68"/>
                  </a:lnTo>
                  <a:lnTo>
                    <a:pt x="1013" y="61"/>
                  </a:lnTo>
                  <a:lnTo>
                    <a:pt x="1013" y="54"/>
                  </a:lnTo>
                  <a:lnTo>
                    <a:pt x="1011" y="48"/>
                  </a:lnTo>
                  <a:lnTo>
                    <a:pt x="1009" y="42"/>
                  </a:lnTo>
                  <a:lnTo>
                    <a:pt x="1006" y="35"/>
                  </a:lnTo>
                  <a:lnTo>
                    <a:pt x="1003" y="30"/>
                  </a:lnTo>
                  <a:lnTo>
                    <a:pt x="998" y="25"/>
                  </a:lnTo>
                  <a:lnTo>
                    <a:pt x="994" y="21"/>
                  </a:lnTo>
                  <a:lnTo>
                    <a:pt x="989" y="16"/>
                  </a:lnTo>
                  <a:lnTo>
                    <a:pt x="984" y="11"/>
                  </a:lnTo>
                  <a:lnTo>
                    <a:pt x="978" y="8"/>
                  </a:lnTo>
                  <a:lnTo>
                    <a:pt x="972" y="6"/>
                  </a:lnTo>
                  <a:lnTo>
                    <a:pt x="967" y="4"/>
                  </a:lnTo>
                  <a:lnTo>
                    <a:pt x="960" y="1"/>
                  </a:lnTo>
                  <a:lnTo>
                    <a:pt x="953" y="0"/>
                  </a:lnTo>
                  <a:lnTo>
                    <a:pt x="946" y="0"/>
                  </a:lnTo>
                  <a:lnTo>
                    <a:pt x="68" y="0"/>
                  </a:lnTo>
                  <a:lnTo>
                    <a:pt x="60" y="0"/>
                  </a:lnTo>
                  <a:lnTo>
                    <a:pt x="54" y="1"/>
                  </a:lnTo>
                  <a:lnTo>
                    <a:pt x="48" y="4"/>
                  </a:lnTo>
                  <a:lnTo>
                    <a:pt x="41" y="6"/>
                  </a:lnTo>
                  <a:lnTo>
                    <a:pt x="36" y="8"/>
                  </a:lnTo>
                  <a:lnTo>
                    <a:pt x="30" y="11"/>
                  </a:lnTo>
                  <a:lnTo>
                    <a:pt x="24" y="16"/>
                  </a:lnTo>
                  <a:lnTo>
                    <a:pt x="20" y="21"/>
                  </a:lnTo>
                  <a:lnTo>
                    <a:pt x="15" y="25"/>
                  </a:lnTo>
                  <a:lnTo>
                    <a:pt x="12" y="30"/>
                  </a:lnTo>
                  <a:lnTo>
                    <a:pt x="8" y="35"/>
                  </a:lnTo>
                  <a:lnTo>
                    <a:pt x="5" y="42"/>
                  </a:lnTo>
                  <a:lnTo>
                    <a:pt x="3" y="48"/>
                  </a:lnTo>
                  <a:lnTo>
                    <a:pt x="2" y="54"/>
                  </a:lnTo>
                  <a:lnTo>
                    <a:pt x="0" y="61"/>
                  </a:lnTo>
                  <a:lnTo>
                    <a:pt x="0" y="68"/>
                  </a:lnTo>
                  <a:lnTo>
                    <a:pt x="0" y="803"/>
                  </a:lnTo>
                  <a:lnTo>
                    <a:pt x="0" y="809"/>
                  </a:lnTo>
                  <a:lnTo>
                    <a:pt x="2" y="816"/>
                  </a:lnTo>
                  <a:lnTo>
                    <a:pt x="3" y="822"/>
                  </a:lnTo>
                  <a:lnTo>
                    <a:pt x="5" y="829"/>
                  </a:lnTo>
                  <a:lnTo>
                    <a:pt x="8" y="834"/>
                  </a:lnTo>
                  <a:lnTo>
                    <a:pt x="12" y="840"/>
                  </a:lnTo>
                  <a:lnTo>
                    <a:pt x="15" y="846"/>
                  </a:lnTo>
                  <a:lnTo>
                    <a:pt x="20" y="850"/>
                  </a:lnTo>
                  <a:lnTo>
                    <a:pt x="24" y="855"/>
                  </a:lnTo>
                  <a:lnTo>
                    <a:pt x="30" y="858"/>
                  </a:lnTo>
                  <a:lnTo>
                    <a:pt x="36" y="861"/>
                  </a:lnTo>
                  <a:lnTo>
                    <a:pt x="41" y="865"/>
                  </a:lnTo>
                  <a:lnTo>
                    <a:pt x="48" y="867"/>
                  </a:lnTo>
                  <a:lnTo>
                    <a:pt x="54" y="868"/>
                  </a:lnTo>
                  <a:lnTo>
                    <a:pt x="60" y="869"/>
                  </a:lnTo>
                  <a:lnTo>
                    <a:pt x="68" y="871"/>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43" name="Freeform 899"/>
            <p:cNvSpPr>
              <a:spLocks/>
            </p:cNvSpPr>
            <p:nvPr/>
          </p:nvSpPr>
          <p:spPr bwMode="auto">
            <a:xfrm>
              <a:off x="1553" y="2185"/>
              <a:ext cx="338" cy="212"/>
            </a:xfrm>
            <a:custGeom>
              <a:avLst/>
              <a:gdLst>
                <a:gd name="T0" fmla="*/ 105 w 1014"/>
                <a:gd name="T1" fmla="*/ 51 h 871"/>
                <a:gd name="T2" fmla="*/ 107 w 1014"/>
                <a:gd name="T3" fmla="*/ 51 h 871"/>
                <a:gd name="T4" fmla="*/ 108 w 1014"/>
                <a:gd name="T5" fmla="*/ 51 h 871"/>
                <a:gd name="T6" fmla="*/ 109 w 1014"/>
                <a:gd name="T7" fmla="*/ 50 h 871"/>
                <a:gd name="T8" fmla="*/ 110 w 1014"/>
                <a:gd name="T9" fmla="*/ 50 h 871"/>
                <a:gd name="T10" fmla="*/ 111 w 1014"/>
                <a:gd name="T11" fmla="*/ 49 h 871"/>
                <a:gd name="T12" fmla="*/ 112 w 1014"/>
                <a:gd name="T13" fmla="*/ 49 h 871"/>
                <a:gd name="T14" fmla="*/ 113 w 1014"/>
                <a:gd name="T15" fmla="*/ 48 h 871"/>
                <a:gd name="T16" fmla="*/ 113 w 1014"/>
                <a:gd name="T17" fmla="*/ 47 h 871"/>
                <a:gd name="T18" fmla="*/ 113 w 1014"/>
                <a:gd name="T19" fmla="*/ 4 h 871"/>
                <a:gd name="T20" fmla="*/ 113 w 1014"/>
                <a:gd name="T21" fmla="*/ 3 h 871"/>
                <a:gd name="T22" fmla="*/ 112 w 1014"/>
                <a:gd name="T23" fmla="*/ 2 h 871"/>
                <a:gd name="T24" fmla="*/ 111 w 1014"/>
                <a:gd name="T25" fmla="*/ 2 h 871"/>
                <a:gd name="T26" fmla="*/ 110 w 1014"/>
                <a:gd name="T27" fmla="*/ 1 h 871"/>
                <a:gd name="T28" fmla="*/ 109 w 1014"/>
                <a:gd name="T29" fmla="*/ 1 h 871"/>
                <a:gd name="T30" fmla="*/ 108 w 1014"/>
                <a:gd name="T31" fmla="*/ 0 h 871"/>
                <a:gd name="T32" fmla="*/ 107 w 1014"/>
                <a:gd name="T33" fmla="*/ 0 h 871"/>
                <a:gd name="T34" fmla="*/ 105 w 1014"/>
                <a:gd name="T35" fmla="*/ 0 h 871"/>
                <a:gd name="T36" fmla="*/ 7 w 1014"/>
                <a:gd name="T37" fmla="*/ 0 h 871"/>
                <a:gd name="T38" fmla="*/ 5 w 1014"/>
                <a:gd name="T39" fmla="*/ 0 h 871"/>
                <a:gd name="T40" fmla="*/ 4 w 1014"/>
                <a:gd name="T41" fmla="*/ 0 h 871"/>
                <a:gd name="T42" fmla="*/ 3 w 1014"/>
                <a:gd name="T43" fmla="*/ 1 h 871"/>
                <a:gd name="T44" fmla="*/ 2 w 1014"/>
                <a:gd name="T45" fmla="*/ 1 h 871"/>
                <a:gd name="T46" fmla="*/ 1 w 1014"/>
                <a:gd name="T47" fmla="*/ 2 h 871"/>
                <a:gd name="T48" fmla="*/ 0 w 1014"/>
                <a:gd name="T49" fmla="*/ 3 h 871"/>
                <a:gd name="T50" fmla="*/ 0 w 1014"/>
                <a:gd name="T51" fmla="*/ 4 h 871"/>
                <a:gd name="T52" fmla="*/ 0 w 1014"/>
                <a:gd name="T53" fmla="*/ 47 h 871"/>
                <a:gd name="T54" fmla="*/ 0 w 1014"/>
                <a:gd name="T55" fmla="*/ 48 h 871"/>
                <a:gd name="T56" fmla="*/ 1 w 1014"/>
                <a:gd name="T57" fmla="*/ 49 h 871"/>
                <a:gd name="T58" fmla="*/ 1 w 1014"/>
                <a:gd name="T59" fmla="*/ 49 h 871"/>
                <a:gd name="T60" fmla="*/ 2 w 1014"/>
                <a:gd name="T61" fmla="*/ 50 h 871"/>
                <a:gd name="T62" fmla="*/ 3 w 1014"/>
                <a:gd name="T63" fmla="*/ 50 h 871"/>
                <a:gd name="T64" fmla="*/ 5 w 1014"/>
                <a:gd name="T65" fmla="*/ 51 h 871"/>
                <a:gd name="T66" fmla="*/ 6 w 1014"/>
                <a:gd name="T67" fmla="*/ 51 h 871"/>
                <a:gd name="T68" fmla="*/ 8 w 1014"/>
                <a:gd name="T69" fmla="*/ 51 h 87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14"/>
                <a:gd name="T106" fmla="*/ 0 h 871"/>
                <a:gd name="T107" fmla="*/ 1014 w 1014"/>
                <a:gd name="T108" fmla="*/ 871 h 87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14" h="871">
                  <a:moveTo>
                    <a:pt x="68" y="871"/>
                  </a:moveTo>
                  <a:lnTo>
                    <a:pt x="946" y="871"/>
                  </a:lnTo>
                  <a:lnTo>
                    <a:pt x="953" y="869"/>
                  </a:lnTo>
                  <a:lnTo>
                    <a:pt x="960" y="868"/>
                  </a:lnTo>
                  <a:lnTo>
                    <a:pt x="967" y="867"/>
                  </a:lnTo>
                  <a:lnTo>
                    <a:pt x="972" y="865"/>
                  </a:lnTo>
                  <a:lnTo>
                    <a:pt x="978" y="861"/>
                  </a:lnTo>
                  <a:lnTo>
                    <a:pt x="984" y="858"/>
                  </a:lnTo>
                  <a:lnTo>
                    <a:pt x="989" y="855"/>
                  </a:lnTo>
                  <a:lnTo>
                    <a:pt x="994" y="850"/>
                  </a:lnTo>
                  <a:lnTo>
                    <a:pt x="998" y="846"/>
                  </a:lnTo>
                  <a:lnTo>
                    <a:pt x="1003" y="840"/>
                  </a:lnTo>
                  <a:lnTo>
                    <a:pt x="1006" y="834"/>
                  </a:lnTo>
                  <a:lnTo>
                    <a:pt x="1009" y="829"/>
                  </a:lnTo>
                  <a:lnTo>
                    <a:pt x="1011" y="822"/>
                  </a:lnTo>
                  <a:lnTo>
                    <a:pt x="1013" y="816"/>
                  </a:lnTo>
                  <a:lnTo>
                    <a:pt x="1013" y="809"/>
                  </a:lnTo>
                  <a:lnTo>
                    <a:pt x="1014" y="803"/>
                  </a:lnTo>
                  <a:lnTo>
                    <a:pt x="1014" y="68"/>
                  </a:lnTo>
                  <a:lnTo>
                    <a:pt x="1013" y="61"/>
                  </a:lnTo>
                  <a:lnTo>
                    <a:pt x="1013" y="54"/>
                  </a:lnTo>
                  <a:lnTo>
                    <a:pt x="1011" y="48"/>
                  </a:lnTo>
                  <a:lnTo>
                    <a:pt x="1009" y="42"/>
                  </a:lnTo>
                  <a:lnTo>
                    <a:pt x="1006" y="35"/>
                  </a:lnTo>
                  <a:lnTo>
                    <a:pt x="1003" y="30"/>
                  </a:lnTo>
                  <a:lnTo>
                    <a:pt x="998" y="25"/>
                  </a:lnTo>
                  <a:lnTo>
                    <a:pt x="994" y="21"/>
                  </a:lnTo>
                  <a:lnTo>
                    <a:pt x="989" y="16"/>
                  </a:lnTo>
                  <a:lnTo>
                    <a:pt x="984" y="11"/>
                  </a:lnTo>
                  <a:lnTo>
                    <a:pt x="978" y="8"/>
                  </a:lnTo>
                  <a:lnTo>
                    <a:pt x="972" y="6"/>
                  </a:lnTo>
                  <a:lnTo>
                    <a:pt x="967" y="4"/>
                  </a:lnTo>
                  <a:lnTo>
                    <a:pt x="960" y="1"/>
                  </a:lnTo>
                  <a:lnTo>
                    <a:pt x="953" y="0"/>
                  </a:lnTo>
                  <a:lnTo>
                    <a:pt x="946" y="0"/>
                  </a:lnTo>
                  <a:lnTo>
                    <a:pt x="68" y="0"/>
                  </a:lnTo>
                  <a:lnTo>
                    <a:pt x="60" y="0"/>
                  </a:lnTo>
                  <a:lnTo>
                    <a:pt x="54" y="1"/>
                  </a:lnTo>
                  <a:lnTo>
                    <a:pt x="48" y="4"/>
                  </a:lnTo>
                  <a:lnTo>
                    <a:pt x="41" y="6"/>
                  </a:lnTo>
                  <a:lnTo>
                    <a:pt x="36" y="8"/>
                  </a:lnTo>
                  <a:lnTo>
                    <a:pt x="30" y="11"/>
                  </a:lnTo>
                  <a:lnTo>
                    <a:pt x="24" y="16"/>
                  </a:lnTo>
                  <a:lnTo>
                    <a:pt x="20" y="21"/>
                  </a:lnTo>
                  <a:lnTo>
                    <a:pt x="15" y="25"/>
                  </a:lnTo>
                  <a:lnTo>
                    <a:pt x="12" y="30"/>
                  </a:lnTo>
                  <a:lnTo>
                    <a:pt x="8" y="35"/>
                  </a:lnTo>
                  <a:lnTo>
                    <a:pt x="5" y="42"/>
                  </a:lnTo>
                  <a:lnTo>
                    <a:pt x="3" y="48"/>
                  </a:lnTo>
                  <a:lnTo>
                    <a:pt x="2" y="54"/>
                  </a:lnTo>
                  <a:lnTo>
                    <a:pt x="0" y="61"/>
                  </a:lnTo>
                  <a:lnTo>
                    <a:pt x="0" y="68"/>
                  </a:lnTo>
                  <a:lnTo>
                    <a:pt x="0" y="803"/>
                  </a:lnTo>
                  <a:lnTo>
                    <a:pt x="0" y="809"/>
                  </a:lnTo>
                  <a:lnTo>
                    <a:pt x="2" y="816"/>
                  </a:lnTo>
                  <a:lnTo>
                    <a:pt x="3" y="822"/>
                  </a:lnTo>
                  <a:lnTo>
                    <a:pt x="5" y="829"/>
                  </a:lnTo>
                  <a:lnTo>
                    <a:pt x="8" y="834"/>
                  </a:lnTo>
                  <a:lnTo>
                    <a:pt x="12" y="840"/>
                  </a:lnTo>
                  <a:lnTo>
                    <a:pt x="15" y="846"/>
                  </a:lnTo>
                  <a:lnTo>
                    <a:pt x="20" y="850"/>
                  </a:lnTo>
                  <a:lnTo>
                    <a:pt x="24" y="855"/>
                  </a:lnTo>
                  <a:lnTo>
                    <a:pt x="30" y="858"/>
                  </a:lnTo>
                  <a:lnTo>
                    <a:pt x="36" y="861"/>
                  </a:lnTo>
                  <a:lnTo>
                    <a:pt x="41" y="865"/>
                  </a:lnTo>
                  <a:lnTo>
                    <a:pt x="48" y="867"/>
                  </a:lnTo>
                  <a:lnTo>
                    <a:pt x="54" y="868"/>
                  </a:lnTo>
                  <a:lnTo>
                    <a:pt x="60" y="869"/>
                  </a:lnTo>
                  <a:lnTo>
                    <a:pt x="68" y="871"/>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44" name="Rectangle 900"/>
            <p:cNvSpPr>
              <a:spLocks noChangeArrowheads="1"/>
            </p:cNvSpPr>
            <p:nvPr/>
          </p:nvSpPr>
          <p:spPr bwMode="auto">
            <a:xfrm>
              <a:off x="1649" y="2238"/>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elivery </a:t>
              </a:r>
              <a:endParaRPr lang="en-US" sz="1800" b="0" kern="0" baseline="0">
                <a:solidFill>
                  <a:sysClr val="windowText" lastClr="000000"/>
                </a:solidFill>
                <a:latin typeface="Arial" charset="0"/>
                <a:ea typeface="ＭＳ Ｐゴシック"/>
                <a:cs typeface="ＭＳ Ｐゴシック"/>
              </a:endParaRPr>
            </a:p>
          </p:txBody>
        </p:sp>
        <p:sp>
          <p:nvSpPr>
            <p:cNvPr id="345" name="Rectangle 901"/>
            <p:cNvSpPr>
              <a:spLocks noChangeArrowheads="1"/>
            </p:cNvSpPr>
            <p:nvPr/>
          </p:nvSpPr>
          <p:spPr bwMode="auto">
            <a:xfrm>
              <a:off x="1607" y="2273"/>
              <a:ext cx="2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erformance </a:t>
              </a:r>
              <a:endParaRPr lang="en-US" sz="1800" b="0" kern="0" baseline="0">
                <a:solidFill>
                  <a:sysClr val="windowText" lastClr="000000"/>
                </a:solidFill>
                <a:latin typeface="Arial" charset="0"/>
                <a:ea typeface="ＭＳ Ｐゴシック"/>
                <a:cs typeface="ＭＳ Ｐゴシック"/>
              </a:endParaRPr>
            </a:p>
          </p:txBody>
        </p:sp>
        <p:sp>
          <p:nvSpPr>
            <p:cNvPr id="346" name="Rectangle 902"/>
            <p:cNvSpPr>
              <a:spLocks noChangeArrowheads="1"/>
            </p:cNvSpPr>
            <p:nvPr/>
          </p:nvSpPr>
          <p:spPr bwMode="auto">
            <a:xfrm>
              <a:off x="1604" y="2308"/>
              <a:ext cx="23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ment</a:t>
              </a:r>
              <a:endParaRPr lang="en-US" sz="1800" b="0" kern="0" baseline="0">
                <a:solidFill>
                  <a:sysClr val="windowText" lastClr="000000"/>
                </a:solidFill>
                <a:latin typeface="Arial" charset="0"/>
                <a:ea typeface="ＭＳ Ｐゴシック"/>
                <a:cs typeface="ＭＳ Ｐゴシック"/>
              </a:endParaRPr>
            </a:p>
          </p:txBody>
        </p:sp>
        <p:sp>
          <p:nvSpPr>
            <p:cNvPr id="347" name="Rectangle 903"/>
            <p:cNvSpPr>
              <a:spLocks noChangeArrowheads="1"/>
            </p:cNvSpPr>
            <p:nvPr/>
          </p:nvSpPr>
          <p:spPr bwMode="auto">
            <a:xfrm>
              <a:off x="1528" y="3040"/>
              <a:ext cx="3377" cy="308"/>
            </a:xfrm>
            <a:prstGeom prst="rect">
              <a:avLst/>
            </a:prstGeom>
            <a:solidFill>
              <a:srgbClr val="CCCDFF"/>
            </a:solidFill>
            <a:ln w="9525">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48" name="Rectangle 904"/>
            <p:cNvSpPr>
              <a:spLocks noChangeArrowheads="1"/>
            </p:cNvSpPr>
            <p:nvPr/>
          </p:nvSpPr>
          <p:spPr bwMode="auto">
            <a:xfrm>
              <a:off x="1528" y="3040"/>
              <a:ext cx="3377" cy="308"/>
            </a:xfrm>
            <a:prstGeom prst="rect">
              <a:avLst/>
            </a:prstGeom>
            <a:noFill/>
            <a:ln w="1588">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349" name="Rectangle 905"/>
            <p:cNvSpPr>
              <a:spLocks noChangeArrowheads="1"/>
            </p:cNvSpPr>
            <p:nvPr/>
          </p:nvSpPr>
          <p:spPr bwMode="auto">
            <a:xfrm>
              <a:off x="2790" y="3054"/>
              <a:ext cx="31"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2</a:t>
              </a:r>
              <a:endParaRPr lang="en-US" sz="1800" b="0" kern="0" baseline="0">
                <a:solidFill>
                  <a:sysClr val="windowText" lastClr="000000"/>
                </a:solidFill>
                <a:latin typeface="Arial" charset="0"/>
                <a:ea typeface="ＭＳ Ｐゴシック"/>
                <a:cs typeface="ＭＳ Ｐゴシック"/>
              </a:endParaRPr>
            </a:p>
          </p:txBody>
        </p:sp>
        <p:sp>
          <p:nvSpPr>
            <p:cNvPr id="350" name="Rectangle 906"/>
            <p:cNvSpPr>
              <a:spLocks noChangeArrowheads="1"/>
            </p:cNvSpPr>
            <p:nvPr/>
          </p:nvSpPr>
          <p:spPr bwMode="auto">
            <a:xfrm>
              <a:off x="2820" y="3054"/>
              <a:ext cx="1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351" name="Rectangle 907"/>
            <p:cNvSpPr>
              <a:spLocks noChangeArrowheads="1"/>
            </p:cNvSpPr>
            <p:nvPr/>
          </p:nvSpPr>
          <p:spPr bwMode="auto">
            <a:xfrm>
              <a:off x="2836" y="3054"/>
              <a:ext cx="47"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4 </a:t>
              </a:r>
              <a:endParaRPr lang="en-US" sz="1800" b="0" kern="0" baseline="0">
                <a:solidFill>
                  <a:sysClr val="windowText" lastClr="000000"/>
                </a:solidFill>
                <a:latin typeface="Arial" charset="0"/>
                <a:ea typeface="ＭＳ Ｐゴシック"/>
                <a:cs typeface="ＭＳ Ｐゴシック"/>
              </a:endParaRPr>
            </a:p>
          </p:txBody>
        </p:sp>
        <p:sp>
          <p:nvSpPr>
            <p:cNvPr id="352" name="Rectangle 908"/>
            <p:cNvSpPr>
              <a:spLocks noChangeArrowheads="1"/>
            </p:cNvSpPr>
            <p:nvPr/>
          </p:nvSpPr>
          <p:spPr bwMode="auto">
            <a:xfrm>
              <a:off x="2882" y="3054"/>
              <a:ext cx="134"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Plan </a:t>
              </a:r>
              <a:endParaRPr lang="en-US" sz="1800" b="0" kern="0" baseline="0">
                <a:solidFill>
                  <a:sysClr val="windowText" lastClr="000000"/>
                </a:solidFill>
                <a:latin typeface="Arial" charset="0"/>
                <a:ea typeface="ＭＳ Ｐゴシック"/>
                <a:cs typeface="ＭＳ Ｐゴシック"/>
              </a:endParaRPr>
            </a:p>
          </p:txBody>
        </p:sp>
        <p:sp>
          <p:nvSpPr>
            <p:cNvPr id="353" name="Rectangle 909"/>
            <p:cNvSpPr>
              <a:spLocks noChangeArrowheads="1"/>
            </p:cNvSpPr>
            <p:nvPr/>
          </p:nvSpPr>
          <p:spPr bwMode="auto">
            <a:xfrm>
              <a:off x="3014" y="3054"/>
              <a:ext cx="56"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354" name="Rectangle 910"/>
            <p:cNvSpPr>
              <a:spLocks noChangeArrowheads="1"/>
            </p:cNvSpPr>
            <p:nvPr/>
          </p:nvSpPr>
          <p:spPr bwMode="auto">
            <a:xfrm>
              <a:off x="3069" y="3054"/>
              <a:ext cx="581"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kern="0" baseline="0">
                  <a:solidFill>
                    <a:srgbClr val="000000"/>
                  </a:solidFill>
                  <a:latin typeface="Arial" charset="0"/>
                  <a:ea typeface="ＭＳ Ｐゴシック"/>
                  <a:cs typeface="ＭＳ Ｐゴシック"/>
                </a:rPr>
                <a:t>Manage Supply Chain</a:t>
              </a:r>
              <a:endParaRPr lang="en-US" sz="1800" b="0" kern="0" baseline="0">
                <a:solidFill>
                  <a:sysClr val="windowText" lastClr="000000"/>
                </a:solidFill>
                <a:latin typeface="Arial" charset="0"/>
                <a:ea typeface="ＭＳ Ｐゴシック"/>
                <a:cs typeface="ＭＳ Ｐゴシック"/>
              </a:endParaRPr>
            </a:p>
          </p:txBody>
        </p:sp>
        <p:sp>
          <p:nvSpPr>
            <p:cNvPr id="355" name="Freeform 911"/>
            <p:cNvSpPr>
              <a:spLocks/>
            </p:cNvSpPr>
            <p:nvPr/>
          </p:nvSpPr>
          <p:spPr bwMode="auto">
            <a:xfrm>
              <a:off x="4349" y="3141"/>
              <a:ext cx="363" cy="168"/>
            </a:xfrm>
            <a:custGeom>
              <a:avLst/>
              <a:gdLst>
                <a:gd name="T0" fmla="*/ 113 w 1088"/>
                <a:gd name="T1" fmla="*/ 41 h 689"/>
                <a:gd name="T2" fmla="*/ 115 w 1088"/>
                <a:gd name="T3" fmla="*/ 41 h 689"/>
                <a:gd name="T4" fmla="*/ 116 w 1088"/>
                <a:gd name="T5" fmla="*/ 41 h 689"/>
                <a:gd name="T6" fmla="*/ 118 w 1088"/>
                <a:gd name="T7" fmla="*/ 40 h 689"/>
                <a:gd name="T8" fmla="*/ 119 w 1088"/>
                <a:gd name="T9" fmla="*/ 40 h 689"/>
                <a:gd name="T10" fmla="*/ 120 w 1088"/>
                <a:gd name="T11" fmla="*/ 39 h 689"/>
                <a:gd name="T12" fmla="*/ 120 w 1088"/>
                <a:gd name="T13" fmla="*/ 39 h 689"/>
                <a:gd name="T14" fmla="*/ 121 w 1088"/>
                <a:gd name="T15" fmla="*/ 38 h 689"/>
                <a:gd name="T16" fmla="*/ 121 w 1088"/>
                <a:gd name="T17" fmla="*/ 37 h 689"/>
                <a:gd name="T18" fmla="*/ 121 w 1088"/>
                <a:gd name="T19" fmla="*/ 4 h 689"/>
                <a:gd name="T20" fmla="*/ 121 w 1088"/>
                <a:gd name="T21" fmla="*/ 3 h 689"/>
                <a:gd name="T22" fmla="*/ 120 w 1088"/>
                <a:gd name="T23" fmla="*/ 2 h 689"/>
                <a:gd name="T24" fmla="*/ 120 w 1088"/>
                <a:gd name="T25" fmla="*/ 2 h 689"/>
                <a:gd name="T26" fmla="*/ 119 w 1088"/>
                <a:gd name="T27" fmla="*/ 1 h 689"/>
                <a:gd name="T28" fmla="*/ 118 w 1088"/>
                <a:gd name="T29" fmla="*/ 1 h 689"/>
                <a:gd name="T30" fmla="*/ 116 w 1088"/>
                <a:gd name="T31" fmla="*/ 0 h 689"/>
                <a:gd name="T32" fmla="*/ 115 w 1088"/>
                <a:gd name="T33" fmla="*/ 0 h 689"/>
                <a:gd name="T34" fmla="*/ 113 w 1088"/>
                <a:gd name="T35" fmla="*/ 0 h 689"/>
                <a:gd name="T36" fmla="*/ 7 w 1088"/>
                <a:gd name="T37" fmla="*/ 0 h 689"/>
                <a:gd name="T38" fmla="*/ 5 w 1088"/>
                <a:gd name="T39" fmla="*/ 0 h 689"/>
                <a:gd name="T40" fmla="*/ 4 w 1088"/>
                <a:gd name="T41" fmla="*/ 0 h 689"/>
                <a:gd name="T42" fmla="*/ 3 w 1088"/>
                <a:gd name="T43" fmla="*/ 1 h 689"/>
                <a:gd name="T44" fmla="*/ 2 w 1088"/>
                <a:gd name="T45" fmla="*/ 1 h 689"/>
                <a:gd name="T46" fmla="*/ 1 w 1088"/>
                <a:gd name="T47" fmla="*/ 2 h 689"/>
                <a:gd name="T48" fmla="*/ 0 w 1088"/>
                <a:gd name="T49" fmla="*/ 3 h 689"/>
                <a:gd name="T50" fmla="*/ 0 w 1088"/>
                <a:gd name="T51" fmla="*/ 4 h 689"/>
                <a:gd name="T52" fmla="*/ 0 w 1088"/>
                <a:gd name="T53" fmla="*/ 37 h 689"/>
                <a:gd name="T54" fmla="*/ 0 w 1088"/>
                <a:gd name="T55" fmla="*/ 38 h 689"/>
                <a:gd name="T56" fmla="*/ 1 w 1088"/>
                <a:gd name="T57" fmla="*/ 39 h 689"/>
                <a:gd name="T58" fmla="*/ 1 w 1088"/>
                <a:gd name="T59" fmla="*/ 39 h 689"/>
                <a:gd name="T60" fmla="*/ 2 w 1088"/>
                <a:gd name="T61" fmla="*/ 40 h 689"/>
                <a:gd name="T62" fmla="*/ 3 w 1088"/>
                <a:gd name="T63" fmla="*/ 40 h 689"/>
                <a:gd name="T64" fmla="*/ 5 w 1088"/>
                <a:gd name="T65" fmla="*/ 41 h 689"/>
                <a:gd name="T66" fmla="*/ 6 w 1088"/>
                <a:gd name="T67" fmla="*/ 41 h 689"/>
                <a:gd name="T68" fmla="*/ 7 w 1088"/>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9"/>
                <a:gd name="T107" fmla="*/ 1088 w 1088"/>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9">
                  <a:moveTo>
                    <a:pt x="67" y="689"/>
                  </a:moveTo>
                  <a:lnTo>
                    <a:pt x="1020" y="689"/>
                  </a:lnTo>
                  <a:lnTo>
                    <a:pt x="1027" y="689"/>
                  </a:lnTo>
                  <a:lnTo>
                    <a:pt x="1034" y="688"/>
                  </a:lnTo>
                  <a:lnTo>
                    <a:pt x="1040" y="685"/>
                  </a:lnTo>
                  <a:lnTo>
                    <a:pt x="1046" y="683"/>
                  </a:lnTo>
                  <a:lnTo>
                    <a:pt x="1053" y="681"/>
                  </a:lnTo>
                  <a:lnTo>
                    <a:pt x="1059" y="677"/>
                  </a:lnTo>
                  <a:lnTo>
                    <a:pt x="1063" y="673"/>
                  </a:lnTo>
                  <a:lnTo>
                    <a:pt x="1068" y="668"/>
                  </a:lnTo>
                  <a:lnTo>
                    <a:pt x="1072" y="664"/>
                  </a:lnTo>
                  <a:lnTo>
                    <a:pt x="1077" y="659"/>
                  </a:lnTo>
                  <a:lnTo>
                    <a:pt x="1080" y="654"/>
                  </a:lnTo>
                  <a:lnTo>
                    <a:pt x="1082" y="647"/>
                  </a:lnTo>
                  <a:lnTo>
                    <a:pt x="1085" y="641"/>
                  </a:lnTo>
                  <a:lnTo>
                    <a:pt x="1087" y="634"/>
                  </a:lnTo>
                  <a:lnTo>
                    <a:pt x="1088" y="628"/>
                  </a:lnTo>
                  <a:lnTo>
                    <a:pt x="1088" y="621"/>
                  </a:lnTo>
                  <a:lnTo>
                    <a:pt x="1088" y="68"/>
                  </a:lnTo>
                  <a:lnTo>
                    <a:pt x="1088" y="60"/>
                  </a:lnTo>
                  <a:lnTo>
                    <a:pt x="1087" y="53"/>
                  </a:lnTo>
                  <a:lnTo>
                    <a:pt x="1085" y="48"/>
                  </a:lnTo>
                  <a:lnTo>
                    <a:pt x="1082" y="41"/>
                  </a:lnTo>
                  <a:lnTo>
                    <a:pt x="1080" y="35"/>
                  </a:lnTo>
                  <a:lnTo>
                    <a:pt x="1077" y="30"/>
                  </a:lnTo>
                  <a:lnTo>
                    <a:pt x="1072" y="24"/>
                  </a:lnTo>
                  <a:lnTo>
                    <a:pt x="1068" y="20"/>
                  </a:lnTo>
                  <a:lnTo>
                    <a:pt x="1063" y="15"/>
                  </a:lnTo>
                  <a:lnTo>
                    <a:pt x="1059" y="12"/>
                  </a:lnTo>
                  <a:lnTo>
                    <a:pt x="1053" y="8"/>
                  </a:lnTo>
                  <a:lnTo>
                    <a:pt x="1046" y="5"/>
                  </a:lnTo>
                  <a:lnTo>
                    <a:pt x="1040" y="3"/>
                  </a:lnTo>
                  <a:lnTo>
                    <a:pt x="1034" y="1"/>
                  </a:lnTo>
                  <a:lnTo>
                    <a:pt x="1027" y="0"/>
                  </a:lnTo>
                  <a:lnTo>
                    <a:pt x="1020" y="0"/>
                  </a:lnTo>
                  <a:lnTo>
                    <a:pt x="67" y="0"/>
                  </a:lnTo>
                  <a:lnTo>
                    <a:pt x="61" y="0"/>
                  </a:lnTo>
                  <a:lnTo>
                    <a:pt x="54" y="1"/>
                  </a:lnTo>
                  <a:lnTo>
                    <a:pt x="47" y="3"/>
                  </a:lnTo>
                  <a:lnTo>
                    <a:pt x="41" y="5"/>
                  </a:lnTo>
                  <a:lnTo>
                    <a:pt x="35" y="8"/>
                  </a:lnTo>
                  <a:lnTo>
                    <a:pt x="29" y="12"/>
                  </a:lnTo>
                  <a:lnTo>
                    <a:pt x="24" y="15"/>
                  </a:lnTo>
                  <a:lnTo>
                    <a:pt x="19" y="20"/>
                  </a:lnTo>
                  <a:lnTo>
                    <a:pt x="15" y="24"/>
                  </a:lnTo>
                  <a:lnTo>
                    <a:pt x="11" y="30"/>
                  </a:lnTo>
                  <a:lnTo>
                    <a:pt x="7" y="35"/>
                  </a:lnTo>
                  <a:lnTo>
                    <a:pt x="5" y="41"/>
                  </a:lnTo>
                  <a:lnTo>
                    <a:pt x="3" y="48"/>
                  </a:lnTo>
                  <a:lnTo>
                    <a:pt x="1" y="53"/>
                  </a:lnTo>
                  <a:lnTo>
                    <a:pt x="0" y="60"/>
                  </a:lnTo>
                  <a:lnTo>
                    <a:pt x="0" y="68"/>
                  </a:lnTo>
                  <a:lnTo>
                    <a:pt x="0" y="621"/>
                  </a:lnTo>
                  <a:lnTo>
                    <a:pt x="0" y="628"/>
                  </a:lnTo>
                  <a:lnTo>
                    <a:pt x="1" y="634"/>
                  </a:lnTo>
                  <a:lnTo>
                    <a:pt x="3" y="641"/>
                  </a:lnTo>
                  <a:lnTo>
                    <a:pt x="5" y="647"/>
                  </a:lnTo>
                  <a:lnTo>
                    <a:pt x="7" y="654"/>
                  </a:lnTo>
                  <a:lnTo>
                    <a:pt x="11" y="659"/>
                  </a:lnTo>
                  <a:lnTo>
                    <a:pt x="15" y="664"/>
                  </a:lnTo>
                  <a:lnTo>
                    <a:pt x="19" y="668"/>
                  </a:lnTo>
                  <a:lnTo>
                    <a:pt x="24" y="673"/>
                  </a:lnTo>
                  <a:lnTo>
                    <a:pt x="29" y="677"/>
                  </a:lnTo>
                  <a:lnTo>
                    <a:pt x="35" y="681"/>
                  </a:lnTo>
                  <a:lnTo>
                    <a:pt x="41" y="683"/>
                  </a:lnTo>
                  <a:lnTo>
                    <a:pt x="47" y="685"/>
                  </a:lnTo>
                  <a:lnTo>
                    <a:pt x="54" y="688"/>
                  </a:lnTo>
                  <a:lnTo>
                    <a:pt x="61" y="689"/>
                  </a:lnTo>
                  <a:lnTo>
                    <a:pt x="67" y="689"/>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56" name="Freeform 912"/>
            <p:cNvSpPr>
              <a:spLocks/>
            </p:cNvSpPr>
            <p:nvPr/>
          </p:nvSpPr>
          <p:spPr bwMode="auto">
            <a:xfrm>
              <a:off x="4349" y="3141"/>
              <a:ext cx="363" cy="168"/>
            </a:xfrm>
            <a:custGeom>
              <a:avLst/>
              <a:gdLst>
                <a:gd name="T0" fmla="*/ 113 w 1088"/>
                <a:gd name="T1" fmla="*/ 41 h 689"/>
                <a:gd name="T2" fmla="*/ 115 w 1088"/>
                <a:gd name="T3" fmla="*/ 41 h 689"/>
                <a:gd name="T4" fmla="*/ 116 w 1088"/>
                <a:gd name="T5" fmla="*/ 41 h 689"/>
                <a:gd name="T6" fmla="*/ 118 w 1088"/>
                <a:gd name="T7" fmla="*/ 40 h 689"/>
                <a:gd name="T8" fmla="*/ 119 w 1088"/>
                <a:gd name="T9" fmla="*/ 40 h 689"/>
                <a:gd name="T10" fmla="*/ 120 w 1088"/>
                <a:gd name="T11" fmla="*/ 39 h 689"/>
                <a:gd name="T12" fmla="*/ 120 w 1088"/>
                <a:gd name="T13" fmla="*/ 39 h 689"/>
                <a:gd name="T14" fmla="*/ 121 w 1088"/>
                <a:gd name="T15" fmla="*/ 38 h 689"/>
                <a:gd name="T16" fmla="*/ 121 w 1088"/>
                <a:gd name="T17" fmla="*/ 37 h 689"/>
                <a:gd name="T18" fmla="*/ 121 w 1088"/>
                <a:gd name="T19" fmla="*/ 4 h 689"/>
                <a:gd name="T20" fmla="*/ 121 w 1088"/>
                <a:gd name="T21" fmla="*/ 3 h 689"/>
                <a:gd name="T22" fmla="*/ 120 w 1088"/>
                <a:gd name="T23" fmla="*/ 2 h 689"/>
                <a:gd name="T24" fmla="*/ 120 w 1088"/>
                <a:gd name="T25" fmla="*/ 2 h 689"/>
                <a:gd name="T26" fmla="*/ 119 w 1088"/>
                <a:gd name="T27" fmla="*/ 1 h 689"/>
                <a:gd name="T28" fmla="*/ 118 w 1088"/>
                <a:gd name="T29" fmla="*/ 1 h 689"/>
                <a:gd name="T30" fmla="*/ 116 w 1088"/>
                <a:gd name="T31" fmla="*/ 0 h 689"/>
                <a:gd name="T32" fmla="*/ 115 w 1088"/>
                <a:gd name="T33" fmla="*/ 0 h 689"/>
                <a:gd name="T34" fmla="*/ 113 w 1088"/>
                <a:gd name="T35" fmla="*/ 0 h 689"/>
                <a:gd name="T36" fmla="*/ 7 w 1088"/>
                <a:gd name="T37" fmla="*/ 0 h 689"/>
                <a:gd name="T38" fmla="*/ 5 w 1088"/>
                <a:gd name="T39" fmla="*/ 0 h 689"/>
                <a:gd name="T40" fmla="*/ 4 w 1088"/>
                <a:gd name="T41" fmla="*/ 0 h 689"/>
                <a:gd name="T42" fmla="*/ 3 w 1088"/>
                <a:gd name="T43" fmla="*/ 1 h 689"/>
                <a:gd name="T44" fmla="*/ 2 w 1088"/>
                <a:gd name="T45" fmla="*/ 1 h 689"/>
                <a:gd name="T46" fmla="*/ 1 w 1088"/>
                <a:gd name="T47" fmla="*/ 2 h 689"/>
                <a:gd name="T48" fmla="*/ 0 w 1088"/>
                <a:gd name="T49" fmla="*/ 3 h 689"/>
                <a:gd name="T50" fmla="*/ 0 w 1088"/>
                <a:gd name="T51" fmla="*/ 4 h 689"/>
                <a:gd name="T52" fmla="*/ 0 w 1088"/>
                <a:gd name="T53" fmla="*/ 37 h 689"/>
                <a:gd name="T54" fmla="*/ 0 w 1088"/>
                <a:gd name="T55" fmla="*/ 38 h 689"/>
                <a:gd name="T56" fmla="*/ 1 w 1088"/>
                <a:gd name="T57" fmla="*/ 39 h 689"/>
                <a:gd name="T58" fmla="*/ 1 w 1088"/>
                <a:gd name="T59" fmla="*/ 39 h 689"/>
                <a:gd name="T60" fmla="*/ 2 w 1088"/>
                <a:gd name="T61" fmla="*/ 40 h 689"/>
                <a:gd name="T62" fmla="*/ 3 w 1088"/>
                <a:gd name="T63" fmla="*/ 40 h 689"/>
                <a:gd name="T64" fmla="*/ 5 w 1088"/>
                <a:gd name="T65" fmla="*/ 41 h 689"/>
                <a:gd name="T66" fmla="*/ 6 w 1088"/>
                <a:gd name="T67" fmla="*/ 41 h 689"/>
                <a:gd name="T68" fmla="*/ 7 w 1088"/>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9"/>
                <a:gd name="T107" fmla="*/ 1088 w 1088"/>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9">
                  <a:moveTo>
                    <a:pt x="67" y="689"/>
                  </a:moveTo>
                  <a:lnTo>
                    <a:pt x="1020" y="689"/>
                  </a:lnTo>
                  <a:lnTo>
                    <a:pt x="1027" y="689"/>
                  </a:lnTo>
                  <a:lnTo>
                    <a:pt x="1034" y="688"/>
                  </a:lnTo>
                  <a:lnTo>
                    <a:pt x="1040" y="685"/>
                  </a:lnTo>
                  <a:lnTo>
                    <a:pt x="1046" y="683"/>
                  </a:lnTo>
                  <a:lnTo>
                    <a:pt x="1053" y="681"/>
                  </a:lnTo>
                  <a:lnTo>
                    <a:pt x="1059" y="677"/>
                  </a:lnTo>
                  <a:lnTo>
                    <a:pt x="1063" y="673"/>
                  </a:lnTo>
                  <a:lnTo>
                    <a:pt x="1068" y="668"/>
                  </a:lnTo>
                  <a:lnTo>
                    <a:pt x="1072" y="664"/>
                  </a:lnTo>
                  <a:lnTo>
                    <a:pt x="1077" y="659"/>
                  </a:lnTo>
                  <a:lnTo>
                    <a:pt x="1080" y="654"/>
                  </a:lnTo>
                  <a:lnTo>
                    <a:pt x="1082" y="647"/>
                  </a:lnTo>
                  <a:lnTo>
                    <a:pt x="1085" y="641"/>
                  </a:lnTo>
                  <a:lnTo>
                    <a:pt x="1087" y="634"/>
                  </a:lnTo>
                  <a:lnTo>
                    <a:pt x="1088" y="628"/>
                  </a:lnTo>
                  <a:lnTo>
                    <a:pt x="1088" y="621"/>
                  </a:lnTo>
                  <a:lnTo>
                    <a:pt x="1088" y="68"/>
                  </a:lnTo>
                  <a:lnTo>
                    <a:pt x="1088" y="60"/>
                  </a:lnTo>
                  <a:lnTo>
                    <a:pt x="1087" y="53"/>
                  </a:lnTo>
                  <a:lnTo>
                    <a:pt x="1085" y="48"/>
                  </a:lnTo>
                  <a:lnTo>
                    <a:pt x="1082" y="41"/>
                  </a:lnTo>
                  <a:lnTo>
                    <a:pt x="1080" y="35"/>
                  </a:lnTo>
                  <a:lnTo>
                    <a:pt x="1077" y="30"/>
                  </a:lnTo>
                  <a:lnTo>
                    <a:pt x="1072" y="24"/>
                  </a:lnTo>
                  <a:lnTo>
                    <a:pt x="1068" y="20"/>
                  </a:lnTo>
                  <a:lnTo>
                    <a:pt x="1063" y="15"/>
                  </a:lnTo>
                  <a:lnTo>
                    <a:pt x="1059" y="12"/>
                  </a:lnTo>
                  <a:lnTo>
                    <a:pt x="1053" y="8"/>
                  </a:lnTo>
                  <a:lnTo>
                    <a:pt x="1046" y="5"/>
                  </a:lnTo>
                  <a:lnTo>
                    <a:pt x="1040" y="3"/>
                  </a:lnTo>
                  <a:lnTo>
                    <a:pt x="1034" y="1"/>
                  </a:lnTo>
                  <a:lnTo>
                    <a:pt x="1027" y="0"/>
                  </a:lnTo>
                  <a:lnTo>
                    <a:pt x="1020" y="0"/>
                  </a:lnTo>
                  <a:lnTo>
                    <a:pt x="67" y="0"/>
                  </a:lnTo>
                  <a:lnTo>
                    <a:pt x="61" y="0"/>
                  </a:lnTo>
                  <a:lnTo>
                    <a:pt x="54" y="1"/>
                  </a:lnTo>
                  <a:lnTo>
                    <a:pt x="47" y="3"/>
                  </a:lnTo>
                  <a:lnTo>
                    <a:pt x="41" y="5"/>
                  </a:lnTo>
                  <a:lnTo>
                    <a:pt x="35" y="8"/>
                  </a:lnTo>
                  <a:lnTo>
                    <a:pt x="29" y="12"/>
                  </a:lnTo>
                  <a:lnTo>
                    <a:pt x="24" y="15"/>
                  </a:lnTo>
                  <a:lnTo>
                    <a:pt x="19" y="20"/>
                  </a:lnTo>
                  <a:lnTo>
                    <a:pt x="15" y="24"/>
                  </a:lnTo>
                  <a:lnTo>
                    <a:pt x="11" y="30"/>
                  </a:lnTo>
                  <a:lnTo>
                    <a:pt x="7" y="35"/>
                  </a:lnTo>
                  <a:lnTo>
                    <a:pt x="5" y="41"/>
                  </a:lnTo>
                  <a:lnTo>
                    <a:pt x="3" y="48"/>
                  </a:lnTo>
                  <a:lnTo>
                    <a:pt x="1" y="53"/>
                  </a:lnTo>
                  <a:lnTo>
                    <a:pt x="0" y="60"/>
                  </a:lnTo>
                  <a:lnTo>
                    <a:pt x="0" y="68"/>
                  </a:lnTo>
                  <a:lnTo>
                    <a:pt x="0" y="621"/>
                  </a:lnTo>
                  <a:lnTo>
                    <a:pt x="0" y="628"/>
                  </a:lnTo>
                  <a:lnTo>
                    <a:pt x="1" y="634"/>
                  </a:lnTo>
                  <a:lnTo>
                    <a:pt x="3" y="641"/>
                  </a:lnTo>
                  <a:lnTo>
                    <a:pt x="5" y="647"/>
                  </a:lnTo>
                  <a:lnTo>
                    <a:pt x="7" y="654"/>
                  </a:lnTo>
                  <a:lnTo>
                    <a:pt x="11" y="659"/>
                  </a:lnTo>
                  <a:lnTo>
                    <a:pt x="15" y="664"/>
                  </a:lnTo>
                  <a:lnTo>
                    <a:pt x="19" y="668"/>
                  </a:lnTo>
                  <a:lnTo>
                    <a:pt x="24" y="673"/>
                  </a:lnTo>
                  <a:lnTo>
                    <a:pt x="29" y="677"/>
                  </a:lnTo>
                  <a:lnTo>
                    <a:pt x="35" y="681"/>
                  </a:lnTo>
                  <a:lnTo>
                    <a:pt x="41" y="683"/>
                  </a:lnTo>
                  <a:lnTo>
                    <a:pt x="47" y="685"/>
                  </a:lnTo>
                  <a:lnTo>
                    <a:pt x="54" y="688"/>
                  </a:lnTo>
                  <a:lnTo>
                    <a:pt x="61" y="689"/>
                  </a:lnTo>
                  <a:lnTo>
                    <a:pt x="67" y="689"/>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57" name="Rectangle 913"/>
            <p:cNvSpPr>
              <a:spLocks noChangeArrowheads="1"/>
            </p:cNvSpPr>
            <p:nvPr/>
          </p:nvSpPr>
          <p:spPr bwMode="auto">
            <a:xfrm>
              <a:off x="4391" y="3190"/>
              <a:ext cx="287"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Supply </a:t>
              </a:r>
              <a:endParaRPr lang="en-US" sz="1800" b="0" kern="0" baseline="0">
                <a:solidFill>
                  <a:sysClr val="windowText" lastClr="000000"/>
                </a:solidFill>
                <a:latin typeface="Arial" charset="0"/>
                <a:ea typeface="ＭＳ Ｐゴシック"/>
                <a:cs typeface="ＭＳ Ｐゴシック"/>
              </a:endParaRPr>
            </a:p>
          </p:txBody>
        </p:sp>
        <p:sp>
          <p:nvSpPr>
            <p:cNvPr id="358" name="Rectangle 914"/>
            <p:cNvSpPr>
              <a:spLocks noChangeArrowheads="1"/>
            </p:cNvSpPr>
            <p:nvPr/>
          </p:nvSpPr>
          <p:spPr bwMode="auto">
            <a:xfrm>
              <a:off x="4396" y="3225"/>
              <a:ext cx="26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hain Systems</a:t>
              </a:r>
              <a:endParaRPr lang="en-US" sz="1800" b="0" kern="0" baseline="0">
                <a:solidFill>
                  <a:sysClr val="windowText" lastClr="000000"/>
                </a:solidFill>
                <a:latin typeface="Arial" charset="0"/>
                <a:ea typeface="ＭＳ Ｐゴシック"/>
                <a:cs typeface="ＭＳ Ｐゴシック"/>
              </a:endParaRPr>
            </a:p>
          </p:txBody>
        </p:sp>
        <p:sp>
          <p:nvSpPr>
            <p:cNvPr id="359" name="Freeform 915"/>
            <p:cNvSpPr>
              <a:spLocks/>
            </p:cNvSpPr>
            <p:nvPr/>
          </p:nvSpPr>
          <p:spPr bwMode="auto">
            <a:xfrm>
              <a:off x="2182" y="3141"/>
              <a:ext cx="363" cy="168"/>
            </a:xfrm>
            <a:custGeom>
              <a:avLst/>
              <a:gdLst>
                <a:gd name="T0" fmla="*/ 113 w 1089"/>
                <a:gd name="T1" fmla="*/ 41 h 690"/>
                <a:gd name="T2" fmla="*/ 115 w 1089"/>
                <a:gd name="T3" fmla="*/ 41 h 690"/>
                <a:gd name="T4" fmla="*/ 116 w 1089"/>
                <a:gd name="T5" fmla="*/ 41 h 690"/>
                <a:gd name="T6" fmla="*/ 118 w 1089"/>
                <a:gd name="T7" fmla="*/ 40 h 690"/>
                <a:gd name="T8" fmla="*/ 119 w 1089"/>
                <a:gd name="T9" fmla="*/ 40 h 690"/>
                <a:gd name="T10" fmla="*/ 120 w 1089"/>
                <a:gd name="T11" fmla="*/ 39 h 690"/>
                <a:gd name="T12" fmla="*/ 120 w 1089"/>
                <a:gd name="T13" fmla="*/ 38 h 690"/>
                <a:gd name="T14" fmla="*/ 121 w 1089"/>
                <a:gd name="T15" fmla="*/ 38 h 690"/>
                <a:gd name="T16" fmla="*/ 121 w 1089"/>
                <a:gd name="T17" fmla="*/ 37 h 690"/>
                <a:gd name="T18" fmla="*/ 121 w 1089"/>
                <a:gd name="T19" fmla="*/ 4 h 690"/>
                <a:gd name="T20" fmla="*/ 121 w 1089"/>
                <a:gd name="T21" fmla="*/ 3 h 690"/>
                <a:gd name="T22" fmla="*/ 120 w 1089"/>
                <a:gd name="T23" fmla="*/ 2 h 690"/>
                <a:gd name="T24" fmla="*/ 120 w 1089"/>
                <a:gd name="T25" fmla="*/ 2 h 690"/>
                <a:gd name="T26" fmla="*/ 119 w 1089"/>
                <a:gd name="T27" fmla="*/ 1 h 690"/>
                <a:gd name="T28" fmla="*/ 118 w 1089"/>
                <a:gd name="T29" fmla="*/ 1 h 690"/>
                <a:gd name="T30" fmla="*/ 116 w 1089"/>
                <a:gd name="T31" fmla="*/ 0 h 690"/>
                <a:gd name="T32" fmla="*/ 115 w 1089"/>
                <a:gd name="T33" fmla="*/ 0 h 690"/>
                <a:gd name="T34" fmla="*/ 113 w 1089"/>
                <a:gd name="T35" fmla="*/ 0 h 690"/>
                <a:gd name="T36" fmla="*/ 7 w 1089"/>
                <a:gd name="T37" fmla="*/ 0 h 690"/>
                <a:gd name="T38" fmla="*/ 5 w 1089"/>
                <a:gd name="T39" fmla="*/ 0 h 690"/>
                <a:gd name="T40" fmla="*/ 4 w 1089"/>
                <a:gd name="T41" fmla="*/ 0 h 690"/>
                <a:gd name="T42" fmla="*/ 3 w 1089"/>
                <a:gd name="T43" fmla="*/ 1 h 690"/>
                <a:gd name="T44" fmla="*/ 2 w 1089"/>
                <a:gd name="T45" fmla="*/ 1 h 690"/>
                <a:gd name="T46" fmla="*/ 1 w 1089"/>
                <a:gd name="T47" fmla="*/ 2 h 690"/>
                <a:gd name="T48" fmla="*/ 0 w 1089"/>
                <a:gd name="T49" fmla="*/ 3 h 690"/>
                <a:gd name="T50" fmla="*/ 0 w 1089"/>
                <a:gd name="T51" fmla="*/ 4 h 690"/>
                <a:gd name="T52" fmla="*/ 0 w 1089"/>
                <a:gd name="T53" fmla="*/ 37 h 690"/>
                <a:gd name="T54" fmla="*/ 0 w 1089"/>
                <a:gd name="T55" fmla="*/ 38 h 690"/>
                <a:gd name="T56" fmla="*/ 1 w 1089"/>
                <a:gd name="T57" fmla="*/ 38 h 690"/>
                <a:gd name="T58" fmla="*/ 1 w 1089"/>
                <a:gd name="T59" fmla="*/ 39 h 690"/>
                <a:gd name="T60" fmla="*/ 2 w 1089"/>
                <a:gd name="T61" fmla="*/ 40 h 690"/>
                <a:gd name="T62" fmla="*/ 3 w 1089"/>
                <a:gd name="T63" fmla="*/ 40 h 690"/>
                <a:gd name="T64" fmla="*/ 5 w 1089"/>
                <a:gd name="T65" fmla="*/ 41 h 690"/>
                <a:gd name="T66" fmla="*/ 6 w 1089"/>
                <a:gd name="T67" fmla="*/ 41 h 690"/>
                <a:gd name="T68" fmla="*/ 8 w 1089"/>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90"/>
                <a:gd name="T107" fmla="*/ 1089 w 1089"/>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90">
                  <a:moveTo>
                    <a:pt x="68" y="690"/>
                  </a:moveTo>
                  <a:lnTo>
                    <a:pt x="1021" y="690"/>
                  </a:lnTo>
                  <a:lnTo>
                    <a:pt x="1028" y="689"/>
                  </a:lnTo>
                  <a:lnTo>
                    <a:pt x="1035" y="689"/>
                  </a:lnTo>
                  <a:lnTo>
                    <a:pt x="1041" y="686"/>
                  </a:lnTo>
                  <a:lnTo>
                    <a:pt x="1047" y="684"/>
                  </a:lnTo>
                  <a:lnTo>
                    <a:pt x="1053" y="682"/>
                  </a:lnTo>
                  <a:lnTo>
                    <a:pt x="1059" y="677"/>
                  </a:lnTo>
                  <a:lnTo>
                    <a:pt x="1064" y="674"/>
                  </a:lnTo>
                  <a:lnTo>
                    <a:pt x="1069" y="669"/>
                  </a:lnTo>
                  <a:lnTo>
                    <a:pt x="1073" y="665"/>
                  </a:lnTo>
                  <a:lnTo>
                    <a:pt x="1077" y="659"/>
                  </a:lnTo>
                  <a:lnTo>
                    <a:pt x="1080" y="654"/>
                  </a:lnTo>
                  <a:lnTo>
                    <a:pt x="1084" y="648"/>
                  </a:lnTo>
                  <a:lnTo>
                    <a:pt x="1086" y="642"/>
                  </a:lnTo>
                  <a:lnTo>
                    <a:pt x="1087" y="635"/>
                  </a:lnTo>
                  <a:lnTo>
                    <a:pt x="1088" y="629"/>
                  </a:lnTo>
                  <a:lnTo>
                    <a:pt x="1089" y="622"/>
                  </a:lnTo>
                  <a:lnTo>
                    <a:pt x="1089" y="68"/>
                  </a:lnTo>
                  <a:lnTo>
                    <a:pt x="1088" y="61"/>
                  </a:lnTo>
                  <a:lnTo>
                    <a:pt x="1087" y="54"/>
                  </a:lnTo>
                  <a:lnTo>
                    <a:pt x="1086" y="48"/>
                  </a:lnTo>
                  <a:lnTo>
                    <a:pt x="1084" y="42"/>
                  </a:lnTo>
                  <a:lnTo>
                    <a:pt x="1080" y="36"/>
                  </a:lnTo>
                  <a:lnTo>
                    <a:pt x="1077" y="31"/>
                  </a:lnTo>
                  <a:lnTo>
                    <a:pt x="1073" y="25"/>
                  </a:lnTo>
                  <a:lnTo>
                    <a:pt x="1069" y="21"/>
                  </a:lnTo>
                  <a:lnTo>
                    <a:pt x="1064" y="16"/>
                  </a:lnTo>
                  <a:lnTo>
                    <a:pt x="1059" y="12"/>
                  </a:lnTo>
                  <a:lnTo>
                    <a:pt x="1053" y="8"/>
                  </a:lnTo>
                  <a:lnTo>
                    <a:pt x="1047" y="6"/>
                  </a:lnTo>
                  <a:lnTo>
                    <a:pt x="1041" y="4"/>
                  </a:lnTo>
                  <a:lnTo>
                    <a:pt x="1035" y="1"/>
                  </a:lnTo>
                  <a:lnTo>
                    <a:pt x="1028" y="1"/>
                  </a:lnTo>
                  <a:lnTo>
                    <a:pt x="1021" y="0"/>
                  </a:lnTo>
                  <a:lnTo>
                    <a:pt x="68" y="0"/>
                  </a:lnTo>
                  <a:lnTo>
                    <a:pt x="61" y="1"/>
                  </a:lnTo>
                  <a:lnTo>
                    <a:pt x="54" y="1"/>
                  </a:lnTo>
                  <a:lnTo>
                    <a:pt x="47" y="4"/>
                  </a:lnTo>
                  <a:lnTo>
                    <a:pt x="42" y="6"/>
                  </a:lnTo>
                  <a:lnTo>
                    <a:pt x="36" y="8"/>
                  </a:lnTo>
                  <a:lnTo>
                    <a:pt x="30" y="12"/>
                  </a:lnTo>
                  <a:lnTo>
                    <a:pt x="25" y="16"/>
                  </a:lnTo>
                  <a:lnTo>
                    <a:pt x="20" y="21"/>
                  </a:lnTo>
                  <a:lnTo>
                    <a:pt x="16" y="25"/>
                  </a:lnTo>
                  <a:lnTo>
                    <a:pt x="11" y="31"/>
                  </a:lnTo>
                  <a:lnTo>
                    <a:pt x="8" y="36"/>
                  </a:lnTo>
                  <a:lnTo>
                    <a:pt x="5" y="42"/>
                  </a:lnTo>
                  <a:lnTo>
                    <a:pt x="3" y="48"/>
                  </a:lnTo>
                  <a:lnTo>
                    <a:pt x="1" y="54"/>
                  </a:lnTo>
                  <a:lnTo>
                    <a:pt x="1" y="61"/>
                  </a:lnTo>
                  <a:lnTo>
                    <a:pt x="0" y="68"/>
                  </a:lnTo>
                  <a:lnTo>
                    <a:pt x="0" y="622"/>
                  </a:lnTo>
                  <a:lnTo>
                    <a:pt x="1" y="629"/>
                  </a:lnTo>
                  <a:lnTo>
                    <a:pt x="1" y="635"/>
                  </a:lnTo>
                  <a:lnTo>
                    <a:pt x="3" y="642"/>
                  </a:lnTo>
                  <a:lnTo>
                    <a:pt x="5" y="648"/>
                  </a:lnTo>
                  <a:lnTo>
                    <a:pt x="8" y="654"/>
                  </a:lnTo>
                  <a:lnTo>
                    <a:pt x="11" y="659"/>
                  </a:lnTo>
                  <a:lnTo>
                    <a:pt x="16" y="665"/>
                  </a:lnTo>
                  <a:lnTo>
                    <a:pt x="20" y="669"/>
                  </a:lnTo>
                  <a:lnTo>
                    <a:pt x="25" y="674"/>
                  </a:lnTo>
                  <a:lnTo>
                    <a:pt x="30" y="677"/>
                  </a:lnTo>
                  <a:lnTo>
                    <a:pt x="36" y="682"/>
                  </a:lnTo>
                  <a:lnTo>
                    <a:pt x="42" y="684"/>
                  </a:lnTo>
                  <a:lnTo>
                    <a:pt x="47" y="686"/>
                  </a:lnTo>
                  <a:lnTo>
                    <a:pt x="54" y="689"/>
                  </a:lnTo>
                  <a:lnTo>
                    <a:pt x="61" y="689"/>
                  </a:lnTo>
                  <a:lnTo>
                    <a:pt x="68" y="69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60" name="Freeform 916"/>
            <p:cNvSpPr>
              <a:spLocks/>
            </p:cNvSpPr>
            <p:nvPr/>
          </p:nvSpPr>
          <p:spPr bwMode="auto">
            <a:xfrm>
              <a:off x="2182" y="3141"/>
              <a:ext cx="363" cy="168"/>
            </a:xfrm>
            <a:custGeom>
              <a:avLst/>
              <a:gdLst>
                <a:gd name="T0" fmla="*/ 113 w 1089"/>
                <a:gd name="T1" fmla="*/ 41 h 690"/>
                <a:gd name="T2" fmla="*/ 115 w 1089"/>
                <a:gd name="T3" fmla="*/ 41 h 690"/>
                <a:gd name="T4" fmla="*/ 116 w 1089"/>
                <a:gd name="T5" fmla="*/ 41 h 690"/>
                <a:gd name="T6" fmla="*/ 118 w 1089"/>
                <a:gd name="T7" fmla="*/ 40 h 690"/>
                <a:gd name="T8" fmla="*/ 119 w 1089"/>
                <a:gd name="T9" fmla="*/ 40 h 690"/>
                <a:gd name="T10" fmla="*/ 120 w 1089"/>
                <a:gd name="T11" fmla="*/ 39 h 690"/>
                <a:gd name="T12" fmla="*/ 120 w 1089"/>
                <a:gd name="T13" fmla="*/ 38 h 690"/>
                <a:gd name="T14" fmla="*/ 121 w 1089"/>
                <a:gd name="T15" fmla="*/ 38 h 690"/>
                <a:gd name="T16" fmla="*/ 121 w 1089"/>
                <a:gd name="T17" fmla="*/ 37 h 690"/>
                <a:gd name="T18" fmla="*/ 121 w 1089"/>
                <a:gd name="T19" fmla="*/ 4 h 690"/>
                <a:gd name="T20" fmla="*/ 121 w 1089"/>
                <a:gd name="T21" fmla="*/ 3 h 690"/>
                <a:gd name="T22" fmla="*/ 120 w 1089"/>
                <a:gd name="T23" fmla="*/ 2 h 690"/>
                <a:gd name="T24" fmla="*/ 120 w 1089"/>
                <a:gd name="T25" fmla="*/ 2 h 690"/>
                <a:gd name="T26" fmla="*/ 119 w 1089"/>
                <a:gd name="T27" fmla="*/ 1 h 690"/>
                <a:gd name="T28" fmla="*/ 118 w 1089"/>
                <a:gd name="T29" fmla="*/ 1 h 690"/>
                <a:gd name="T30" fmla="*/ 116 w 1089"/>
                <a:gd name="T31" fmla="*/ 0 h 690"/>
                <a:gd name="T32" fmla="*/ 115 w 1089"/>
                <a:gd name="T33" fmla="*/ 0 h 690"/>
                <a:gd name="T34" fmla="*/ 113 w 1089"/>
                <a:gd name="T35" fmla="*/ 0 h 690"/>
                <a:gd name="T36" fmla="*/ 7 w 1089"/>
                <a:gd name="T37" fmla="*/ 0 h 690"/>
                <a:gd name="T38" fmla="*/ 5 w 1089"/>
                <a:gd name="T39" fmla="*/ 0 h 690"/>
                <a:gd name="T40" fmla="*/ 4 w 1089"/>
                <a:gd name="T41" fmla="*/ 0 h 690"/>
                <a:gd name="T42" fmla="*/ 3 w 1089"/>
                <a:gd name="T43" fmla="*/ 1 h 690"/>
                <a:gd name="T44" fmla="*/ 2 w 1089"/>
                <a:gd name="T45" fmla="*/ 1 h 690"/>
                <a:gd name="T46" fmla="*/ 1 w 1089"/>
                <a:gd name="T47" fmla="*/ 2 h 690"/>
                <a:gd name="T48" fmla="*/ 0 w 1089"/>
                <a:gd name="T49" fmla="*/ 3 h 690"/>
                <a:gd name="T50" fmla="*/ 0 w 1089"/>
                <a:gd name="T51" fmla="*/ 4 h 690"/>
                <a:gd name="T52" fmla="*/ 0 w 1089"/>
                <a:gd name="T53" fmla="*/ 37 h 690"/>
                <a:gd name="T54" fmla="*/ 0 w 1089"/>
                <a:gd name="T55" fmla="*/ 38 h 690"/>
                <a:gd name="T56" fmla="*/ 1 w 1089"/>
                <a:gd name="T57" fmla="*/ 38 h 690"/>
                <a:gd name="T58" fmla="*/ 1 w 1089"/>
                <a:gd name="T59" fmla="*/ 39 h 690"/>
                <a:gd name="T60" fmla="*/ 2 w 1089"/>
                <a:gd name="T61" fmla="*/ 40 h 690"/>
                <a:gd name="T62" fmla="*/ 3 w 1089"/>
                <a:gd name="T63" fmla="*/ 40 h 690"/>
                <a:gd name="T64" fmla="*/ 5 w 1089"/>
                <a:gd name="T65" fmla="*/ 41 h 690"/>
                <a:gd name="T66" fmla="*/ 6 w 1089"/>
                <a:gd name="T67" fmla="*/ 41 h 690"/>
                <a:gd name="T68" fmla="*/ 8 w 1089"/>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90"/>
                <a:gd name="T107" fmla="*/ 1089 w 1089"/>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90">
                  <a:moveTo>
                    <a:pt x="68" y="690"/>
                  </a:moveTo>
                  <a:lnTo>
                    <a:pt x="1021" y="690"/>
                  </a:lnTo>
                  <a:lnTo>
                    <a:pt x="1028" y="689"/>
                  </a:lnTo>
                  <a:lnTo>
                    <a:pt x="1035" y="689"/>
                  </a:lnTo>
                  <a:lnTo>
                    <a:pt x="1041" y="686"/>
                  </a:lnTo>
                  <a:lnTo>
                    <a:pt x="1047" y="684"/>
                  </a:lnTo>
                  <a:lnTo>
                    <a:pt x="1053" y="682"/>
                  </a:lnTo>
                  <a:lnTo>
                    <a:pt x="1059" y="677"/>
                  </a:lnTo>
                  <a:lnTo>
                    <a:pt x="1064" y="674"/>
                  </a:lnTo>
                  <a:lnTo>
                    <a:pt x="1069" y="669"/>
                  </a:lnTo>
                  <a:lnTo>
                    <a:pt x="1073" y="665"/>
                  </a:lnTo>
                  <a:lnTo>
                    <a:pt x="1077" y="659"/>
                  </a:lnTo>
                  <a:lnTo>
                    <a:pt x="1080" y="654"/>
                  </a:lnTo>
                  <a:lnTo>
                    <a:pt x="1084" y="648"/>
                  </a:lnTo>
                  <a:lnTo>
                    <a:pt x="1086" y="642"/>
                  </a:lnTo>
                  <a:lnTo>
                    <a:pt x="1087" y="635"/>
                  </a:lnTo>
                  <a:lnTo>
                    <a:pt x="1088" y="629"/>
                  </a:lnTo>
                  <a:lnTo>
                    <a:pt x="1089" y="622"/>
                  </a:lnTo>
                  <a:lnTo>
                    <a:pt x="1089" y="68"/>
                  </a:lnTo>
                  <a:lnTo>
                    <a:pt x="1088" y="61"/>
                  </a:lnTo>
                  <a:lnTo>
                    <a:pt x="1087" y="54"/>
                  </a:lnTo>
                  <a:lnTo>
                    <a:pt x="1086" y="48"/>
                  </a:lnTo>
                  <a:lnTo>
                    <a:pt x="1084" y="42"/>
                  </a:lnTo>
                  <a:lnTo>
                    <a:pt x="1080" y="36"/>
                  </a:lnTo>
                  <a:lnTo>
                    <a:pt x="1077" y="31"/>
                  </a:lnTo>
                  <a:lnTo>
                    <a:pt x="1073" y="25"/>
                  </a:lnTo>
                  <a:lnTo>
                    <a:pt x="1069" y="21"/>
                  </a:lnTo>
                  <a:lnTo>
                    <a:pt x="1064" y="16"/>
                  </a:lnTo>
                  <a:lnTo>
                    <a:pt x="1059" y="12"/>
                  </a:lnTo>
                  <a:lnTo>
                    <a:pt x="1053" y="8"/>
                  </a:lnTo>
                  <a:lnTo>
                    <a:pt x="1047" y="6"/>
                  </a:lnTo>
                  <a:lnTo>
                    <a:pt x="1041" y="4"/>
                  </a:lnTo>
                  <a:lnTo>
                    <a:pt x="1035" y="1"/>
                  </a:lnTo>
                  <a:lnTo>
                    <a:pt x="1028" y="1"/>
                  </a:lnTo>
                  <a:lnTo>
                    <a:pt x="1021" y="0"/>
                  </a:lnTo>
                  <a:lnTo>
                    <a:pt x="68" y="0"/>
                  </a:lnTo>
                  <a:lnTo>
                    <a:pt x="61" y="1"/>
                  </a:lnTo>
                  <a:lnTo>
                    <a:pt x="54" y="1"/>
                  </a:lnTo>
                  <a:lnTo>
                    <a:pt x="47" y="4"/>
                  </a:lnTo>
                  <a:lnTo>
                    <a:pt x="42" y="6"/>
                  </a:lnTo>
                  <a:lnTo>
                    <a:pt x="36" y="8"/>
                  </a:lnTo>
                  <a:lnTo>
                    <a:pt x="30" y="12"/>
                  </a:lnTo>
                  <a:lnTo>
                    <a:pt x="25" y="16"/>
                  </a:lnTo>
                  <a:lnTo>
                    <a:pt x="20" y="21"/>
                  </a:lnTo>
                  <a:lnTo>
                    <a:pt x="16" y="25"/>
                  </a:lnTo>
                  <a:lnTo>
                    <a:pt x="11" y="31"/>
                  </a:lnTo>
                  <a:lnTo>
                    <a:pt x="8" y="36"/>
                  </a:lnTo>
                  <a:lnTo>
                    <a:pt x="5" y="42"/>
                  </a:lnTo>
                  <a:lnTo>
                    <a:pt x="3" y="48"/>
                  </a:lnTo>
                  <a:lnTo>
                    <a:pt x="1" y="54"/>
                  </a:lnTo>
                  <a:lnTo>
                    <a:pt x="1" y="61"/>
                  </a:lnTo>
                  <a:lnTo>
                    <a:pt x="0" y="68"/>
                  </a:lnTo>
                  <a:lnTo>
                    <a:pt x="0" y="622"/>
                  </a:lnTo>
                  <a:lnTo>
                    <a:pt x="1" y="629"/>
                  </a:lnTo>
                  <a:lnTo>
                    <a:pt x="1" y="635"/>
                  </a:lnTo>
                  <a:lnTo>
                    <a:pt x="3" y="642"/>
                  </a:lnTo>
                  <a:lnTo>
                    <a:pt x="5" y="648"/>
                  </a:lnTo>
                  <a:lnTo>
                    <a:pt x="8" y="654"/>
                  </a:lnTo>
                  <a:lnTo>
                    <a:pt x="11" y="659"/>
                  </a:lnTo>
                  <a:lnTo>
                    <a:pt x="16" y="665"/>
                  </a:lnTo>
                  <a:lnTo>
                    <a:pt x="20" y="669"/>
                  </a:lnTo>
                  <a:lnTo>
                    <a:pt x="25" y="674"/>
                  </a:lnTo>
                  <a:lnTo>
                    <a:pt x="30" y="677"/>
                  </a:lnTo>
                  <a:lnTo>
                    <a:pt x="36" y="682"/>
                  </a:lnTo>
                  <a:lnTo>
                    <a:pt x="42" y="684"/>
                  </a:lnTo>
                  <a:lnTo>
                    <a:pt x="47" y="686"/>
                  </a:lnTo>
                  <a:lnTo>
                    <a:pt x="54" y="689"/>
                  </a:lnTo>
                  <a:lnTo>
                    <a:pt x="61" y="689"/>
                  </a:lnTo>
                  <a:lnTo>
                    <a:pt x="68" y="690"/>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61" name="Rectangle 917"/>
            <p:cNvSpPr>
              <a:spLocks noChangeArrowheads="1"/>
            </p:cNvSpPr>
            <p:nvPr/>
          </p:nvSpPr>
          <p:spPr bwMode="auto">
            <a:xfrm>
              <a:off x="2216" y="3190"/>
              <a:ext cx="30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ocure Material </a:t>
              </a:r>
              <a:endParaRPr lang="en-US" sz="1800" b="0" kern="0" baseline="0">
                <a:solidFill>
                  <a:sysClr val="windowText" lastClr="000000"/>
                </a:solidFill>
                <a:latin typeface="Arial" charset="0"/>
                <a:ea typeface="ＭＳ Ｐゴシック"/>
                <a:cs typeface="ＭＳ Ｐゴシック"/>
              </a:endParaRPr>
            </a:p>
          </p:txBody>
        </p:sp>
        <p:sp>
          <p:nvSpPr>
            <p:cNvPr id="362" name="Rectangle 918"/>
            <p:cNvSpPr>
              <a:spLocks noChangeArrowheads="1"/>
            </p:cNvSpPr>
            <p:nvPr/>
          </p:nvSpPr>
          <p:spPr bwMode="auto">
            <a:xfrm>
              <a:off x="2257" y="3225"/>
              <a:ext cx="21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nd Service</a:t>
              </a:r>
              <a:endParaRPr lang="en-US" sz="1800" b="0" kern="0" baseline="0">
                <a:solidFill>
                  <a:sysClr val="windowText" lastClr="000000"/>
                </a:solidFill>
                <a:latin typeface="Arial" charset="0"/>
                <a:ea typeface="ＭＳ Ｐゴシック"/>
                <a:cs typeface="ＭＳ Ｐゴシック"/>
              </a:endParaRPr>
            </a:p>
          </p:txBody>
        </p:sp>
        <p:sp>
          <p:nvSpPr>
            <p:cNvPr id="363" name="Freeform 919"/>
            <p:cNvSpPr>
              <a:spLocks/>
            </p:cNvSpPr>
            <p:nvPr/>
          </p:nvSpPr>
          <p:spPr bwMode="auto">
            <a:xfrm>
              <a:off x="2724" y="3141"/>
              <a:ext cx="363" cy="168"/>
            </a:xfrm>
            <a:custGeom>
              <a:avLst/>
              <a:gdLst>
                <a:gd name="T0" fmla="*/ 114 w 1088"/>
                <a:gd name="T1" fmla="*/ 41 h 689"/>
                <a:gd name="T2" fmla="*/ 115 w 1088"/>
                <a:gd name="T3" fmla="*/ 41 h 689"/>
                <a:gd name="T4" fmla="*/ 116 w 1088"/>
                <a:gd name="T5" fmla="*/ 41 h 689"/>
                <a:gd name="T6" fmla="*/ 118 w 1088"/>
                <a:gd name="T7" fmla="*/ 40 h 689"/>
                <a:gd name="T8" fmla="*/ 119 w 1088"/>
                <a:gd name="T9" fmla="*/ 40 h 689"/>
                <a:gd name="T10" fmla="*/ 120 w 1088"/>
                <a:gd name="T11" fmla="*/ 39 h 689"/>
                <a:gd name="T12" fmla="*/ 120 w 1088"/>
                <a:gd name="T13" fmla="*/ 39 h 689"/>
                <a:gd name="T14" fmla="*/ 121 w 1088"/>
                <a:gd name="T15" fmla="*/ 38 h 689"/>
                <a:gd name="T16" fmla="*/ 121 w 1088"/>
                <a:gd name="T17" fmla="*/ 37 h 689"/>
                <a:gd name="T18" fmla="*/ 121 w 1088"/>
                <a:gd name="T19" fmla="*/ 4 h 689"/>
                <a:gd name="T20" fmla="*/ 121 w 1088"/>
                <a:gd name="T21" fmla="*/ 3 h 689"/>
                <a:gd name="T22" fmla="*/ 120 w 1088"/>
                <a:gd name="T23" fmla="*/ 2 h 689"/>
                <a:gd name="T24" fmla="*/ 120 w 1088"/>
                <a:gd name="T25" fmla="*/ 2 h 689"/>
                <a:gd name="T26" fmla="*/ 119 w 1088"/>
                <a:gd name="T27" fmla="*/ 1 h 689"/>
                <a:gd name="T28" fmla="*/ 118 w 1088"/>
                <a:gd name="T29" fmla="*/ 1 h 689"/>
                <a:gd name="T30" fmla="*/ 116 w 1088"/>
                <a:gd name="T31" fmla="*/ 0 h 689"/>
                <a:gd name="T32" fmla="*/ 115 w 1088"/>
                <a:gd name="T33" fmla="*/ 0 h 689"/>
                <a:gd name="T34" fmla="*/ 114 w 1088"/>
                <a:gd name="T35" fmla="*/ 0 h 689"/>
                <a:gd name="T36" fmla="*/ 7 w 1088"/>
                <a:gd name="T37" fmla="*/ 0 h 689"/>
                <a:gd name="T38" fmla="*/ 5 w 1088"/>
                <a:gd name="T39" fmla="*/ 0 h 689"/>
                <a:gd name="T40" fmla="*/ 4 w 1088"/>
                <a:gd name="T41" fmla="*/ 0 h 689"/>
                <a:gd name="T42" fmla="*/ 3 w 1088"/>
                <a:gd name="T43" fmla="*/ 1 h 689"/>
                <a:gd name="T44" fmla="*/ 2 w 1088"/>
                <a:gd name="T45" fmla="*/ 1 h 689"/>
                <a:gd name="T46" fmla="*/ 1 w 1088"/>
                <a:gd name="T47" fmla="*/ 2 h 689"/>
                <a:gd name="T48" fmla="*/ 0 w 1088"/>
                <a:gd name="T49" fmla="*/ 3 h 689"/>
                <a:gd name="T50" fmla="*/ 0 w 1088"/>
                <a:gd name="T51" fmla="*/ 4 h 689"/>
                <a:gd name="T52" fmla="*/ 0 w 1088"/>
                <a:gd name="T53" fmla="*/ 37 h 689"/>
                <a:gd name="T54" fmla="*/ 0 w 1088"/>
                <a:gd name="T55" fmla="*/ 38 h 689"/>
                <a:gd name="T56" fmla="*/ 1 w 1088"/>
                <a:gd name="T57" fmla="*/ 39 h 689"/>
                <a:gd name="T58" fmla="*/ 1 w 1088"/>
                <a:gd name="T59" fmla="*/ 39 h 689"/>
                <a:gd name="T60" fmla="*/ 2 w 1088"/>
                <a:gd name="T61" fmla="*/ 40 h 689"/>
                <a:gd name="T62" fmla="*/ 3 w 1088"/>
                <a:gd name="T63" fmla="*/ 40 h 689"/>
                <a:gd name="T64" fmla="*/ 5 w 1088"/>
                <a:gd name="T65" fmla="*/ 41 h 689"/>
                <a:gd name="T66" fmla="*/ 6 w 1088"/>
                <a:gd name="T67" fmla="*/ 41 h 689"/>
                <a:gd name="T68" fmla="*/ 8 w 1088"/>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9"/>
                <a:gd name="T107" fmla="*/ 1088 w 1088"/>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9">
                  <a:moveTo>
                    <a:pt x="68" y="689"/>
                  </a:moveTo>
                  <a:lnTo>
                    <a:pt x="1021" y="689"/>
                  </a:lnTo>
                  <a:lnTo>
                    <a:pt x="1027" y="689"/>
                  </a:lnTo>
                  <a:lnTo>
                    <a:pt x="1034" y="688"/>
                  </a:lnTo>
                  <a:lnTo>
                    <a:pt x="1040" y="685"/>
                  </a:lnTo>
                  <a:lnTo>
                    <a:pt x="1047" y="683"/>
                  </a:lnTo>
                  <a:lnTo>
                    <a:pt x="1052" y="681"/>
                  </a:lnTo>
                  <a:lnTo>
                    <a:pt x="1058" y="677"/>
                  </a:lnTo>
                  <a:lnTo>
                    <a:pt x="1064" y="673"/>
                  </a:lnTo>
                  <a:lnTo>
                    <a:pt x="1068" y="668"/>
                  </a:lnTo>
                  <a:lnTo>
                    <a:pt x="1073" y="664"/>
                  </a:lnTo>
                  <a:lnTo>
                    <a:pt x="1076" y="659"/>
                  </a:lnTo>
                  <a:lnTo>
                    <a:pt x="1079" y="654"/>
                  </a:lnTo>
                  <a:lnTo>
                    <a:pt x="1083" y="647"/>
                  </a:lnTo>
                  <a:lnTo>
                    <a:pt x="1085" y="641"/>
                  </a:lnTo>
                  <a:lnTo>
                    <a:pt x="1086" y="634"/>
                  </a:lnTo>
                  <a:lnTo>
                    <a:pt x="1087" y="628"/>
                  </a:lnTo>
                  <a:lnTo>
                    <a:pt x="1088" y="621"/>
                  </a:lnTo>
                  <a:lnTo>
                    <a:pt x="1088" y="68"/>
                  </a:lnTo>
                  <a:lnTo>
                    <a:pt x="1087" y="60"/>
                  </a:lnTo>
                  <a:lnTo>
                    <a:pt x="1086" y="53"/>
                  </a:lnTo>
                  <a:lnTo>
                    <a:pt x="1085" y="48"/>
                  </a:lnTo>
                  <a:lnTo>
                    <a:pt x="1083" y="41"/>
                  </a:lnTo>
                  <a:lnTo>
                    <a:pt x="1079" y="35"/>
                  </a:lnTo>
                  <a:lnTo>
                    <a:pt x="1076" y="30"/>
                  </a:lnTo>
                  <a:lnTo>
                    <a:pt x="1073" y="24"/>
                  </a:lnTo>
                  <a:lnTo>
                    <a:pt x="1068" y="20"/>
                  </a:lnTo>
                  <a:lnTo>
                    <a:pt x="1064" y="15"/>
                  </a:lnTo>
                  <a:lnTo>
                    <a:pt x="1058" y="12"/>
                  </a:lnTo>
                  <a:lnTo>
                    <a:pt x="1052" y="8"/>
                  </a:lnTo>
                  <a:lnTo>
                    <a:pt x="1047" y="5"/>
                  </a:lnTo>
                  <a:lnTo>
                    <a:pt x="1040" y="3"/>
                  </a:lnTo>
                  <a:lnTo>
                    <a:pt x="1034" y="1"/>
                  </a:lnTo>
                  <a:lnTo>
                    <a:pt x="1027" y="0"/>
                  </a:lnTo>
                  <a:lnTo>
                    <a:pt x="1021" y="0"/>
                  </a:lnTo>
                  <a:lnTo>
                    <a:pt x="68" y="0"/>
                  </a:lnTo>
                  <a:lnTo>
                    <a:pt x="60" y="0"/>
                  </a:lnTo>
                  <a:lnTo>
                    <a:pt x="53" y="1"/>
                  </a:lnTo>
                  <a:lnTo>
                    <a:pt x="48" y="3"/>
                  </a:lnTo>
                  <a:lnTo>
                    <a:pt x="41" y="5"/>
                  </a:lnTo>
                  <a:lnTo>
                    <a:pt x="35" y="8"/>
                  </a:lnTo>
                  <a:lnTo>
                    <a:pt x="30" y="12"/>
                  </a:lnTo>
                  <a:lnTo>
                    <a:pt x="24" y="15"/>
                  </a:lnTo>
                  <a:lnTo>
                    <a:pt x="19" y="20"/>
                  </a:lnTo>
                  <a:lnTo>
                    <a:pt x="15" y="24"/>
                  </a:lnTo>
                  <a:lnTo>
                    <a:pt x="11" y="30"/>
                  </a:lnTo>
                  <a:lnTo>
                    <a:pt x="8" y="35"/>
                  </a:lnTo>
                  <a:lnTo>
                    <a:pt x="5" y="41"/>
                  </a:lnTo>
                  <a:lnTo>
                    <a:pt x="2" y="48"/>
                  </a:lnTo>
                  <a:lnTo>
                    <a:pt x="1" y="53"/>
                  </a:lnTo>
                  <a:lnTo>
                    <a:pt x="0" y="60"/>
                  </a:lnTo>
                  <a:lnTo>
                    <a:pt x="0" y="68"/>
                  </a:lnTo>
                  <a:lnTo>
                    <a:pt x="0" y="621"/>
                  </a:lnTo>
                  <a:lnTo>
                    <a:pt x="0" y="628"/>
                  </a:lnTo>
                  <a:lnTo>
                    <a:pt x="1" y="634"/>
                  </a:lnTo>
                  <a:lnTo>
                    <a:pt x="2" y="641"/>
                  </a:lnTo>
                  <a:lnTo>
                    <a:pt x="5" y="647"/>
                  </a:lnTo>
                  <a:lnTo>
                    <a:pt x="8" y="654"/>
                  </a:lnTo>
                  <a:lnTo>
                    <a:pt x="11" y="659"/>
                  </a:lnTo>
                  <a:lnTo>
                    <a:pt x="15" y="664"/>
                  </a:lnTo>
                  <a:lnTo>
                    <a:pt x="19" y="668"/>
                  </a:lnTo>
                  <a:lnTo>
                    <a:pt x="24" y="673"/>
                  </a:lnTo>
                  <a:lnTo>
                    <a:pt x="30" y="677"/>
                  </a:lnTo>
                  <a:lnTo>
                    <a:pt x="35" y="681"/>
                  </a:lnTo>
                  <a:lnTo>
                    <a:pt x="41" y="683"/>
                  </a:lnTo>
                  <a:lnTo>
                    <a:pt x="48" y="685"/>
                  </a:lnTo>
                  <a:lnTo>
                    <a:pt x="53" y="688"/>
                  </a:lnTo>
                  <a:lnTo>
                    <a:pt x="60" y="689"/>
                  </a:lnTo>
                  <a:lnTo>
                    <a:pt x="68" y="689"/>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64" name="Freeform 920"/>
            <p:cNvSpPr>
              <a:spLocks/>
            </p:cNvSpPr>
            <p:nvPr/>
          </p:nvSpPr>
          <p:spPr bwMode="auto">
            <a:xfrm>
              <a:off x="2724" y="3141"/>
              <a:ext cx="363" cy="168"/>
            </a:xfrm>
            <a:custGeom>
              <a:avLst/>
              <a:gdLst>
                <a:gd name="T0" fmla="*/ 114 w 1088"/>
                <a:gd name="T1" fmla="*/ 41 h 689"/>
                <a:gd name="T2" fmla="*/ 115 w 1088"/>
                <a:gd name="T3" fmla="*/ 41 h 689"/>
                <a:gd name="T4" fmla="*/ 116 w 1088"/>
                <a:gd name="T5" fmla="*/ 41 h 689"/>
                <a:gd name="T6" fmla="*/ 118 w 1088"/>
                <a:gd name="T7" fmla="*/ 40 h 689"/>
                <a:gd name="T8" fmla="*/ 119 w 1088"/>
                <a:gd name="T9" fmla="*/ 40 h 689"/>
                <a:gd name="T10" fmla="*/ 120 w 1088"/>
                <a:gd name="T11" fmla="*/ 39 h 689"/>
                <a:gd name="T12" fmla="*/ 120 w 1088"/>
                <a:gd name="T13" fmla="*/ 39 h 689"/>
                <a:gd name="T14" fmla="*/ 121 w 1088"/>
                <a:gd name="T15" fmla="*/ 38 h 689"/>
                <a:gd name="T16" fmla="*/ 121 w 1088"/>
                <a:gd name="T17" fmla="*/ 37 h 689"/>
                <a:gd name="T18" fmla="*/ 121 w 1088"/>
                <a:gd name="T19" fmla="*/ 4 h 689"/>
                <a:gd name="T20" fmla="*/ 121 w 1088"/>
                <a:gd name="T21" fmla="*/ 3 h 689"/>
                <a:gd name="T22" fmla="*/ 120 w 1088"/>
                <a:gd name="T23" fmla="*/ 2 h 689"/>
                <a:gd name="T24" fmla="*/ 120 w 1088"/>
                <a:gd name="T25" fmla="*/ 2 h 689"/>
                <a:gd name="T26" fmla="*/ 119 w 1088"/>
                <a:gd name="T27" fmla="*/ 1 h 689"/>
                <a:gd name="T28" fmla="*/ 118 w 1088"/>
                <a:gd name="T29" fmla="*/ 1 h 689"/>
                <a:gd name="T30" fmla="*/ 116 w 1088"/>
                <a:gd name="T31" fmla="*/ 0 h 689"/>
                <a:gd name="T32" fmla="*/ 115 w 1088"/>
                <a:gd name="T33" fmla="*/ 0 h 689"/>
                <a:gd name="T34" fmla="*/ 114 w 1088"/>
                <a:gd name="T35" fmla="*/ 0 h 689"/>
                <a:gd name="T36" fmla="*/ 7 w 1088"/>
                <a:gd name="T37" fmla="*/ 0 h 689"/>
                <a:gd name="T38" fmla="*/ 5 w 1088"/>
                <a:gd name="T39" fmla="*/ 0 h 689"/>
                <a:gd name="T40" fmla="*/ 4 w 1088"/>
                <a:gd name="T41" fmla="*/ 0 h 689"/>
                <a:gd name="T42" fmla="*/ 3 w 1088"/>
                <a:gd name="T43" fmla="*/ 1 h 689"/>
                <a:gd name="T44" fmla="*/ 2 w 1088"/>
                <a:gd name="T45" fmla="*/ 1 h 689"/>
                <a:gd name="T46" fmla="*/ 1 w 1088"/>
                <a:gd name="T47" fmla="*/ 2 h 689"/>
                <a:gd name="T48" fmla="*/ 0 w 1088"/>
                <a:gd name="T49" fmla="*/ 3 h 689"/>
                <a:gd name="T50" fmla="*/ 0 w 1088"/>
                <a:gd name="T51" fmla="*/ 4 h 689"/>
                <a:gd name="T52" fmla="*/ 0 w 1088"/>
                <a:gd name="T53" fmla="*/ 37 h 689"/>
                <a:gd name="T54" fmla="*/ 0 w 1088"/>
                <a:gd name="T55" fmla="*/ 38 h 689"/>
                <a:gd name="T56" fmla="*/ 1 w 1088"/>
                <a:gd name="T57" fmla="*/ 39 h 689"/>
                <a:gd name="T58" fmla="*/ 1 w 1088"/>
                <a:gd name="T59" fmla="*/ 39 h 689"/>
                <a:gd name="T60" fmla="*/ 2 w 1088"/>
                <a:gd name="T61" fmla="*/ 40 h 689"/>
                <a:gd name="T62" fmla="*/ 3 w 1088"/>
                <a:gd name="T63" fmla="*/ 40 h 689"/>
                <a:gd name="T64" fmla="*/ 5 w 1088"/>
                <a:gd name="T65" fmla="*/ 41 h 689"/>
                <a:gd name="T66" fmla="*/ 6 w 1088"/>
                <a:gd name="T67" fmla="*/ 41 h 689"/>
                <a:gd name="T68" fmla="*/ 8 w 1088"/>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9"/>
                <a:gd name="T107" fmla="*/ 1088 w 1088"/>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9">
                  <a:moveTo>
                    <a:pt x="68" y="689"/>
                  </a:moveTo>
                  <a:lnTo>
                    <a:pt x="1021" y="689"/>
                  </a:lnTo>
                  <a:lnTo>
                    <a:pt x="1027" y="689"/>
                  </a:lnTo>
                  <a:lnTo>
                    <a:pt x="1034" y="688"/>
                  </a:lnTo>
                  <a:lnTo>
                    <a:pt x="1040" y="685"/>
                  </a:lnTo>
                  <a:lnTo>
                    <a:pt x="1047" y="683"/>
                  </a:lnTo>
                  <a:lnTo>
                    <a:pt x="1052" y="681"/>
                  </a:lnTo>
                  <a:lnTo>
                    <a:pt x="1058" y="677"/>
                  </a:lnTo>
                  <a:lnTo>
                    <a:pt x="1064" y="673"/>
                  </a:lnTo>
                  <a:lnTo>
                    <a:pt x="1068" y="668"/>
                  </a:lnTo>
                  <a:lnTo>
                    <a:pt x="1073" y="664"/>
                  </a:lnTo>
                  <a:lnTo>
                    <a:pt x="1076" y="659"/>
                  </a:lnTo>
                  <a:lnTo>
                    <a:pt x="1079" y="654"/>
                  </a:lnTo>
                  <a:lnTo>
                    <a:pt x="1083" y="647"/>
                  </a:lnTo>
                  <a:lnTo>
                    <a:pt x="1085" y="641"/>
                  </a:lnTo>
                  <a:lnTo>
                    <a:pt x="1086" y="634"/>
                  </a:lnTo>
                  <a:lnTo>
                    <a:pt x="1087" y="628"/>
                  </a:lnTo>
                  <a:lnTo>
                    <a:pt x="1088" y="621"/>
                  </a:lnTo>
                  <a:lnTo>
                    <a:pt x="1088" y="68"/>
                  </a:lnTo>
                  <a:lnTo>
                    <a:pt x="1087" y="60"/>
                  </a:lnTo>
                  <a:lnTo>
                    <a:pt x="1086" y="53"/>
                  </a:lnTo>
                  <a:lnTo>
                    <a:pt x="1085" y="48"/>
                  </a:lnTo>
                  <a:lnTo>
                    <a:pt x="1083" y="41"/>
                  </a:lnTo>
                  <a:lnTo>
                    <a:pt x="1079" y="35"/>
                  </a:lnTo>
                  <a:lnTo>
                    <a:pt x="1076" y="30"/>
                  </a:lnTo>
                  <a:lnTo>
                    <a:pt x="1073" y="24"/>
                  </a:lnTo>
                  <a:lnTo>
                    <a:pt x="1068" y="20"/>
                  </a:lnTo>
                  <a:lnTo>
                    <a:pt x="1064" y="15"/>
                  </a:lnTo>
                  <a:lnTo>
                    <a:pt x="1058" y="12"/>
                  </a:lnTo>
                  <a:lnTo>
                    <a:pt x="1052" y="8"/>
                  </a:lnTo>
                  <a:lnTo>
                    <a:pt x="1047" y="5"/>
                  </a:lnTo>
                  <a:lnTo>
                    <a:pt x="1040" y="3"/>
                  </a:lnTo>
                  <a:lnTo>
                    <a:pt x="1034" y="1"/>
                  </a:lnTo>
                  <a:lnTo>
                    <a:pt x="1027" y="0"/>
                  </a:lnTo>
                  <a:lnTo>
                    <a:pt x="1021" y="0"/>
                  </a:lnTo>
                  <a:lnTo>
                    <a:pt x="68" y="0"/>
                  </a:lnTo>
                  <a:lnTo>
                    <a:pt x="60" y="0"/>
                  </a:lnTo>
                  <a:lnTo>
                    <a:pt x="53" y="1"/>
                  </a:lnTo>
                  <a:lnTo>
                    <a:pt x="48" y="3"/>
                  </a:lnTo>
                  <a:lnTo>
                    <a:pt x="41" y="5"/>
                  </a:lnTo>
                  <a:lnTo>
                    <a:pt x="35" y="8"/>
                  </a:lnTo>
                  <a:lnTo>
                    <a:pt x="30" y="12"/>
                  </a:lnTo>
                  <a:lnTo>
                    <a:pt x="24" y="15"/>
                  </a:lnTo>
                  <a:lnTo>
                    <a:pt x="19" y="20"/>
                  </a:lnTo>
                  <a:lnTo>
                    <a:pt x="15" y="24"/>
                  </a:lnTo>
                  <a:lnTo>
                    <a:pt x="11" y="30"/>
                  </a:lnTo>
                  <a:lnTo>
                    <a:pt x="8" y="35"/>
                  </a:lnTo>
                  <a:lnTo>
                    <a:pt x="5" y="41"/>
                  </a:lnTo>
                  <a:lnTo>
                    <a:pt x="2" y="48"/>
                  </a:lnTo>
                  <a:lnTo>
                    <a:pt x="1" y="53"/>
                  </a:lnTo>
                  <a:lnTo>
                    <a:pt x="0" y="60"/>
                  </a:lnTo>
                  <a:lnTo>
                    <a:pt x="0" y="68"/>
                  </a:lnTo>
                  <a:lnTo>
                    <a:pt x="0" y="621"/>
                  </a:lnTo>
                  <a:lnTo>
                    <a:pt x="0" y="628"/>
                  </a:lnTo>
                  <a:lnTo>
                    <a:pt x="1" y="634"/>
                  </a:lnTo>
                  <a:lnTo>
                    <a:pt x="2" y="641"/>
                  </a:lnTo>
                  <a:lnTo>
                    <a:pt x="5" y="647"/>
                  </a:lnTo>
                  <a:lnTo>
                    <a:pt x="8" y="654"/>
                  </a:lnTo>
                  <a:lnTo>
                    <a:pt x="11" y="659"/>
                  </a:lnTo>
                  <a:lnTo>
                    <a:pt x="15" y="664"/>
                  </a:lnTo>
                  <a:lnTo>
                    <a:pt x="19" y="668"/>
                  </a:lnTo>
                  <a:lnTo>
                    <a:pt x="24" y="673"/>
                  </a:lnTo>
                  <a:lnTo>
                    <a:pt x="30" y="677"/>
                  </a:lnTo>
                  <a:lnTo>
                    <a:pt x="35" y="681"/>
                  </a:lnTo>
                  <a:lnTo>
                    <a:pt x="41" y="683"/>
                  </a:lnTo>
                  <a:lnTo>
                    <a:pt x="48" y="685"/>
                  </a:lnTo>
                  <a:lnTo>
                    <a:pt x="53" y="688"/>
                  </a:lnTo>
                  <a:lnTo>
                    <a:pt x="60" y="689"/>
                  </a:lnTo>
                  <a:lnTo>
                    <a:pt x="68" y="689"/>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65" name="Rectangle 921"/>
            <p:cNvSpPr>
              <a:spLocks noChangeArrowheads="1"/>
            </p:cNvSpPr>
            <p:nvPr/>
          </p:nvSpPr>
          <p:spPr bwMode="auto">
            <a:xfrm>
              <a:off x="2746" y="3208"/>
              <a:ext cx="31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Materials</a:t>
              </a:r>
              <a:endParaRPr lang="en-US" sz="1800" b="0" kern="0" baseline="0">
                <a:solidFill>
                  <a:sysClr val="windowText" lastClr="000000"/>
                </a:solidFill>
                <a:latin typeface="Arial" charset="0"/>
                <a:ea typeface="ＭＳ Ｐゴシック"/>
                <a:cs typeface="ＭＳ Ｐゴシック"/>
              </a:endParaRPr>
            </a:p>
          </p:txBody>
        </p:sp>
        <p:sp>
          <p:nvSpPr>
            <p:cNvPr id="366" name="Freeform 922"/>
            <p:cNvSpPr>
              <a:spLocks/>
            </p:cNvSpPr>
            <p:nvPr/>
          </p:nvSpPr>
          <p:spPr bwMode="auto">
            <a:xfrm>
              <a:off x="3266" y="3141"/>
              <a:ext cx="363" cy="168"/>
            </a:xfrm>
            <a:custGeom>
              <a:avLst/>
              <a:gdLst>
                <a:gd name="T0" fmla="*/ 113 w 1089"/>
                <a:gd name="T1" fmla="*/ 41 h 689"/>
                <a:gd name="T2" fmla="*/ 115 w 1089"/>
                <a:gd name="T3" fmla="*/ 41 h 689"/>
                <a:gd name="T4" fmla="*/ 116 w 1089"/>
                <a:gd name="T5" fmla="*/ 41 h 689"/>
                <a:gd name="T6" fmla="*/ 118 w 1089"/>
                <a:gd name="T7" fmla="*/ 40 h 689"/>
                <a:gd name="T8" fmla="*/ 119 w 1089"/>
                <a:gd name="T9" fmla="*/ 40 h 689"/>
                <a:gd name="T10" fmla="*/ 120 w 1089"/>
                <a:gd name="T11" fmla="*/ 39 h 689"/>
                <a:gd name="T12" fmla="*/ 120 w 1089"/>
                <a:gd name="T13" fmla="*/ 39 h 689"/>
                <a:gd name="T14" fmla="*/ 121 w 1089"/>
                <a:gd name="T15" fmla="*/ 38 h 689"/>
                <a:gd name="T16" fmla="*/ 121 w 1089"/>
                <a:gd name="T17" fmla="*/ 37 h 689"/>
                <a:gd name="T18" fmla="*/ 121 w 1089"/>
                <a:gd name="T19" fmla="*/ 4 h 689"/>
                <a:gd name="T20" fmla="*/ 121 w 1089"/>
                <a:gd name="T21" fmla="*/ 3 h 689"/>
                <a:gd name="T22" fmla="*/ 120 w 1089"/>
                <a:gd name="T23" fmla="*/ 2 h 689"/>
                <a:gd name="T24" fmla="*/ 120 w 1089"/>
                <a:gd name="T25" fmla="*/ 2 h 689"/>
                <a:gd name="T26" fmla="*/ 119 w 1089"/>
                <a:gd name="T27" fmla="*/ 1 h 689"/>
                <a:gd name="T28" fmla="*/ 118 w 1089"/>
                <a:gd name="T29" fmla="*/ 1 h 689"/>
                <a:gd name="T30" fmla="*/ 116 w 1089"/>
                <a:gd name="T31" fmla="*/ 0 h 689"/>
                <a:gd name="T32" fmla="*/ 115 w 1089"/>
                <a:gd name="T33" fmla="*/ 0 h 689"/>
                <a:gd name="T34" fmla="*/ 113 w 1089"/>
                <a:gd name="T35" fmla="*/ 0 h 689"/>
                <a:gd name="T36" fmla="*/ 7 w 1089"/>
                <a:gd name="T37" fmla="*/ 0 h 689"/>
                <a:gd name="T38" fmla="*/ 5 w 1089"/>
                <a:gd name="T39" fmla="*/ 0 h 689"/>
                <a:gd name="T40" fmla="*/ 4 w 1089"/>
                <a:gd name="T41" fmla="*/ 0 h 689"/>
                <a:gd name="T42" fmla="*/ 3 w 1089"/>
                <a:gd name="T43" fmla="*/ 1 h 689"/>
                <a:gd name="T44" fmla="*/ 2 w 1089"/>
                <a:gd name="T45" fmla="*/ 1 h 689"/>
                <a:gd name="T46" fmla="*/ 1 w 1089"/>
                <a:gd name="T47" fmla="*/ 2 h 689"/>
                <a:gd name="T48" fmla="*/ 0 w 1089"/>
                <a:gd name="T49" fmla="*/ 3 h 689"/>
                <a:gd name="T50" fmla="*/ 0 w 1089"/>
                <a:gd name="T51" fmla="*/ 4 h 689"/>
                <a:gd name="T52" fmla="*/ 0 w 1089"/>
                <a:gd name="T53" fmla="*/ 37 h 689"/>
                <a:gd name="T54" fmla="*/ 0 w 1089"/>
                <a:gd name="T55" fmla="*/ 38 h 689"/>
                <a:gd name="T56" fmla="*/ 1 w 1089"/>
                <a:gd name="T57" fmla="*/ 39 h 689"/>
                <a:gd name="T58" fmla="*/ 1 w 1089"/>
                <a:gd name="T59" fmla="*/ 39 h 689"/>
                <a:gd name="T60" fmla="*/ 2 w 1089"/>
                <a:gd name="T61" fmla="*/ 40 h 689"/>
                <a:gd name="T62" fmla="*/ 3 w 1089"/>
                <a:gd name="T63" fmla="*/ 40 h 689"/>
                <a:gd name="T64" fmla="*/ 5 w 1089"/>
                <a:gd name="T65" fmla="*/ 41 h 689"/>
                <a:gd name="T66" fmla="*/ 6 w 1089"/>
                <a:gd name="T67" fmla="*/ 41 h 689"/>
                <a:gd name="T68" fmla="*/ 8 w 1089"/>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9"/>
                <a:gd name="T107" fmla="*/ 1089 w 1089"/>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9">
                  <a:moveTo>
                    <a:pt x="68" y="689"/>
                  </a:moveTo>
                  <a:lnTo>
                    <a:pt x="1021" y="689"/>
                  </a:lnTo>
                  <a:lnTo>
                    <a:pt x="1028" y="689"/>
                  </a:lnTo>
                  <a:lnTo>
                    <a:pt x="1034" y="688"/>
                  </a:lnTo>
                  <a:lnTo>
                    <a:pt x="1041" y="685"/>
                  </a:lnTo>
                  <a:lnTo>
                    <a:pt x="1047" y="683"/>
                  </a:lnTo>
                  <a:lnTo>
                    <a:pt x="1054" y="681"/>
                  </a:lnTo>
                  <a:lnTo>
                    <a:pt x="1059" y="677"/>
                  </a:lnTo>
                  <a:lnTo>
                    <a:pt x="1064" y="673"/>
                  </a:lnTo>
                  <a:lnTo>
                    <a:pt x="1068" y="668"/>
                  </a:lnTo>
                  <a:lnTo>
                    <a:pt x="1073" y="664"/>
                  </a:lnTo>
                  <a:lnTo>
                    <a:pt x="1077" y="659"/>
                  </a:lnTo>
                  <a:lnTo>
                    <a:pt x="1081" y="654"/>
                  </a:lnTo>
                  <a:lnTo>
                    <a:pt x="1083" y="647"/>
                  </a:lnTo>
                  <a:lnTo>
                    <a:pt x="1085" y="641"/>
                  </a:lnTo>
                  <a:lnTo>
                    <a:pt x="1087" y="634"/>
                  </a:lnTo>
                  <a:lnTo>
                    <a:pt x="1089" y="628"/>
                  </a:lnTo>
                  <a:lnTo>
                    <a:pt x="1089" y="621"/>
                  </a:lnTo>
                  <a:lnTo>
                    <a:pt x="1089" y="68"/>
                  </a:lnTo>
                  <a:lnTo>
                    <a:pt x="1089" y="60"/>
                  </a:lnTo>
                  <a:lnTo>
                    <a:pt x="1087" y="53"/>
                  </a:lnTo>
                  <a:lnTo>
                    <a:pt x="1085" y="48"/>
                  </a:lnTo>
                  <a:lnTo>
                    <a:pt x="1083" y="41"/>
                  </a:lnTo>
                  <a:lnTo>
                    <a:pt x="1081" y="35"/>
                  </a:lnTo>
                  <a:lnTo>
                    <a:pt x="1077" y="30"/>
                  </a:lnTo>
                  <a:lnTo>
                    <a:pt x="1073" y="24"/>
                  </a:lnTo>
                  <a:lnTo>
                    <a:pt x="1068" y="20"/>
                  </a:lnTo>
                  <a:lnTo>
                    <a:pt x="1064" y="15"/>
                  </a:lnTo>
                  <a:lnTo>
                    <a:pt x="1059" y="12"/>
                  </a:lnTo>
                  <a:lnTo>
                    <a:pt x="1054" y="8"/>
                  </a:lnTo>
                  <a:lnTo>
                    <a:pt x="1047" y="5"/>
                  </a:lnTo>
                  <a:lnTo>
                    <a:pt x="1041" y="3"/>
                  </a:lnTo>
                  <a:lnTo>
                    <a:pt x="1034" y="1"/>
                  </a:lnTo>
                  <a:lnTo>
                    <a:pt x="1028" y="0"/>
                  </a:lnTo>
                  <a:lnTo>
                    <a:pt x="1021" y="0"/>
                  </a:lnTo>
                  <a:lnTo>
                    <a:pt x="68" y="0"/>
                  </a:lnTo>
                  <a:lnTo>
                    <a:pt x="60" y="0"/>
                  </a:lnTo>
                  <a:lnTo>
                    <a:pt x="53" y="1"/>
                  </a:lnTo>
                  <a:lnTo>
                    <a:pt x="48" y="3"/>
                  </a:lnTo>
                  <a:lnTo>
                    <a:pt x="41" y="5"/>
                  </a:lnTo>
                  <a:lnTo>
                    <a:pt x="35" y="8"/>
                  </a:lnTo>
                  <a:lnTo>
                    <a:pt x="30" y="12"/>
                  </a:lnTo>
                  <a:lnTo>
                    <a:pt x="24" y="15"/>
                  </a:lnTo>
                  <a:lnTo>
                    <a:pt x="19" y="20"/>
                  </a:lnTo>
                  <a:lnTo>
                    <a:pt x="15" y="24"/>
                  </a:lnTo>
                  <a:lnTo>
                    <a:pt x="12" y="30"/>
                  </a:lnTo>
                  <a:lnTo>
                    <a:pt x="8" y="35"/>
                  </a:lnTo>
                  <a:lnTo>
                    <a:pt x="5" y="41"/>
                  </a:lnTo>
                  <a:lnTo>
                    <a:pt x="3" y="48"/>
                  </a:lnTo>
                  <a:lnTo>
                    <a:pt x="1" y="53"/>
                  </a:lnTo>
                  <a:lnTo>
                    <a:pt x="0" y="60"/>
                  </a:lnTo>
                  <a:lnTo>
                    <a:pt x="0" y="68"/>
                  </a:lnTo>
                  <a:lnTo>
                    <a:pt x="0" y="621"/>
                  </a:lnTo>
                  <a:lnTo>
                    <a:pt x="0" y="628"/>
                  </a:lnTo>
                  <a:lnTo>
                    <a:pt x="1" y="634"/>
                  </a:lnTo>
                  <a:lnTo>
                    <a:pt x="3" y="641"/>
                  </a:lnTo>
                  <a:lnTo>
                    <a:pt x="5" y="647"/>
                  </a:lnTo>
                  <a:lnTo>
                    <a:pt x="8" y="654"/>
                  </a:lnTo>
                  <a:lnTo>
                    <a:pt x="12" y="659"/>
                  </a:lnTo>
                  <a:lnTo>
                    <a:pt x="15" y="664"/>
                  </a:lnTo>
                  <a:lnTo>
                    <a:pt x="19" y="668"/>
                  </a:lnTo>
                  <a:lnTo>
                    <a:pt x="24" y="673"/>
                  </a:lnTo>
                  <a:lnTo>
                    <a:pt x="30" y="677"/>
                  </a:lnTo>
                  <a:lnTo>
                    <a:pt x="35" y="681"/>
                  </a:lnTo>
                  <a:lnTo>
                    <a:pt x="41" y="683"/>
                  </a:lnTo>
                  <a:lnTo>
                    <a:pt x="48" y="685"/>
                  </a:lnTo>
                  <a:lnTo>
                    <a:pt x="53" y="688"/>
                  </a:lnTo>
                  <a:lnTo>
                    <a:pt x="60" y="689"/>
                  </a:lnTo>
                  <a:lnTo>
                    <a:pt x="68" y="689"/>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67" name="Freeform 923"/>
            <p:cNvSpPr>
              <a:spLocks/>
            </p:cNvSpPr>
            <p:nvPr/>
          </p:nvSpPr>
          <p:spPr bwMode="auto">
            <a:xfrm>
              <a:off x="3266" y="3141"/>
              <a:ext cx="363" cy="168"/>
            </a:xfrm>
            <a:custGeom>
              <a:avLst/>
              <a:gdLst>
                <a:gd name="T0" fmla="*/ 113 w 1089"/>
                <a:gd name="T1" fmla="*/ 41 h 689"/>
                <a:gd name="T2" fmla="*/ 115 w 1089"/>
                <a:gd name="T3" fmla="*/ 41 h 689"/>
                <a:gd name="T4" fmla="*/ 116 w 1089"/>
                <a:gd name="T5" fmla="*/ 41 h 689"/>
                <a:gd name="T6" fmla="*/ 118 w 1089"/>
                <a:gd name="T7" fmla="*/ 40 h 689"/>
                <a:gd name="T8" fmla="*/ 119 w 1089"/>
                <a:gd name="T9" fmla="*/ 40 h 689"/>
                <a:gd name="T10" fmla="*/ 120 w 1089"/>
                <a:gd name="T11" fmla="*/ 39 h 689"/>
                <a:gd name="T12" fmla="*/ 120 w 1089"/>
                <a:gd name="T13" fmla="*/ 39 h 689"/>
                <a:gd name="T14" fmla="*/ 121 w 1089"/>
                <a:gd name="T15" fmla="*/ 38 h 689"/>
                <a:gd name="T16" fmla="*/ 121 w 1089"/>
                <a:gd name="T17" fmla="*/ 37 h 689"/>
                <a:gd name="T18" fmla="*/ 121 w 1089"/>
                <a:gd name="T19" fmla="*/ 4 h 689"/>
                <a:gd name="T20" fmla="*/ 121 w 1089"/>
                <a:gd name="T21" fmla="*/ 3 h 689"/>
                <a:gd name="T22" fmla="*/ 120 w 1089"/>
                <a:gd name="T23" fmla="*/ 2 h 689"/>
                <a:gd name="T24" fmla="*/ 120 w 1089"/>
                <a:gd name="T25" fmla="*/ 2 h 689"/>
                <a:gd name="T26" fmla="*/ 119 w 1089"/>
                <a:gd name="T27" fmla="*/ 1 h 689"/>
                <a:gd name="T28" fmla="*/ 118 w 1089"/>
                <a:gd name="T29" fmla="*/ 1 h 689"/>
                <a:gd name="T30" fmla="*/ 116 w 1089"/>
                <a:gd name="T31" fmla="*/ 0 h 689"/>
                <a:gd name="T32" fmla="*/ 115 w 1089"/>
                <a:gd name="T33" fmla="*/ 0 h 689"/>
                <a:gd name="T34" fmla="*/ 113 w 1089"/>
                <a:gd name="T35" fmla="*/ 0 h 689"/>
                <a:gd name="T36" fmla="*/ 7 w 1089"/>
                <a:gd name="T37" fmla="*/ 0 h 689"/>
                <a:gd name="T38" fmla="*/ 5 w 1089"/>
                <a:gd name="T39" fmla="*/ 0 h 689"/>
                <a:gd name="T40" fmla="*/ 4 w 1089"/>
                <a:gd name="T41" fmla="*/ 0 h 689"/>
                <a:gd name="T42" fmla="*/ 3 w 1089"/>
                <a:gd name="T43" fmla="*/ 1 h 689"/>
                <a:gd name="T44" fmla="*/ 2 w 1089"/>
                <a:gd name="T45" fmla="*/ 1 h 689"/>
                <a:gd name="T46" fmla="*/ 1 w 1089"/>
                <a:gd name="T47" fmla="*/ 2 h 689"/>
                <a:gd name="T48" fmla="*/ 0 w 1089"/>
                <a:gd name="T49" fmla="*/ 3 h 689"/>
                <a:gd name="T50" fmla="*/ 0 w 1089"/>
                <a:gd name="T51" fmla="*/ 4 h 689"/>
                <a:gd name="T52" fmla="*/ 0 w 1089"/>
                <a:gd name="T53" fmla="*/ 37 h 689"/>
                <a:gd name="T54" fmla="*/ 0 w 1089"/>
                <a:gd name="T55" fmla="*/ 38 h 689"/>
                <a:gd name="T56" fmla="*/ 1 w 1089"/>
                <a:gd name="T57" fmla="*/ 39 h 689"/>
                <a:gd name="T58" fmla="*/ 1 w 1089"/>
                <a:gd name="T59" fmla="*/ 39 h 689"/>
                <a:gd name="T60" fmla="*/ 2 w 1089"/>
                <a:gd name="T61" fmla="*/ 40 h 689"/>
                <a:gd name="T62" fmla="*/ 3 w 1089"/>
                <a:gd name="T63" fmla="*/ 40 h 689"/>
                <a:gd name="T64" fmla="*/ 5 w 1089"/>
                <a:gd name="T65" fmla="*/ 41 h 689"/>
                <a:gd name="T66" fmla="*/ 6 w 1089"/>
                <a:gd name="T67" fmla="*/ 41 h 689"/>
                <a:gd name="T68" fmla="*/ 8 w 1089"/>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9"/>
                <a:gd name="T107" fmla="*/ 1089 w 1089"/>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9">
                  <a:moveTo>
                    <a:pt x="68" y="689"/>
                  </a:moveTo>
                  <a:lnTo>
                    <a:pt x="1021" y="689"/>
                  </a:lnTo>
                  <a:lnTo>
                    <a:pt x="1028" y="689"/>
                  </a:lnTo>
                  <a:lnTo>
                    <a:pt x="1034" y="688"/>
                  </a:lnTo>
                  <a:lnTo>
                    <a:pt x="1041" y="685"/>
                  </a:lnTo>
                  <a:lnTo>
                    <a:pt x="1047" y="683"/>
                  </a:lnTo>
                  <a:lnTo>
                    <a:pt x="1054" y="681"/>
                  </a:lnTo>
                  <a:lnTo>
                    <a:pt x="1059" y="677"/>
                  </a:lnTo>
                  <a:lnTo>
                    <a:pt x="1064" y="673"/>
                  </a:lnTo>
                  <a:lnTo>
                    <a:pt x="1068" y="668"/>
                  </a:lnTo>
                  <a:lnTo>
                    <a:pt x="1073" y="664"/>
                  </a:lnTo>
                  <a:lnTo>
                    <a:pt x="1077" y="659"/>
                  </a:lnTo>
                  <a:lnTo>
                    <a:pt x="1081" y="654"/>
                  </a:lnTo>
                  <a:lnTo>
                    <a:pt x="1083" y="647"/>
                  </a:lnTo>
                  <a:lnTo>
                    <a:pt x="1085" y="641"/>
                  </a:lnTo>
                  <a:lnTo>
                    <a:pt x="1087" y="634"/>
                  </a:lnTo>
                  <a:lnTo>
                    <a:pt x="1089" y="628"/>
                  </a:lnTo>
                  <a:lnTo>
                    <a:pt x="1089" y="621"/>
                  </a:lnTo>
                  <a:lnTo>
                    <a:pt x="1089" y="68"/>
                  </a:lnTo>
                  <a:lnTo>
                    <a:pt x="1089" y="60"/>
                  </a:lnTo>
                  <a:lnTo>
                    <a:pt x="1087" y="53"/>
                  </a:lnTo>
                  <a:lnTo>
                    <a:pt x="1085" y="48"/>
                  </a:lnTo>
                  <a:lnTo>
                    <a:pt x="1083" y="41"/>
                  </a:lnTo>
                  <a:lnTo>
                    <a:pt x="1081" y="35"/>
                  </a:lnTo>
                  <a:lnTo>
                    <a:pt x="1077" y="30"/>
                  </a:lnTo>
                  <a:lnTo>
                    <a:pt x="1073" y="24"/>
                  </a:lnTo>
                  <a:lnTo>
                    <a:pt x="1068" y="20"/>
                  </a:lnTo>
                  <a:lnTo>
                    <a:pt x="1064" y="15"/>
                  </a:lnTo>
                  <a:lnTo>
                    <a:pt x="1059" y="12"/>
                  </a:lnTo>
                  <a:lnTo>
                    <a:pt x="1054" y="8"/>
                  </a:lnTo>
                  <a:lnTo>
                    <a:pt x="1047" y="5"/>
                  </a:lnTo>
                  <a:lnTo>
                    <a:pt x="1041" y="3"/>
                  </a:lnTo>
                  <a:lnTo>
                    <a:pt x="1034" y="1"/>
                  </a:lnTo>
                  <a:lnTo>
                    <a:pt x="1028" y="0"/>
                  </a:lnTo>
                  <a:lnTo>
                    <a:pt x="1021" y="0"/>
                  </a:lnTo>
                  <a:lnTo>
                    <a:pt x="68" y="0"/>
                  </a:lnTo>
                  <a:lnTo>
                    <a:pt x="60" y="0"/>
                  </a:lnTo>
                  <a:lnTo>
                    <a:pt x="53" y="1"/>
                  </a:lnTo>
                  <a:lnTo>
                    <a:pt x="48" y="3"/>
                  </a:lnTo>
                  <a:lnTo>
                    <a:pt x="41" y="5"/>
                  </a:lnTo>
                  <a:lnTo>
                    <a:pt x="35" y="8"/>
                  </a:lnTo>
                  <a:lnTo>
                    <a:pt x="30" y="12"/>
                  </a:lnTo>
                  <a:lnTo>
                    <a:pt x="24" y="15"/>
                  </a:lnTo>
                  <a:lnTo>
                    <a:pt x="19" y="20"/>
                  </a:lnTo>
                  <a:lnTo>
                    <a:pt x="15" y="24"/>
                  </a:lnTo>
                  <a:lnTo>
                    <a:pt x="12" y="30"/>
                  </a:lnTo>
                  <a:lnTo>
                    <a:pt x="8" y="35"/>
                  </a:lnTo>
                  <a:lnTo>
                    <a:pt x="5" y="41"/>
                  </a:lnTo>
                  <a:lnTo>
                    <a:pt x="3" y="48"/>
                  </a:lnTo>
                  <a:lnTo>
                    <a:pt x="1" y="53"/>
                  </a:lnTo>
                  <a:lnTo>
                    <a:pt x="0" y="60"/>
                  </a:lnTo>
                  <a:lnTo>
                    <a:pt x="0" y="68"/>
                  </a:lnTo>
                  <a:lnTo>
                    <a:pt x="0" y="621"/>
                  </a:lnTo>
                  <a:lnTo>
                    <a:pt x="0" y="628"/>
                  </a:lnTo>
                  <a:lnTo>
                    <a:pt x="1" y="634"/>
                  </a:lnTo>
                  <a:lnTo>
                    <a:pt x="3" y="641"/>
                  </a:lnTo>
                  <a:lnTo>
                    <a:pt x="5" y="647"/>
                  </a:lnTo>
                  <a:lnTo>
                    <a:pt x="8" y="654"/>
                  </a:lnTo>
                  <a:lnTo>
                    <a:pt x="12" y="659"/>
                  </a:lnTo>
                  <a:lnTo>
                    <a:pt x="15" y="664"/>
                  </a:lnTo>
                  <a:lnTo>
                    <a:pt x="19" y="668"/>
                  </a:lnTo>
                  <a:lnTo>
                    <a:pt x="24" y="673"/>
                  </a:lnTo>
                  <a:lnTo>
                    <a:pt x="30" y="677"/>
                  </a:lnTo>
                  <a:lnTo>
                    <a:pt x="35" y="681"/>
                  </a:lnTo>
                  <a:lnTo>
                    <a:pt x="41" y="683"/>
                  </a:lnTo>
                  <a:lnTo>
                    <a:pt x="48" y="685"/>
                  </a:lnTo>
                  <a:lnTo>
                    <a:pt x="53" y="688"/>
                  </a:lnTo>
                  <a:lnTo>
                    <a:pt x="60" y="689"/>
                  </a:lnTo>
                  <a:lnTo>
                    <a:pt x="68" y="689"/>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68" name="Rectangle 924"/>
            <p:cNvSpPr>
              <a:spLocks noChangeArrowheads="1"/>
            </p:cNvSpPr>
            <p:nvPr/>
          </p:nvSpPr>
          <p:spPr bwMode="auto">
            <a:xfrm>
              <a:off x="3314" y="3190"/>
              <a:ext cx="13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ceipt</a:t>
              </a:r>
              <a:endParaRPr lang="en-US" sz="1800" b="0" kern="0" baseline="0">
                <a:solidFill>
                  <a:sysClr val="windowText" lastClr="000000"/>
                </a:solidFill>
                <a:latin typeface="Arial" charset="0"/>
                <a:ea typeface="ＭＳ Ｐゴシック"/>
                <a:cs typeface="ＭＳ Ｐゴシック"/>
              </a:endParaRPr>
            </a:p>
          </p:txBody>
        </p:sp>
        <p:sp>
          <p:nvSpPr>
            <p:cNvPr id="369" name="Rectangle 925"/>
            <p:cNvSpPr>
              <a:spLocks noChangeArrowheads="1"/>
            </p:cNvSpPr>
            <p:nvPr/>
          </p:nvSpPr>
          <p:spPr bwMode="auto">
            <a:xfrm>
              <a:off x="3450" y="3190"/>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370" name="Rectangle 926"/>
            <p:cNvSpPr>
              <a:spLocks noChangeArrowheads="1"/>
            </p:cNvSpPr>
            <p:nvPr/>
          </p:nvSpPr>
          <p:spPr bwMode="auto">
            <a:xfrm>
              <a:off x="3473" y="3190"/>
              <a:ext cx="9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Store</a:t>
              </a:r>
              <a:endParaRPr lang="en-US" sz="1800" b="0" kern="0" baseline="0">
                <a:solidFill>
                  <a:sysClr val="windowText" lastClr="000000"/>
                </a:solidFill>
                <a:latin typeface="Arial" charset="0"/>
                <a:ea typeface="ＭＳ Ｐゴシック"/>
                <a:cs typeface="ＭＳ Ｐゴシック"/>
              </a:endParaRPr>
            </a:p>
          </p:txBody>
        </p:sp>
        <p:sp>
          <p:nvSpPr>
            <p:cNvPr id="371" name="Rectangle 927"/>
            <p:cNvSpPr>
              <a:spLocks noChangeArrowheads="1"/>
            </p:cNvSpPr>
            <p:nvPr/>
          </p:nvSpPr>
          <p:spPr bwMode="auto">
            <a:xfrm>
              <a:off x="3569" y="3190"/>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372" name="Rectangle 928"/>
            <p:cNvSpPr>
              <a:spLocks noChangeArrowheads="1"/>
            </p:cNvSpPr>
            <p:nvPr/>
          </p:nvSpPr>
          <p:spPr bwMode="auto">
            <a:xfrm>
              <a:off x="3345" y="3225"/>
              <a:ext cx="20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nd Deliver</a:t>
              </a:r>
              <a:endParaRPr lang="en-US" sz="1800" b="0" kern="0" baseline="0">
                <a:solidFill>
                  <a:sysClr val="windowText" lastClr="000000"/>
                </a:solidFill>
                <a:latin typeface="Arial" charset="0"/>
                <a:ea typeface="ＭＳ Ｐゴシック"/>
                <a:cs typeface="ＭＳ Ｐゴシック"/>
              </a:endParaRPr>
            </a:p>
          </p:txBody>
        </p:sp>
        <p:sp>
          <p:nvSpPr>
            <p:cNvPr id="373" name="Freeform 929"/>
            <p:cNvSpPr>
              <a:spLocks/>
            </p:cNvSpPr>
            <p:nvPr/>
          </p:nvSpPr>
          <p:spPr bwMode="auto">
            <a:xfrm>
              <a:off x="3807" y="3141"/>
              <a:ext cx="363" cy="168"/>
            </a:xfrm>
            <a:custGeom>
              <a:avLst/>
              <a:gdLst>
                <a:gd name="T0" fmla="*/ 113 w 1089"/>
                <a:gd name="T1" fmla="*/ 41 h 689"/>
                <a:gd name="T2" fmla="*/ 115 w 1089"/>
                <a:gd name="T3" fmla="*/ 41 h 689"/>
                <a:gd name="T4" fmla="*/ 116 w 1089"/>
                <a:gd name="T5" fmla="*/ 41 h 689"/>
                <a:gd name="T6" fmla="*/ 118 w 1089"/>
                <a:gd name="T7" fmla="*/ 40 h 689"/>
                <a:gd name="T8" fmla="*/ 119 w 1089"/>
                <a:gd name="T9" fmla="*/ 40 h 689"/>
                <a:gd name="T10" fmla="*/ 120 w 1089"/>
                <a:gd name="T11" fmla="*/ 39 h 689"/>
                <a:gd name="T12" fmla="*/ 120 w 1089"/>
                <a:gd name="T13" fmla="*/ 39 h 689"/>
                <a:gd name="T14" fmla="*/ 121 w 1089"/>
                <a:gd name="T15" fmla="*/ 38 h 689"/>
                <a:gd name="T16" fmla="*/ 121 w 1089"/>
                <a:gd name="T17" fmla="*/ 37 h 689"/>
                <a:gd name="T18" fmla="*/ 121 w 1089"/>
                <a:gd name="T19" fmla="*/ 4 h 689"/>
                <a:gd name="T20" fmla="*/ 121 w 1089"/>
                <a:gd name="T21" fmla="*/ 3 h 689"/>
                <a:gd name="T22" fmla="*/ 120 w 1089"/>
                <a:gd name="T23" fmla="*/ 2 h 689"/>
                <a:gd name="T24" fmla="*/ 120 w 1089"/>
                <a:gd name="T25" fmla="*/ 2 h 689"/>
                <a:gd name="T26" fmla="*/ 119 w 1089"/>
                <a:gd name="T27" fmla="*/ 1 h 689"/>
                <a:gd name="T28" fmla="*/ 118 w 1089"/>
                <a:gd name="T29" fmla="*/ 1 h 689"/>
                <a:gd name="T30" fmla="*/ 116 w 1089"/>
                <a:gd name="T31" fmla="*/ 0 h 689"/>
                <a:gd name="T32" fmla="*/ 115 w 1089"/>
                <a:gd name="T33" fmla="*/ 0 h 689"/>
                <a:gd name="T34" fmla="*/ 113 w 1089"/>
                <a:gd name="T35" fmla="*/ 0 h 689"/>
                <a:gd name="T36" fmla="*/ 7 w 1089"/>
                <a:gd name="T37" fmla="*/ 0 h 689"/>
                <a:gd name="T38" fmla="*/ 5 w 1089"/>
                <a:gd name="T39" fmla="*/ 0 h 689"/>
                <a:gd name="T40" fmla="*/ 4 w 1089"/>
                <a:gd name="T41" fmla="*/ 0 h 689"/>
                <a:gd name="T42" fmla="*/ 3 w 1089"/>
                <a:gd name="T43" fmla="*/ 1 h 689"/>
                <a:gd name="T44" fmla="*/ 2 w 1089"/>
                <a:gd name="T45" fmla="*/ 1 h 689"/>
                <a:gd name="T46" fmla="*/ 1 w 1089"/>
                <a:gd name="T47" fmla="*/ 2 h 689"/>
                <a:gd name="T48" fmla="*/ 0 w 1089"/>
                <a:gd name="T49" fmla="*/ 3 h 689"/>
                <a:gd name="T50" fmla="*/ 0 w 1089"/>
                <a:gd name="T51" fmla="*/ 4 h 689"/>
                <a:gd name="T52" fmla="*/ 0 w 1089"/>
                <a:gd name="T53" fmla="*/ 37 h 689"/>
                <a:gd name="T54" fmla="*/ 0 w 1089"/>
                <a:gd name="T55" fmla="*/ 38 h 689"/>
                <a:gd name="T56" fmla="*/ 1 w 1089"/>
                <a:gd name="T57" fmla="*/ 39 h 689"/>
                <a:gd name="T58" fmla="*/ 1 w 1089"/>
                <a:gd name="T59" fmla="*/ 39 h 689"/>
                <a:gd name="T60" fmla="*/ 2 w 1089"/>
                <a:gd name="T61" fmla="*/ 40 h 689"/>
                <a:gd name="T62" fmla="*/ 3 w 1089"/>
                <a:gd name="T63" fmla="*/ 40 h 689"/>
                <a:gd name="T64" fmla="*/ 5 w 1089"/>
                <a:gd name="T65" fmla="*/ 41 h 689"/>
                <a:gd name="T66" fmla="*/ 6 w 1089"/>
                <a:gd name="T67" fmla="*/ 41 h 689"/>
                <a:gd name="T68" fmla="*/ 8 w 1089"/>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9"/>
                <a:gd name="T107" fmla="*/ 1089 w 1089"/>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9">
                  <a:moveTo>
                    <a:pt x="68" y="689"/>
                  </a:moveTo>
                  <a:lnTo>
                    <a:pt x="1021" y="689"/>
                  </a:lnTo>
                  <a:lnTo>
                    <a:pt x="1028" y="689"/>
                  </a:lnTo>
                  <a:lnTo>
                    <a:pt x="1035" y="688"/>
                  </a:lnTo>
                  <a:lnTo>
                    <a:pt x="1041" y="685"/>
                  </a:lnTo>
                  <a:lnTo>
                    <a:pt x="1047" y="683"/>
                  </a:lnTo>
                  <a:lnTo>
                    <a:pt x="1054" y="681"/>
                  </a:lnTo>
                  <a:lnTo>
                    <a:pt x="1059" y="677"/>
                  </a:lnTo>
                  <a:lnTo>
                    <a:pt x="1064" y="673"/>
                  </a:lnTo>
                  <a:lnTo>
                    <a:pt x="1068" y="668"/>
                  </a:lnTo>
                  <a:lnTo>
                    <a:pt x="1073" y="664"/>
                  </a:lnTo>
                  <a:lnTo>
                    <a:pt x="1077" y="659"/>
                  </a:lnTo>
                  <a:lnTo>
                    <a:pt x="1081" y="654"/>
                  </a:lnTo>
                  <a:lnTo>
                    <a:pt x="1083" y="647"/>
                  </a:lnTo>
                  <a:lnTo>
                    <a:pt x="1085" y="641"/>
                  </a:lnTo>
                  <a:lnTo>
                    <a:pt x="1088" y="634"/>
                  </a:lnTo>
                  <a:lnTo>
                    <a:pt x="1089" y="628"/>
                  </a:lnTo>
                  <a:lnTo>
                    <a:pt x="1089" y="621"/>
                  </a:lnTo>
                  <a:lnTo>
                    <a:pt x="1089" y="68"/>
                  </a:lnTo>
                  <a:lnTo>
                    <a:pt x="1089" y="60"/>
                  </a:lnTo>
                  <a:lnTo>
                    <a:pt x="1088" y="53"/>
                  </a:lnTo>
                  <a:lnTo>
                    <a:pt x="1085" y="48"/>
                  </a:lnTo>
                  <a:lnTo>
                    <a:pt x="1083" y="41"/>
                  </a:lnTo>
                  <a:lnTo>
                    <a:pt x="1081" y="35"/>
                  </a:lnTo>
                  <a:lnTo>
                    <a:pt x="1077" y="30"/>
                  </a:lnTo>
                  <a:lnTo>
                    <a:pt x="1073" y="24"/>
                  </a:lnTo>
                  <a:lnTo>
                    <a:pt x="1068" y="20"/>
                  </a:lnTo>
                  <a:lnTo>
                    <a:pt x="1064" y="15"/>
                  </a:lnTo>
                  <a:lnTo>
                    <a:pt x="1059" y="12"/>
                  </a:lnTo>
                  <a:lnTo>
                    <a:pt x="1054" y="8"/>
                  </a:lnTo>
                  <a:lnTo>
                    <a:pt x="1047" y="5"/>
                  </a:lnTo>
                  <a:lnTo>
                    <a:pt x="1041" y="3"/>
                  </a:lnTo>
                  <a:lnTo>
                    <a:pt x="1035" y="1"/>
                  </a:lnTo>
                  <a:lnTo>
                    <a:pt x="1028" y="0"/>
                  </a:lnTo>
                  <a:lnTo>
                    <a:pt x="1021" y="0"/>
                  </a:lnTo>
                  <a:lnTo>
                    <a:pt x="68" y="0"/>
                  </a:lnTo>
                  <a:lnTo>
                    <a:pt x="60" y="0"/>
                  </a:lnTo>
                  <a:lnTo>
                    <a:pt x="54" y="1"/>
                  </a:lnTo>
                  <a:lnTo>
                    <a:pt x="48" y="3"/>
                  </a:lnTo>
                  <a:lnTo>
                    <a:pt x="41" y="5"/>
                  </a:lnTo>
                  <a:lnTo>
                    <a:pt x="35" y="8"/>
                  </a:lnTo>
                  <a:lnTo>
                    <a:pt x="30" y="12"/>
                  </a:lnTo>
                  <a:lnTo>
                    <a:pt x="24" y="15"/>
                  </a:lnTo>
                  <a:lnTo>
                    <a:pt x="20" y="20"/>
                  </a:lnTo>
                  <a:lnTo>
                    <a:pt x="15" y="24"/>
                  </a:lnTo>
                  <a:lnTo>
                    <a:pt x="12" y="30"/>
                  </a:lnTo>
                  <a:lnTo>
                    <a:pt x="8" y="35"/>
                  </a:lnTo>
                  <a:lnTo>
                    <a:pt x="5" y="41"/>
                  </a:lnTo>
                  <a:lnTo>
                    <a:pt x="3" y="48"/>
                  </a:lnTo>
                  <a:lnTo>
                    <a:pt x="2" y="53"/>
                  </a:lnTo>
                  <a:lnTo>
                    <a:pt x="0" y="60"/>
                  </a:lnTo>
                  <a:lnTo>
                    <a:pt x="0" y="68"/>
                  </a:lnTo>
                  <a:lnTo>
                    <a:pt x="0" y="621"/>
                  </a:lnTo>
                  <a:lnTo>
                    <a:pt x="0" y="628"/>
                  </a:lnTo>
                  <a:lnTo>
                    <a:pt x="2" y="634"/>
                  </a:lnTo>
                  <a:lnTo>
                    <a:pt x="3" y="641"/>
                  </a:lnTo>
                  <a:lnTo>
                    <a:pt x="5" y="647"/>
                  </a:lnTo>
                  <a:lnTo>
                    <a:pt x="8" y="654"/>
                  </a:lnTo>
                  <a:lnTo>
                    <a:pt x="12" y="659"/>
                  </a:lnTo>
                  <a:lnTo>
                    <a:pt x="15" y="664"/>
                  </a:lnTo>
                  <a:lnTo>
                    <a:pt x="20" y="668"/>
                  </a:lnTo>
                  <a:lnTo>
                    <a:pt x="24" y="673"/>
                  </a:lnTo>
                  <a:lnTo>
                    <a:pt x="30" y="677"/>
                  </a:lnTo>
                  <a:lnTo>
                    <a:pt x="35" y="681"/>
                  </a:lnTo>
                  <a:lnTo>
                    <a:pt x="41" y="683"/>
                  </a:lnTo>
                  <a:lnTo>
                    <a:pt x="48" y="685"/>
                  </a:lnTo>
                  <a:lnTo>
                    <a:pt x="54" y="688"/>
                  </a:lnTo>
                  <a:lnTo>
                    <a:pt x="60" y="689"/>
                  </a:lnTo>
                  <a:lnTo>
                    <a:pt x="68" y="689"/>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74" name="Freeform 930"/>
            <p:cNvSpPr>
              <a:spLocks/>
            </p:cNvSpPr>
            <p:nvPr/>
          </p:nvSpPr>
          <p:spPr bwMode="auto">
            <a:xfrm>
              <a:off x="3807" y="3141"/>
              <a:ext cx="363" cy="168"/>
            </a:xfrm>
            <a:custGeom>
              <a:avLst/>
              <a:gdLst>
                <a:gd name="T0" fmla="*/ 113 w 1089"/>
                <a:gd name="T1" fmla="*/ 41 h 689"/>
                <a:gd name="T2" fmla="*/ 115 w 1089"/>
                <a:gd name="T3" fmla="*/ 41 h 689"/>
                <a:gd name="T4" fmla="*/ 116 w 1089"/>
                <a:gd name="T5" fmla="*/ 41 h 689"/>
                <a:gd name="T6" fmla="*/ 118 w 1089"/>
                <a:gd name="T7" fmla="*/ 40 h 689"/>
                <a:gd name="T8" fmla="*/ 119 w 1089"/>
                <a:gd name="T9" fmla="*/ 40 h 689"/>
                <a:gd name="T10" fmla="*/ 120 w 1089"/>
                <a:gd name="T11" fmla="*/ 39 h 689"/>
                <a:gd name="T12" fmla="*/ 120 w 1089"/>
                <a:gd name="T13" fmla="*/ 39 h 689"/>
                <a:gd name="T14" fmla="*/ 121 w 1089"/>
                <a:gd name="T15" fmla="*/ 38 h 689"/>
                <a:gd name="T16" fmla="*/ 121 w 1089"/>
                <a:gd name="T17" fmla="*/ 37 h 689"/>
                <a:gd name="T18" fmla="*/ 121 w 1089"/>
                <a:gd name="T19" fmla="*/ 4 h 689"/>
                <a:gd name="T20" fmla="*/ 121 w 1089"/>
                <a:gd name="T21" fmla="*/ 3 h 689"/>
                <a:gd name="T22" fmla="*/ 120 w 1089"/>
                <a:gd name="T23" fmla="*/ 2 h 689"/>
                <a:gd name="T24" fmla="*/ 120 w 1089"/>
                <a:gd name="T25" fmla="*/ 2 h 689"/>
                <a:gd name="T26" fmla="*/ 119 w 1089"/>
                <a:gd name="T27" fmla="*/ 1 h 689"/>
                <a:gd name="T28" fmla="*/ 118 w 1089"/>
                <a:gd name="T29" fmla="*/ 1 h 689"/>
                <a:gd name="T30" fmla="*/ 116 w 1089"/>
                <a:gd name="T31" fmla="*/ 0 h 689"/>
                <a:gd name="T32" fmla="*/ 115 w 1089"/>
                <a:gd name="T33" fmla="*/ 0 h 689"/>
                <a:gd name="T34" fmla="*/ 113 w 1089"/>
                <a:gd name="T35" fmla="*/ 0 h 689"/>
                <a:gd name="T36" fmla="*/ 7 w 1089"/>
                <a:gd name="T37" fmla="*/ 0 h 689"/>
                <a:gd name="T38" fmla="*/ 5 w 1089"/>
                <a:gd name="T39" fmla="*/ 0 h 689"/>
                <a:gd name="T40" fmla="*/ 4 w 1089"/>
                <a:gd name="T41" fmla="*/ 0 h 689"/>
                <a:gd name="T42" fmla="*/ 3 w 1089"/>
                <a:gd name="T43" fmla="*/ 1 h 689"/>
                <a:gd name="T44" fmla="*/ 2 w 1089"/>
                <a:gd name="T45" fmla="*/ 1 h 689"/>
                <a:gd name="T46" fmla="*/ 1 w 1089"/>
                <a:gd name="T47" fmla="*/ 2 h 689"/>
                <a:gd name="T48" fmla="*/ 0 w 1089"/>
                <a:gd name="T49" fmla="*/ 3 h 689"/>
                <a:gd name="T50" fmla="*/ 0 w 1089"/>
                <a:gd name="T51" fmla="*/ 4 h 689"/>
                <a:gd name="T52" fmla="*/ 0 w 1089"/>
                <a:gd name="T53" fmla="*/ 37 h 689"/>
                <a:gd name="T54" fmla="*/ 0 w 1089"/>
                <a:gd name="T55" fmla="*/ 38 h 689"/>
                <a:gd name="T56" fmla="*/ 1 w 1089"/>
                <a:gd name="T57" fmla="*/ 39 h 689"/>
                <a:gd name="T58" fmla="*/ 1 w 1089"/>
                <a:gd name="T59" fmla="*/ 39 h 689"/>
                <a:gd name="T60" fmla="*/ 2 w 1089"/>
                <a:gd name="T61" fmla="*/ 40 h 689"/>
                <a:gd name="T62" fmla="*/ 3 w 1089"/>
                <a:gd name="T63" fmla="*/ 40 h 689"/>
                <a:gd name="T64" fmla="*/ 5 w 1089"/>
                <a:gd name="T65" fmla="*/ 41 h 689"/>
                <a:gd name="T66" fmla="*/ 6 w 1089"/>
                <a:gd name="T67" fmla="*/ 41 h 689"/>
                <a:gd name="T68" fmla="*/ 8 w 1089"/>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9"/>
                <a:gd name="T107" fmla="*/ 1089 w 1089"/>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9">
                  <a:moveTo>
                    <a:pt x="68" y="689"/>
                  </a:moveTo>
                  <a:lnTo>
                    <a:pt x="1021" y="689"/>
                  </a:lnTo>
                  <a:lnTo>
                    <a:pt x="1028" y="689"/>
                  </a:lnTo>
                  <a:lnTo>
                    <a:pt x="1035" y="688"/>
                  </a:lnTo>
                  <a:lnTo>
                    <a:pt x="1041" y="685"/>
                  </a:lnTo>
                  <a:lnTo>
                    <a:pt x="1047" y="683"/>
                  </a:lnTo>
                  <a:lnTo>
                    <a:pt x="1054" y="681"/>
                  </a:lnTo>
                  <a:lnTo>
                    <a:pt x="1059" y="677"/>
                  </a:lnTo>
                  <a:lnTo>
                    <a:pt x="1064" y="673"/>
                  </a:lnTo>
                  <a:lnTo>
                    <a:pt x="1068" y="668"/>
                  </a:lnTo>
                  <a:lnTo>
                    <a:pt x="1073" y="664"/>
                  </a:lnTo>
                  <a:lnTo>
                    <a:pt x="1077" y="659"/>
                  </a:lnTo>
                  <a:lnTo>
                    <a:pt x="1081" y="654"/>
                  </a:lnTo>
                  <a:lnTo>
                    <a:pt x="1083" y="647"/>
                  </a:lnTo>
                  <a:lnTo>
                    <a:pt x="1085" y="641"/>
                  </a:lnTo>
                  <a:lnTo>
                    <a:pt x="1088" y="634"/>
                  </a:lnTo>
                  <a:lnTo>
                    <a:pt x="1089" y="628"/>
                  </a:lnTo>
                  <a:lnTo>
                    <a:pt x="1089" y="621"/>
                  </a:lnTo>
                  <a:lnTo>
                    <a:pt x="1089" y="68"/>
                  </a:lnTo>
                  <a:lnTo>
                    <a:pt x="1089" y="60"/>
                  </a:lnTo>
                  <a:lnTo>
                    <a:pt x="1088" y="53"/>
                  </a:lnTo>
                  <a:lnTo>
                    <a:pt x="1085" y="48"/>
                  </a:lnTo>
                  <a:lnTo>
                    <a:pt x="1083" y="41"/>
                  </a:lnTo>
                  <a:lnTo>
                    <a:pt x="1081" y="35"/>
                  </a:lnTo>
                  <a:lnTo>
                    <a:pt x="1077" y="30"/>
                  </a:lnTo>
                  <a:lnTo>
                    <a:pt x="1073" y="24"/>
                  </a:lnTo>
                  <a:lnTo>
                    <a:pt x="1068" y="20"/>
                  </a:lnTo>
                  <a:lnTo>
                    <a:pt x="1064" y="15"/>
                  </a:lnTo>
                  <a:lnTo>
                    <a:pt x="1059" y="12"/>
                  </a:lnTo>
                  <a:lnTo>
                    <a:pt x="1054" y="8"/>
                  </a:lnTo>
                  <a:lnTo>
                    <a:pt x="1047" y="5"/>
                  </a:lnTo>
                  <a:lnTo>
                    <a:pt x="1041" y="3"/>
                  </a:lnTo>
                  <a:lnTo>
                    <a:pt x="1035" y="1"/>
                  </a:lnTo>
                  <a:lnTo>
                    <a:pt x="1028" y="0"/>
                  </a:lnTo>
                  <a:lnTo>
                    <a:pt x="1021" y="0"/>
                  </a:lnTo>
                  <a:lnTo>
                    <a:pt x="68" y="0"/>
                  </a:lnTo>
                  <a:lnTo>
                    <a:pt x="60" y="0"/>
                  </a:lnTo>
                  <a:lnTo>
                    <a:pt x="54" y="1"/>
                  </a:lnTo>
                  <a:lnTo>
                    <a:pt x="48" y="3"/>
                  </a:lnTo>
                  <a:lnTo>
                    <a:pt x="41" y="5"/>
                  </a:lnTo>
                  <a:lnTo>
                    <a:pt x="35" y="8"/>
                  </a:lnTo>
                  <a:lnTo>
                    <a:pt x="30" y="12"/>
                  </a:lnTo>
                  <a:lnTo>
                    <a:pt x="24" y="15"/>
                  </a:lnTo>
                  <a:lnTo>
                    <a:pt x="20" y="20"/>
                  </a:lnTo>
                  <a:lnTo>
                    <a:pt x="15" y="24"/>
                  </a:lnTo>
                  <a:lnTo>
                    <a:pt x="12" y="30"/>
                  </a:lnTo>
                  <a:lnTo>
                    <a:pt x="8" y="35"/>
                  </a:lnTo>
                  <a:lnTo>
                    <a:pt x="5" y="41"/>
                  </a:lnTo>
                  <a:lnTo>
                    <a:pt x="3" y="48"/>
                  </a:lnTo>
                  <a:lnTo>
                    <a:pt x="2" y="53"/>
                  </a:lnTo>
                  <a:lnTo>
                    <a:pt x="0" y="60"/>
                  </a:lnTo>
                  <a:lnTo>
                    <a:pt x="0" y="68"/>
                  </a:lnTo>
                  <a:lnTo>
                    <a:pt x="0" y="621"/>
                  </a:lnTo>
                  <a:lnTo>
                    <a:pt x="0" y="628"/>
                  </a:lnTo>
                  <a:lnTo>
                    <a:pt x="2" y="634"/>
                  </a:lnTo>
                  <a:lnTo>
                    <a:pt x="3" y="641"/>
                  </a:lnTo>
                  <a:lnTo>
                    <a:pt x="5" y="647"/>
                  </a:lnTo>
                  <a:lnTo>
                    <a:pt x="8" y="654"/>
                  </a:lnTo>
                  <a:lnTo>
                    <a:pt x="12" y="659"/>
                  </a:lnTo>
                  <a:lnTo>
                    <a:pt x="15" y="664"/>
                  </a:lnTo>
                  <a:lnTo>
                    <a:pt x="20" y="668"/>
                  </a:lnTo>
                  <a:lnTo>
                    <a:pt x="24" y="673"/>
                  </a:lnTo>
                  <a:lnTo>
                    <a:pt x="30" y="677"/>
                  </a:lnTo>
                  <a:lnTo>
                    <a:pt x="35" y="681"/>
                  </a:lnTo>
                  <a:lnTo>
                    <a:pt x="41" y="683"/>
                  </a:lnTo>
                  <a:lnTo>
                    <a:pt x="48" y="685"/>
                  </a:lnTo>
                  <a:lnTo>
                    <a:pt x="54" y="688"/>
                  </a:lnTo>
                  <a:lnTo>
                    <a:pt x="60" y="689"/>
                  </a:lnTo>
                  <a:lnTo>
                    <a:pt x="68" y="689"/>
                  </a:lnTo>
                </a:path>
              </a:pathLst>
            </a:custGeom>
            <a:no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75" name="Rectangle 931"/>
            <p:cNvSpPr>
              <a:spLocks noChangeArrowheads="1"/>
            </p:cNvSpPr>
            <p:nvPr/>
          </p:nvSpPr>
          <p:spPr bwMode="auto">
            <a:xfrm>
              <a:off x="3875" y="3208"/>
              <a:ext cx="22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ay Supplier</a:t>
              </a:r>
              <a:endParaRPr lang="en-US" sz="1800" b="0" kern="0" baseline="0">
                <a:solidFill>
                  <a:sysClr val="windowText" lastClr="000000"/>
                </a:solidFill>
                <a:latin typeface="Arial" charset="0"/>
                <a:ea typeface="ＭＳ Ｐゴシック"/>
                <a:cs typeface="ＭＳ Ｐゴシック"/>
              </a:endParaRPr>
            </a:p>
          </p:txBody>
        </p:sp>
        <p:sp>
          <p:nvSpPr>
            <p:cNvPr id="376" name="Freeform 932"/>
            <p:cNvSpPr>
              <a:spLocks/>
            </p:cNvSpPr>
            <p:nvPr/>
          </p:nvSpPr>
          <p:spPr bwMode="auto">
            <a:xfrm>
              <a:off x="1640" y="3141"/>
              <a:ext cx="363" cy="168"/>
            </a:xfrm>
            <a:custGeom>
              <a:avLst/>
              <a:gdLst>
                <a:gd name="T0" fmla="*/ 113 w 1088"/>
                <a:gd name="T1" fmla="*/ 41 h 690"/>
                <a:gd name="T2" fmla="*/ 115 w 1088"/>
                <a:gd name="T3" fmla="*/ 41 h 690"/>
                <a:gd name="T4" fmla="*/ 116 w 1088"/>
                <a:gd name="T5" fmla="*/ 41 h 690"/>
                <a:gd name="T6" fmla="*/ 118 w 1088"/>
                <a:gd name="T7" fmla="*/ 40 h 690"/>
                <a:gd name="T8" fmla="*/ 119 w 1088"/>
                <a:gd name="T9" fmla="*/ 40 h 690"/>
                <a:gd name="T10" fmla="*/ 120 w 1088"/>
                <a:gd name="T11" fmla="*/ 39 h 690"/>
                <a:gd name="T12" fmla="*/ 120 w 1088"/>
                <a:gd name="T13" fmla="*/ 38 h 690"/>
                <a:gd name="T14" fmla="*/ 121 w 1088"/>
                <a:gd name="T15" fmla="*/ 38 h 690"/>
                <a:gd name="T16" fmla="*/ 121 w 1088"/>
                <a:gd name="T17" fmla="*/ 37 h 690"/>
                <a:gd name="T18" fmla="*/ 121 w 1088"/>
                <a:gd name="T19" fmla="*/ 4 h 690"/>
                <a:gd name="T20" fmla="*/ 121 w 1088"/>
                <a:gd name="T21" fmla="*/ 3 h 690"/>
                <a:gd name="T22" fmla="*/ 120 w 1088"/>
                <a:gd name="T23" fmla="*/ 2 h 690"/>
                <a:gd name="T24" fmla="*/ 120 w 1088"/>
                <a:gd name="T25" fmla="*/ 2 h 690"/>
                <a:gd name="T26" fmla="*/ 119 w 1088"/>
                <a:gd name="T27" fmla="*/ 1 h 690"/>
                <a:gd name="T28" fmla="*/ 118 w 1088"/>
                <a:gd name="T29" fmla="*/ 1 h 690"/>
                <a:gd name="T30" fmla="*/ 116 w 1088"/>
                <a:gd name="T31" fmla="*/ 0 h 690"/>
                <a:gd name="T32" fmla="*/ 115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7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7" y="690"/>
                  </a:moveTo>
                  <a:lnTo>
                    <a:pt x="1020" y="690"/>
                  </a:lnTo>
                  <a:lnTo>
                    <a:pt x="1027" y="689"/>
                  </a:lnTo>
                  <a:lnTo>
                    <a:pt x="1034" y="689"/>
                  </a:lnTo>
                  <a:lnTo>
                    <a:pt x="1041" y="686"/>
                  </a:lnTo>
                  <a:lnTo>
                    <a:pt x="1047" y="684"/>
                  </a:lnTo>
                  <a:lnTo>
                    <a:pt x="1053" y="682"/>
                  </a:lnTo>
                  <a:lnTo>
                    <a:pt x="1059" y="677"/>
                  </a:lnTo>
                  <a:lnTo>
                    <a:pt x="1063" y="674"/>
                  </a:lnTo>
                  <a:lnTo>
                    <a:pt x="1069" y="669"/>
                  </a:lnTo>
                  <a:lnTo>
                    <a:pt x="1073" y="665"/>
                  </a:lnTo>
                  <a:lnTo>
                    <a:pt x="1077" y="659"/>
                  </a:lnTo>
                  <a:lnTo>
                    <a:pt x="1080" y="654"/>
                  </a:lnTo>
                  <a:lnTo>
                    <a:pt x="1083" y="648"/>
                  </a:lnTo>
                  <a:lnTo>
                    <a:pt x="1086" y="642"/>
                  </a:lnTo>
                  <a:lnTo>
                    <a:pt x="1087" y="635"/>
                  </a:lnTo>
                  <a:lnTo>
                    <a:pt x="1088" y="629"/>
                  </a:lnTo>
                  <a:lnTo>
                    <a:pt x="1088" y="622"/>
                  </a:lnTo>
                  <a:lnTo>
                    <a:pt x="1088" y="68"/>
                  </a:lnTo>
                  <a:lnTo>
                    <a:pt x="1088" y="61"/>
                  </a:lnTo>
                  <a:lnTo>
                    <a:pt x="1087" y="54"/>
                  </a:lnTo>
                  <a:lnTo>
                    <a:pt x="1086" y="48"/>
                  </a:lnTo>
                  <a:lnTo>
                    <a:pt x="1083" y="42"/>
                  </a:lnTo>
                  <a:lnTo>
                    <a:pt x="1080" y="36"/>
                  </a:lnTo>
                  <a:lnTo>
                    <a:pt x="1077" y="31"/>
                  </a:lnTo>
                  <a:lnTo>
                    <a:pt x="1073" y="25"/>
                  </a:lnTo>
                  <a:lnTo>
                    <a:pt x="1069" y="21"/>
                  </a:lnTo>
                  <a:lnTo>
                    <a:pt x="1063" y="16"/>
                  </a:lnTo>
                  <a:lnTo>
                    <a:pt x="1059" y="12"/>
                  </a:lnTo>
                  <a:lnTo>
                    <a:pt x="1053" y="8"/>
                  </a:lnTo>
                  <a:lnTo>
                    <a:pt x="1047" y="6"/>
                  </a:lnTo>
                  <a:lnTo>
                    <a:pt x="1041" y="4"/>
                  </a:lnTo>
                  <a:lnTo>
                    <a:pt x="1034" y="1"/>
                  </a:lnTo>
                  <a:lnTo>
                    <a:pt x="1027" y="1"/>
                  </a:lnTo>
                  <a:lnTo>
                    <a:pt x="1020" y="0"/>
                  </a:lnTo>
                  <a:lnTo>
                    <a:pt x="67" y="0"/>
                  </a:lnTo>
                  <a:lnTo>
                    <a:pt x="61" y="1"/>
                  </a:lnTo>
                  <a:lnTo>
                    <a:pt x="54" y="1"/>
                  </a:lnTo>
                  <a:lnTo>
                    <a:pt x="47" y="4"/>
                  </a:lnTo>
                  <a:lnTo>
                    <a:pt x="41" y="6"/>
                  </a:lnTo>
                  <a:lnTo>
                    <a:pt x="35" y="8"/>
                  </a:lnTo>
                  <a:lnTo>
                    <a:pt x="30" y="12"/>
                  </a:lnTo>
                  <a:lnTo>
                    <a:pt x="25" y="16"/>
                  </a:lnTo>
                  <a:lnTo>
                    <a:pt x="20" y="21"/>
                  </a:lnTo>
                  <a:lnTo>
                    <a:pt x="15" y="25"/>
                  </a:lnTo>
                  <a:lnTo>
                    <a:pt x="11" y="31"/>
                  </a:lnTo>
                  <a:lnTo>
                    <a:pt x="8" y="36"/>
                  </a:lnTo>
                  <a:lnTo>
                    <a:pt x="5" y="42"/>
                  </a:lnTo>
                  <a:lnTo>
                    <a:pt x="3" y="48"/>
                  </a:lnTo>
                  <a:lnTo>
                    <a:pt x="1" y="54"/>
                  </a:lnTo>
                  <a:lnTo>
                    <a:pt x="0" y="61"/>
                  </a:lnTo>
                  <a:lnTo>
                    <a:pt x="0" y="68"/>
                  </a:lnTo>
                  <a:lnTo>
                    <a:pt x="0" y="622"/>
                  </a:lnTo>
                  <a:lnTo>
                    <a:pt x="0" y="629"/>
                  </a:lnTo>
                  <a:lnTo>
                    <a:pt x="1" y="635"/>
                  </a:lnTo>
                  <a:lnTo>
                    <a:pt x="3" y="642"/>
                  </a:lnTo>
                  <a:lnTo>
                    <a:pt x="5" y="648"/>
                  </a:lnTo>
                  <a:lnTo>
                    <a:pt x="8" y="654"/>
                  </a:lnTo>
                  <a:lnTo>
                    <a:pt x="11" y="659"/>
                  </a:lnTo>
                  <a:lnTo>
                    <a:pt x="15" y="665"/>
                  </a:lnTo>
                  <a:lnTo>
                    <a:pt x="20" y="669"/>
                  </a:lnTo>
                  <a:lnTo>
                    <a:pt x="25" y="674"/>
                  </a:lnTo>
                  <a:lnTo>
                    <a:pt x="30" y="677"/>
                  </a:lnTo>
                  <a:lnTo>
                    <a:pt x="35" y="682"/>
                  </a:lnTo>
                  <a:lnTo>
                    <a:pt x="41" y="684"/>
                  </a:lnTo>
                  <a:lnTo>
                    <a:pt x="47" y="686"/>
                  </a:lnTo>
                  <a:lnTo>
                    <a:pt x="54" y="689"/>
                  </a:lnTo>
                  <a:lnTo>
                    <a:pt x="61" y="689"/>
                  </a:lnTo>
                  <a:lnTo>
                    <a:pt x="67" y="69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77" name="Freeform 933"/>
            <p:cNvSpPr>
              <a:spLocks/>
            </p:cNvSpPr>
            <p:nvPr/>
          </p:nvSpPr>
          <p:spPr bwMode="auto">
            <a:xfrm>
              <a:off x="1640" y="3141"/>
              <a:ext cx="363" cy="168"/>
            </a:xfrm>
            <a:custGeom>
              <a:avLst/>
              <a:gdLst>
                <a:gd name="T0" fmla="*/ 113 w 1088"/>
                <a:gd name="T1" fmla="*/ 41 h 690"/>
                <a:gd name="T2" fmla="*/ 115 w 1088"/>
                <a:gd name="T3" fmla="*/ 41 h 690"/>
                <a:gd name="T4" fmla="*/ 116 w 1088"/>
                <a:gd name="T5" fmla="*/ 41 h 690"/>
                <a:gd name="T6" fmla="*/ 118 w 1088"/>
                <a:gd name="T7" fmla="*/ 40 h 690"/>
                <a:gd name="T8" fmla="*/ 119 w 1088"/>
                <a:gd name="T9" fmla="*/ 40 h 690"/>
                <a:gd name="T10" fmla="*/ 120 w 1088"/>
                <a:gd name="T11" fmla="*/ 39 h 690"/>
                <a:gd name="T12" fmla="*/ 120 w 1088"/>
                <a:gd name="T13" fmla="*/ 38 h 690"/>
                <a:gd name="T14" fmla="*/ 121 w 1088"/>
                <a:gd name="T15" fmla="*/ 38 h 690"/>
                <a:gd name="T16" fmla="*/ 121 w 1088"/>
                <a:gd name="T17" fmla="*/ 37 h 690"/>
                <a:gd name="T18" fmla="*/ 121 w 1088"/>
                <a:gd name="T19" fmla="*/ 4 h 690"/>
                <a:gd name="T20" fmla="*/ 121 w 1088"/>
                <a:gd name="T21" fmla="*/ 3 h 690"/>
                <a:gd name="T22" fmla="*/ 120 w 1088"/>
                <a:gd name="T23" fmla="*/ 2 h 690"/>
                <a:gd name="T24" fmla="*/ 120 w 1088"/>
                <a:gd name="T25" fmla="*/ 2 h 690"/>
                <a:gd name="T26" fmla="*/ 119 w 1088"/>
                <a:gd name="T27" fmla="*/ 1 h 690"/>
                <a:gd name="T28" fmla="*/ 118 w 1088"/>
                <a:gd name="T29" fmla="*/ 1 h 690"/>
                <a:gd name="T30" fmla="*/ 116 w 1088"/>
                <a:gd name="T31" fmla="*/ 0 h 690"/>
                <a:gd name="T32" fmla="*/ 115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7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7" y="690"/>
                  </a:moveTo>
                  <a:lnTo>
                    <a:pt x="1020" y="690"/>
                  </a:lnTo>
                  <a:lnTo>
                    <a:pt x="1027" y="689"/>
                  </a:lnTo>
                  <a:lnTo>
                    <a:pt x="1034" y="689"/>
                  </a:lnTo>
                  <a:lnTo>
                    <a:pt x="1041" y="686"/>
                  </a:lnTo>
                  <a:lnTo>
                    <a:pt x="1047" y="684"/>
                  </a:lnTo>
                  <a:lnTo>
                    <a:pt x="1053" y="682"/>
                  </a:lnTo>
                  <a:lnTo>
                    <a:pt x="1059" y="677"/>
                  </a:lnTo>
                  <a:lnTo>
                    <a:pt x="1063" y="674"/>
                  </a:lnTo>
                  <a:lnTo>
                    <a:pt x="1069" y="669"/>
                  </a:lnTo>
                  <a:lnTo>
                    <a:pt x="1073" y="665"/>
                  </a:lnTo>
                  <a:lnTo>
                    <a:pt x="1077" y="659"/>
                  </a:lnTo>
                  <a:lnTo>
                    <a:pt x="1080" y="654"/>
                  </a:lnTo>
                  <a:lnTo>
                    <a:pt x="1083" y="648"/>
                  </a:lnTo>
                  <a:lnTo>
                    <a:pt x="1086" y="642"/>
                  </a:lnTo>
                  <a:lnTo>
                    <a:pt x="1087" y="635"/>
                  </a:lnTo>
                  <a:lnTo>
                    <a:pt x="1088" y="629"/>
                  </a:lnTo>
                  <a:lnTo>
                    <a:pt x="1088" y="622"/>
                  </a:lnTo>
                  <a:lnTo>
                    <a:pt x="1088" y="68"/>
                  </a:lnTo>
                  <a:lnTo>
                    <a:pt x="1088" y="61"/>
                  </a:lnTo>
                  <a:lnTo>
                    <a:pt x="1087" y="54"/>
                  </a:lnTo>
                  <a:lnTo>
                    <a:pt x="1086" y="48"/>
                  </a:lnTo>
                  <a:lnTo>
                    <a:pt x="1083" y="42"/>
                  </a:lnTo>
                  <a:lnTo>
                    <a:pt x="1080" y="36"/>
                  </a:lnTo>
                  <a:lnTo>
                    <a:pt x="1077" y="31"/>
                  </a:lnTo>
                  <a:lnTo>
                    <a:pt x="1073" y="25"/>
                  </a:lnTo>
                  <a:lnTo>
                    <a:pt x="1069" y="21"/>
                  </a:lnTo>
                  <a:lnTo>
                    <a:pt x="1063" y="16"/>
                  </a:lnTo>
                  <a:lnTo>
                    <a:pt x="1059" y="12"/>
                  </a:lnTo>
                  <a:lnTo>
                    <a:pt x="1053" y="8"/>
                  </a:lnTo>
                  <a:lnTo>
                    <a:pt x="1047" y="6"/>
                  </a:lnTo>
                  <a:lnTo>
                    <a:pt x="1041" y="4"/>
                  </a:lnTo>
                  <a:lnTo>
                    <a:pt x="1034" y="1"/>
                  </a:lnTo>
                  <a:lnTo>
                    <a:pt x="1027" y="1"/>
                  </a:lnTo>
                  <a:lnTo>
                    <a:pt x="1020" y="0"/>
                  </a:lnTo>
                  <a:lnTo>
                    <a:pt x="67" y="0"/>
                  </a:lnTo>
                  <a:lnTo>
                    <a:pt x="61" y="1"/>
                  </a:lnTo>
                  <a:lnTo>
                    <a:pt x="54" y="1"/>
                  </a:lnTo>
                  <a:lnTo>
                    <a:pt x="47" y="4"/>
                  </a:lnTo>
                  <a:lnTo>
                    <a:pt x="41" y="6"/>
                  </a:lnTo>
                  <a:lnTo>
                    <a:pt x="35" y="8"/>
                  </a:lnTo>
                  <a:lnTo>
                    <a:pt x="30" y="12"/>
                  </a:lnTo>
                  <a:lnTo>
                    <a:pt x="25" y="16"/>
                  </a:lnTo>
                  <a:lnTo>
                    <a:pt x="20" y="21"/>
                  </a:lnTo>
                  <a:lnTo>
                    <a:pt x="15" y="25"/>
                  </a:lnTo>
                  <a:lnTo>
                    <a:pt x="11" y="31"/>
                  </a:lnTo>
                  <a:lnTo>
                    <a:pt x="8" y="36"/>
                  </a:lnTo>
                  <a:lnTo>
                    <a:pt x="5" y="42"/>
                  </a:lnTo>
                  <a:lnTo>
                    <a:pt x="3" y="48"/>
                  </a:lnTo>
                  <a:lnTo>
                    <a:pt x="1" y="54"/>
                  </a:lnTo>
                  <a:lnTo>
                    <a:pt x="0" y="61"/>
                  </a:lnTo>
                  <a:lnTo>
                    <a:pt x="0" y="68"/>
                  </a:lnTo>
                  <a:lnTo>
                    <a:pt x="0" y="622"/>
                  </a:lnTo>
                  <a:lnTo>
                    <a:pt x="0" y="629"/>
                  </a:lnTo>
                  <a:lnTo>
                    <a:pt x="1" y="635"/>
                  </a:lnTo>
                  <a:lnTo>
                    <a:pt x="3" y="642"/>
                  </a:lnTo>
                  <a:lnTo>
                    <a:pt x="5" y="648"/>
                  </a:lnTo>
                  <a:lnTo>
                    <a:pt x="8" y="654"/>
                  </a:lnTo>
                  <a:lnTo>
                    <a:pt x="11" y="659"/>
                  </a:lnTo>
                  <a:lnTo>
                    <a:pt x="15" y="665"/>
                  </a:lnTo>
                  <a:lnTo>
                    <a:pt x="20" y="669"/>
                  </a:lnTo>
                  <a:lnTo>
                    <a:pt x="25" y="674"/>
                  </a:lnTo>
                  <a:lnTo>
                    <a:pt x="30" y="677"/>
                  </a:lnTo>
                  <a:lnTo>
                    <a:pt x="35" y="682"/>
                  </a:lnTo>
                  <a:lnTo>
                    <a:pt x="41" y="684"/>
                  </a:lnTo>
                  <a:lnTo>
                    <a:pt x="47" y="686"/>
                  </a:lnTo>
                  <a:lnTo>
                    <a:pt x="54" y="689"/>
                  </a:lnTo>
                  <a:lnTo>
                    <a:pt x="61" y="689"/>
                  </a:lnTo>
                  <a:lnTo>
                    <a:pt x="67" y="69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78" name="Rectangle 934"/>
            <p:cNvSpPr>
              <a:spLocks noChangeArrowheads="1"/>
            </p:cNvSpPr>
            <p:nvPr/>
          </p:nvSpPr>
          <p:spPr bwMode="auto">
            <a:xfrm>
              <a:off x="1704" y="3190"/>
              <a:ext cx="24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lan Material </a:t>
              </a:r>
              <a:endParaRPr lang="en-US" sz="1800" b="0" kern="0" baseline="0">
                <a:solidFill>
                  <a:sysClr val="windowText" lastClr="000000"/>
                </a:solidFill>
                <a:latin typeface="Arial" charset="0"/>
                <a:ea typeface="ＭＳ Ｐゴシック"/>
                <a:cs typeface="ＭＳ Ｐゴシック"/>
              </a:endParaRPr>
            </a:p>
          </p:txBody>
        </p:sp>
        <p:sp>
          <p:nvSpPr>
            <p:cNvPr id="379" name="Rectangle 935"/>
            <p:cNvSpPr>
              <a:spLocks noChangeArrowheads="1"/>
            </p:cNvSpPr>
            <p:nvPr/>
          </p:nvSpPr>
          <p:spPr bwMode="auto">
            <a:xfrm>
              <a:off x="1746" y="3225"/>
              <a:ext cx="15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emand</a:t>
              </a:r>
              <a:endParaRPr lang="en-US" sz="1800" b="0" kern="0" baseline="0">
                <a:solidFill>
                  <a:sysClr val="windowText" lastClr="000000"/>
                </a:solidFill>
                <a:latin typeface="Arial" charset="0"/>
                <a:ea typeface="ＭＳ Ｐゴシック"/>
                <a:cs typeface="ＭＳ Ｐゴシック"/>
              </a:endParaRPr>
            </a:p>
          </p:txBody>
        </p:sp>
        <p:sp>
          <p:nvSpPr>
            <p:cNvPr id="380" name="Freeform 936"/>
            <p:cNvSpPr>
              <a:spLocks/>
            </p:cNvSpPr>
            <p:nvPr/>
          </p:nvSpPr>
          <p:spPr bwMode="auto">
            <a:xfrm>
              <a:off x="2225" y="2558"/>
              <a:ext cx="257" cy="419"/>
            </a:xfrm>
            <a:custGeom>
              <a:avLst/>
              <a:gdLst>
                <a:gd name="T0" fmla="*/ 79 w 769"/>
                <a:gd name="T1" fmla="*/ 102 h 1725"/>
                <a:gd name="T2" fmla="*/ 80 w 769"/>
                <a:gd name="T3" fmla="*/ 102 h 1725"/>
                <a:gd name="T4" fmla="*/ 81 w 769"/>
                <a:gd name="T5" fmla="*/ 102 h 1725"/>
                <a:gd name="T6" fmla="*/ 83 w 769"/>
                <a:gd name="T7" fmla="*/ 101 h 1725"/>
                <a:gd name="T8" fmla="*/ 84 w 769"/>
                <a:gd name="T9" fmla="*/ 101 h 1725"/>
                <a:gd name="T10" fmla="*/ 85 w 769"/>
                <a:gd name="T11" fmla="*/ 100 h 1725"/>
                <a:gd name="T12" fmla="*/ 85 w 769"/>
                <a:gd name="T13" fmla="*/ 99 h 1725"/>
                <a:gd name="T14" fmla="*/ 86 w 769"/>
                <a:gd name="T15" fmla="*/ 99 h 1725"/>
                <a:gd name="T16" fmla="*/ 86 w 769"/>
                <a:gd name="T17" fmla="*/ 98 h 1725"/>
                <a:gd name="T18" fmla="*/ 86 w 769"/>
                <a:gd name="T19" fmla="*/ 4 h 1725"/>
                <a:gd name="T20" fmla="*/ 86 w 769"/>
                <a:gd name="T21" fmla="*/ 3 h 1725"/>
                <a:gd name="T22" fmla="*/ 85 w 769"/>
                <a:gd name="T23" fmla="*/ 2 h 1725"/>
                <a:gd name="T24" fmla="*/ 85 w 769"/>
                <a:gd name="T25" fmla="*/ 2 h 1725"/>
                <a:gd name="T26" fmla="*/ 84 w 769"/>
                <a:gd name="T27" fmla="*/ 1 h 1725"/>
                <a:gd name="T28" fmla="*/ 83 w 769"/>
                <a:gd name="T29" fmla="*/ 1 h 1725"/>
                <a:gd name="T30" fmla="*/ 81 w 769"/>
                <a:gd name="T31" fmla="*/ 0 h 1725"/>
                <a:gd name="T32" fmla="*/ 80 w 769"/>
                <a:gd name="T33" fmla="*/ 0 h 1725"/>
                <a:gd name="T34" fmla="*/ 79 w 769"/>
                <a:gd name="T35" fmla="*/ 0 h 1725"/>
                <a:gd name="T36" fmla="*/ 7 w 769"/>
                <a:gd name="T37" fmla="*/ 0 h 1725"/>
                <a:gd name="T38" fmla="*/ 5 w 769"/>
                <a:gd name="T39" fmla="*/ 0 h 1725"/>
                <a:gd name="T40" fmla="*/ 4 w 769"/>
                <a:gd name="T41" fmla="*/ 0 h 1725"/>
                <a:gd name="T42" fmla="*/ 3 w 769"/>
                <a:gd name="T43" fmla="*/ 1 h 1725"/>
                <a:gd name="T44" fmla="*/ 2 w 769"/>
                <a:gd name="T45" fmla="*/ 1 h 1725"/>
                <a:gd name="T46" fmla="*/ 1 w 769"/>
                <a:gd name="T47" fmla="*/ 2 h 1725"/>
                <a:gd name="T48" fmla="*/ 0 w 769"/>
                <a:gd name="T49" fmla="*/ 3 h 1725"/>
                <a:gd name="T50" fmla="*/ 0 w 769"/>
                <a:gd name="T51" fmla="*/ 4 h 1725"/>
                <a:gd name="T52" fmla="*/ 0 w 769"/>
                <a:gd name="T53" fmla="*/ 98 h 1725"/>
                <a:gd name="T54" fmla="*/ 0 w 769"/>
                <a:gd name="T55" fmla="*/ 99 h 1725"/>
                <a:gd name="T56" fmla="*/ 1 w 769"/>
                <a:gd name="T57" fmla="*/ 99 h 1725"/>
                <a:gd name="T58" fmla="*/ 1 w 769"/>
                <a:gd name="T59" fmla="*/ 100 h 1725"/>
                <a:gd name="T60" fmla="*/ 2 w 769"/>
                <a:gd name="T61" fmla="*/ 101 h 1725"/>
                <a:gd name="T62" fmla="*/ 3 w 769"/>
                <a:gd name="T63" fmla="*/ 101 h 1725"/>
                <a:gd name="T64" fmla="*/ 4 w 769"/>
                <a:gd name="T65" fmla="*/ 102 h 1725"/>
                <a:gd name="T66" fmla="*/ 6 w 769"/>
                <a:gd name="T67" fmla="*/ 102 h 1725"/>
                <a:gd name="T68" fmla="*/ 8 w 769"/>
                <a:gd name="T69" fmla="*/ 102 h 17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69"/>
                <a:gd name="T106" fmla="*/ 0 h 1725"/>
                <a:gd name="T107" fmla="*/ 769 w 769"/>
                <a:gd name="T108" fmla="*/ 1725 h 17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69" h="1725">
                  <a:moveTo>
                    <a:pt x="68" y="1725"/>
                  </a:moveTo>
                  <a:lnTo>
                    <a:pt x="702" y="1725"/>
                  </a:lnTo>
                  <a:lnTo>
                    <a:pt x="708" y="1725"/>
                  </a:lnTo>
                  <a:lnTo>
                    <a:pt x="715" y="1724"/>
                  </a:lnTo>
                  <a:lnTo>
                    <a:pt x="721" y="1723"/>
                  </a:lnTo>
                  <a:lnTo>
                    <a:pt x="728" y="1721"/>
                  </a:lnTo>
                  <a:lnTo>
                    <a:pt x="733" y="1717"/>
                  </a:lnTo>
                  <a:lnTo>
                    <a:pt x="739" y="1714"/>
                  </a:lnTo>
                  <a:lnTo>
                    <a:pt x="745" y="1710"/>
                  </a:lnTo>
                  <a:lnTo>
                    <a:pt x="749" y="1706"/>
                  </a:lnTo>
                  <a:lnTo>
                    <a:pt x="754" y="1700"/>
                  </a:lnTo>
                  <a:lnTo>
                    <a:pt x="757" y="1696"/>
                  </a:lnTo>
                  <a:lnTo>
                    <a:pt x="760" y="1690"/>
                  </a:lnTo>
                  <a:lnTo>
                    <a:pt x="764" y="1684"/>
                  </a:lnTo>
                  <a:lnTo>
                    <a:pt x="766" y="1678"/>
                  </a:lnTo>
                  <a:lnTo>
                    <a:pt x="767" y="1671"/>
                  </a:lnTo>
                  <a:lnTo>
                    <a:pt x="768" y="1664"/>
                  </a:lnTo>
                  <a:lnTo>
                    <a:pt x="769" y="1657"/>
                  </a:lnTo>
                  <a:lnTo>
                    <a:pt x="769" y="68"/>
                  </a:lnTo>
                  <a:lnTo>
                    <a:pt x="768" y="61"/>
                  </a:lnTo>
                  <a:lnTo>
                    <a:pt x="767" y="54"/>
                  </a:lnTo>
                  <a:lnTo>
                    <a:pt x="766" y="48"/>
                  </a:lnTo>
                  <a:lnTo>
                    <a:pt x="764" y="42"/>
                  </a:lnTo>
                  <a:lnTo>
                    <a:pt x="760" y="36"/>
                  </a:lnTo>
                  <a:lnTo>
                    <a:pt x="757" y="31"/>
                  </a:lnTo>
                  <a:lnTo>
                    <a:pt x="754" y="25"/>
                  </a:lnTo>
                  <a:lnTo>
                    <a:pt x="749" y="20"/>
                  </a:lnTo>
                  <a:lnTo>
                    <a:pt x="745" y="16"/>
                  </a:lnTo>
                  <a:lnTo>
                    <a:pt x="739" y="13"/>
                  </a:lnTo>
                  <a:lnTo>
                    <a:pt x="733" y="9"/>
                  </a:lnTo>
                  <a:lnTo>
                    <a:pt x="728" y="6"/>
                  </a:lnTo>
                  <a:lnTo>
                    <a:pt x="721" y="4"/>
                  </a:lnTo>
                  <a:lnTo>
                    <a:pt x="715" y="1"/>
                  </a:lnTo>
                  <a:lnTo>
                    <a:pt x="708" y="1"/>
                  </a:lnTo>
                  <a:lnTo>
                    <a:pt x="702" y="0"/>
                  </a:lnTo>
                  <a:lnTo>
                    <a:pt x="68" y="0"/>
                  </a:lnTo>
                  <a:lnTo>
                    <a:pt x="61" y="1"/>
                  </a:lnTo>
                  <a:lnTo>
                    <a:pt x="54" y="1"/>
                  </a:lnTo>
                  <a:lnTo>
                    <a:pt x="47" y="4"/>
                  </a:lnTo>
                  <a:lnTo>
                    <a:pt x="40" y="6"/>
                  </a:lnTo>
                  <a:lnTo>
                    <a:pt x="35" y="9"/>
                  </a:lnTo>
                  <a:lnTo>
                    <a:pt x="29" y="13"/>
                  </a:lnTo>
                  <a:lnTo>
                    <a:pt x="25" y="16"/>
                  </a:lnTo>
                  <a:lnTo>
                    <a:pt x="19" y="20"/>
                  </a:lnTo>
                  <a:lnTo>
                    <a:pt x="16" y="25"/>
                  </a:lnTo>
                  <a:lnTo>
                    <a:pt x="11" y="31"/>
                  </a:lnTo>
                  <a:lnTo>
                    <a:pt x="8" y="36"/>
                  </a:lnTo>
                  <a:lnTo>
                    <a:pt x="5" y="42"/>
                  </a:lnTo>
                  <a:lnTo>
                    <a:pt x="2" y="48"/>
                  </a:lnTo>
                  <a:lnTo>
                    <a:pt x="1" y="54"/>
                  </a:lnTo>
                  <a:lnTo>
                    <a:pt x="0" y="61"/>
                  </a:lnTo>
                  <a:lnTo>
                    <a:pt x="0" y="68"/>
                  </a:lnTo>
                  <a:lnTo>
                    <a:pt x="0" y="1657"/>
                  </a:lnTo>
                  <a:lnTo>
                    <a:pt x="0" y="1664"/>
                  </a:lnTo>
                  <a:lnTo>
                    <a:pt x="1" y="1671"/>
                  </a:lnTo>
                  <a:lnTo>
                    <a:pt x="2" y="1678"/>
                  </a:lnTo>
                  <a:lnTo>
                    <a:pt x="5" y="1684"/>
                  </a:lnTo>
                  <a:lnTo>
                    <a:pt x="8" y="1690"/>
                  </a:lnTo>
                  <a:lnTo>
                    <a:pt x="11" y="1696"/>
                  </a:lnTo>
                  <a:lnTo>
                    <a:pt x="16" y="1700"/>
                  </a:lnTo>
                  <a:lnTo>
                    <a:pt x="19" y="1706"/>
                  </a:lnTo>
                  <a:lnTo>
                    <a:pt x="25" y="1710"/>
                  </a:lnTo>
                  <a:lnTo>
                    <a:pt x="29" y="1714"/>
                  </a:lnTo>
                  <a:lnTo>
                    <a:pt x="35" y="1717"/>
                  </a:lnTo>
                  <a:lnTo>
                    <a:pt x="40" y="1721"/>
                  </a:lnTo>
                  <a:lnTo>
                    <a:pt x="47" y="1723"/>
                  </a:lnTo>
                  <a:lnTo>
                    <a:pt x="54" y="1724"/>
                  </a:lnTo>
                  <a:lnTo>
                    <a:pt x="61" y="1725"/>
                  </a:lnTo>
                  <a:lnTo>
                    <a:pt x="68" y="1725"/>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81" name="Freeform 937"/>
            <p:cNvSpPr>
              <a:spLocks/>
            </p:cNvSpPr>
            <p:nvPr/>
          </p:nvSpPr>
          <p:spPr bwMode="auto">
            <a:xfrm>
              <a:off x="2225" y="2558"/>
              <a:ext cx="257" cy="419"/>
            </a:xfrm>
            <a:custGeom>
              <a:avLst/>
              <a:gdLst>
                <a:gd name="T0" fmla="*/ 79 w 769"/>
                <a:gd name="T1" fmla="*/ 102 h 1725"/>
                <a:gd name="T2" fmla="*/ 80 w 769"/>
                <a:gd name="T3" fmla="*/ 102 h 1725"/>
                <a:gd name="T4" fmla="*/ 81 w 769"/>
                <a:gd name="T5" fmla="*/ 102 h 1725"/>
                <a:gd name="T6" fmla="*/ 83 w 769"/>
                <a:gd name="T7" fmla="*/ 101 h 1725"/>
                <a:gd name="T8" fmla="*/ 84 w 769"/>
                <a:gd name="T9" fmla="*/ 101 h 1725"/>
                <a:gd name="T10" fmla="*/ 85 w 769"/>
                <a:gd name="T11" fmla="*/ 100 h 1725"/>
                <a:gd name="T12" fmla="*/ 85 w 769"/>
                <a:gd name="T13" fmla="*/ 99 h 1725"/>
                <a:gd name="T14" fmla="*/ 86 w 769"/>
                <a:gd name="T15" fmla="*/ 99 h 1725"/>
                <a:gd name="T16" fmla="*/ 86 w 769"/>
                <a:gd name="T17" fmla="*/ 98 h 1725"/>
                <a:gd name="T18" fmla="*/ 86 w 769"/>
                <a:gd name="T19" fmla="*/ 4 h 1725"/>
                <a:gd name="T20" fmla="*/ 86 w 769"/>
                <a:gd name="T21" fmla="*/ 3 h 1725"/>
                <a:gd name="T22" fmla="*/ 85 w 769"/>
                <a:gd name="T23" fmla="*/ 2 h 1725"/>
                <a:gd name="T24" fmla="*/ 85 w 769"/>
                <a:gd name="T25" fmla="*/ 2 h 1725"/>
                <a:gd name="T26" fmla="*/ 84 w 769"/>
                <a:gd name="T27" fmla="*/ 1 h 1725"/>
                <a:gd name="T28" fmla="*/ 83 w 769"/>
                <a:gd name="T29" fmla="*/ 1 h 1725"/>
                <a:gd name="T30" fmla="*/ 81 w 769"/>
                <a:gd name="T31" fmla="*/ 0 h 1725"/>
                <a:gd name="T32" fmla="*/ 80 w 769"/>
                <a:gd name="T33" fmla="*/ 0 h 1725"/>
                <a:gd name="T34" fmla="*/ 79 w 769"/>
                <a:gd name="T35" fmla="*/ 0 h 1725"/>
                <a:gd name="T36" fmla="*/ 7 w 769"/>
                <a:gd name="T37" fmla="*/ 0 h 1725"/>
                <a:gd name="T38" fmla="*/ 5 w 769"/>
                <a:gd name="T39" fmla="*/ 0 h 1725"/>
                <a:gd name="T40" fmla="*/ 4 w 769"/>
                <a:gd name="T41" fmla="*/ 0 h 1725"/>
                <a:gd name="T42" fmla="*/ 3 w 769"/>
                <a:gd name="T43" fmla="*/ 1 h 1725"/>
                <a:gd name="T44" fmla="*/ 2 w 769"/>
                <a:gd name="T45" fmla="*/ 1 h 1725"/>
                <a:gd name="T46" fmla="*/ 1 w 769"/>
                <a:gd name="T47" fmla="*/ 2 h 1725"/>
                <a:gd name="T48" fmla="*/ 0 w 769"/>
                <a:gd name="T49" fmla="*/ 3 h 1725"/>
                <a:gd name="T50" fmla="*/ 0 w 769"/>
                <a:gd name="T51" fmla="*/ 4 h 1725"/>
                <a:gd name="T52" fmla="*/ 0 w 769"/>
                <a:gd name="T53" fmla="*/ 98 h 1725"/>
                <a:gd name="T54" fmla="*/ 0 w 769"/>
                <a:gd name="T55" fmla="*/ 99 h 1725"/>
                <a:gd name="T56" fmla="*/ 1 w 769"/>
                <a:gd name="T57" fmla="*/ 99 h 1725"/>
                <a:gd name="T58" fmla="*/ 1 w 769"/>
                <a:gd name="T59" fmla="*/ 100 h 1725"/>
                <a:gd name="T60" fmla="*/ 2 w 769"/>
                <a:gd name="T61" fmla="*/ 101 h 1725"/>
                <a:gd name="T62" fmla="*/ 3 w 769"/>
                <a:gd name="T63" fmla="*/ 101 h 1725"/>
                <a:gd name="T64" fmla="*/ 4 w 769"/>
                <a:gd name="T65" fmla="*/ 102 h 1725"/>
                <a:gd name="T66" fmla="*/ 6 w 769"/>
                <a:gd name="T67" fmla="*/ 102 h 1725"/>
                <a:gd name="T68" fmla="*/ 8 w 769"/>
                <a:gd name="T69" fmla="*/ 102 h 17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69"/>
                <a:gd name="T106" fmla="*/ 0 h 1725"/>
                <a:gd name="T107" fmla="*/ 769 w 769"/>
                <a:gd name="T108" fmla="*/ 1725 h 17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69" h="1725">
                  <a:moveTo>
                    <a:pt x="68" y="1725"/>
                  </a:moveTo>
                  <a:lnTo>
                    <a:pt x="702" y="1725"/>
                  </a:lnTo>
                  <a:lnTo>
                    <a:pt x="708" y="1725"/>
                  </a:lnTo>
                  <a:lnTo>
                    <a:pt x="715" y="1724"/>
                  </a:lnTo>
                  <a:lnTo>
                    <a:pt x="721" y="1723"/>
                  </a:lnTo>
                  <a:lnTo>
                    <a:pt x="728" y="1721"/>
                  </a:lnTo>
                  <a:lnTo>
                    <a:pt x="733" y="1717"/>
                  </a:lnTo>
                  <a:lnTo>
                    <a:pt x="739" y="1714"/>
                  </a:lnTo>
                  <a:lnTo>
                    <a:pt x="745" y="1710"/>
                  </a:lnTo>
                  <a:lnTo>
                    <a:pt x="749" y="1706"/>
                  </a:lnTo>
                  <a:lnTo>
                    <a:pt x="754" y="1700"/>
                  </a:lnTo>
                  <a:lnTo>
                    <a:pt x="757" y="1696"/>
                  </a:lnTo>
                  <a:lnTo>
                    <a:pt x="760" y="1690"/>
                  </a:lnTo>
                  <a:lnTo>
                    <a:pt x="764" y="1684"/>
                  </a:lnTo>
                  <a:lnTo>
                    <a:pt x="766" y="1678"/>
                  </a:lnTo>
                  <a:lnTo>
                    <a:pt x="767" y="1671"/>
                  </a:lnTo>
                  <a:lnTo>
                    <a:pt x="768" y="1664"/>
                  </a:lnTo>
                  <a:lnTo>
                    <a:pt x="769" y="1657"/>
                  </a:lnTo>
                  <a:lnTo>
                    <a:pt x="769" y="68"/>
                  </a:lnTo>
                  <a:lnTo>
                    <a:pt x="768" y="61"/>
                  </a:lnTo>
                  <a:lnTo>
                    <a:pt x="767" y="54"/>
                  </a:lnTo>
                  <a:lnTo>
                    <a:pt x="766" y="48"/>
                  </a:lnTo>
                  <a:lnTo>
                    <a:pt x="764" y="42"/>
                  </a:lnTo>
                  <a:lnTo>
                    <a:pt x="760" y="36"/>
                  </a:lnTo>
                  <a:lnTo>
                    <a:pt x="757" y="31"/>
                  </a:lnTo>
                  <a:lnTo>
                    <a:pt x="754" y="25"/>
                  </a:lnTo>
                  <a:lnTo>
                    <a:pt x="749" y="20"/>
                  </a:lnTo>
                  <a:lnTo>
                    <a:pt x="745" y="16"/>
                  </a:lnTo>
                  <a:lnTo>
                    <a:pt x="739" y="13"/>
                  </a:lnTo>
                  <a:lnTo>
                    <a:pt x="733" y="9"/>
                  </a:lnTo>
                  <a:lnTo>
                    <a:pt x="728" y="6"/>
                  </a:lnTo>
                  <a:lnTo>
                    <a:pt x="721" y="4"/>
                  </a:lnTo>
                  <a:lnTo>
                    <a:pt x="715" y="1"/>
                  </a:lnTo>
                  <a:lnTo>
                    <a:pt x="708" y="1"/>
                  </a:lnTo>
                  <a:lnTo>
                    <a:pt x="702" y="0"/>
                  </a:lnTo>
                  <a:lnTo>
                    <a:pt x="68" y="0"/>
                  </a:lnTo>
                  <a:lnTo>
                    <a:pt x="61" y="1"/>
                  </a:lnTo>
                  <a:lnTo>
                    <a:pt x="54" y="1"/>
                  </a:lnTo>
                  <a:lnTo>
                    <a:pt x="47" y="4"/>
                  </a:lnTo>
                  <a:lnTo>
                    <a:pt x="40" y="6"/>
                  </a:lnTo>
                  <a:lnTo>
                    <a:pt x="35" y="9"/>
                  </a:lnTo>
                  <a:lnTo>
                    <a:pt x="29" y="13"/>
                  </a:lnTo>
                  <a:lnTo>
                    <a:pt x="25" y="16"/>
                  </a:lnTo>
                  <a:lnTo>
                    <a:pt x="19" y="20"/>
                  </a:lnTo>
                  <a:lnTo>
                    <a:pt x="16" y="25"/>
                  </a:lnTo>
                  <a:lnTo>
                    <a:pt x="11" y="31"/>
                  </a:lnTo>
                  <a:lnTo>
                    <a:pt x="8" y="36"/>
                  </a:lnTo>
                  <a:lnTo>
                    <a:pt x="5" y="42"/>
                  </a:lnTo>
                  <a:lnTo>
                    <a:pt x="2" y="48"/>
                  </a:lnTo>
                  <a:lnTo>
                    <a:pt x="1" y="54"/>
                  </a:lnTo>
                  <a:lnTo>
                    <a:pt x="0" y="61"/>
                  </a:lnTo>
                  <a:lnTo>
                    <a:pt x="0" y="68"/>
                  </a:lnTo>
                  <a:lnTo>
                    <a:pt x="0" y="1657"/>
                  </a:lnTo>
                  <a:lnTo>
                    <a:pt x="0" y="1664"/>
                  </a:lnTo>
                  <a:lnTo>
                    <a:pt x="1" y="1671"/>
                  </a:lnTo>
                  <a:lnTo>
                    <a:pt x="2" y="1678"/>
                  </a:lnTo>
                  <a:lnTo>
                    <a:pt x="5" y="1684"/>
                  </a:lnTo>
                  <a:lnTo>
                    <a:pt x="8" y="1690"/>
                  </a:lnTo>
                  <a:lnTo>
                    <a:pt x="11" y="1696"/>
                  </a:lnTo>
                  <a:lnTo>
                    <a:pt x="16" y="1700"/>
                  </a:lnTo>
                  <a:lnTo>
                    <a:pt x="19" y="1706"/>
                  </a:lnTo>
                  <a:lnTo>
                    <a:pt x="25" y="1710"/>
                  </a:lnTo>
                  <a:lnTo>
                    <a:pt x="29" y="1714"/>
                  </a:lnTo>
                  <a:lnTo>
                    <a:pt x="35" y="1717"/>
                  </a:lnTo>
                  <a:lnTo>
                    <a:pt x="40" y="1721"/>
                  </a:lnTo>
                  <a:lnTo>
                    <a:pt x="47" y="1723"/>
                  </a:lnTo>
                  <a:lnTo>
                    <a:pt x="54" y="1724"/>
                  </a:lnTo>
                  <a:lnTo>
                    <a:pt x="61" y="1725"/>
                  </a:lnTo>
                  <a:lnTo>
                    <a:pt x="68" y="1725"/>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82" name="Rectangle 938"/>
            <p:cNvSpPr>
              <a:spLocks noChangeArrowheads="1"/>
            </p:cNvSpPr>
            <p:nvPr/>
          </p:nvSpPr>
          <p:spPr bwMode="auto">
            <a:xfrm>
              <a:off x="2272" y="2572"/>
              <a:ext cx="13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esign </a:t>
              </a:r>
              <a:endParaRPr lang="en-US" sz="1800" b="0" kern="0" baseline="0">
                <a:solidFill>
                  <a:sysClr val="windowText" lastClr="000000"/>
                </a:solidFill>
                <a:latin typeface="Arial" charset="0"/>
                <a:ea typeface="ＭＳ Ｐゴシック"/>
                <a:cs typeface="ＭＳ Ｐゴシック"/>
              </a:endParaRPr>
            </a:p>
          </p:txBody>
        </p:sp>
        <p:sp>
          <p:nvSpPr>
            <p:cNvPr id="383" name="Rectangle 939"/>
            <p:cNvSpPr>
              <a:spLocks noChangeArrowheads="1"/>
            </p:cNvSpPr>
            <p:nvPr/>
          </p:nvSpPr>
          <p:spPr bwMode="auto">
            <a:xfrm>
              <a:off x="2408" y="2572"/>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384" name="Rectangle 940"/>
            <p:cNvSpPr>
              <a:spLocks noChangeArrowheads="1"/>
            </p:cNvSpPr>
            <p:nvPr/>
          </p:nvSpPr>
          <p:spPr bwMode="auto">
            <a:xfrm>
              <a:off x="2275" y="2607"/>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Estimate</a:t>
              </a:r>
              <a:endParaRPr lang="en-US" sz="1800" b="0" kern="0" baseline="0">
                <a:solidFill>
                  <a:sysClr val="windowText" lastClr="000000"/>
                </a:solidFill>
                <a:latin typeface="Arial" charset="0"/>
                <a:ea typeface="ＭＳ Ｐゴシック"/>
                <a:cs typeface="ＭＳ Ｐゴシック"/>
              </a:endParaRPr>
            </a:p>
          </p:txBody>
        </p:sp>
        <p:sp>
          <p:nvSpPr>
            <p:cNvPr id="385" name="Freeform 941"/>
            <p:cNvSpPr>
              <a:spLocks/>
            </p:cNvSpPr>
            <p:nvPr/>
          </p:nvSpPr>
          <p:spPr bwMode="auto">
            <a:xfrm>
              <a:off x="2041" y="2617"/>
              <a:ext cx="2798" cy="317"/>
            </a:xfrm>
            <a:custGeom>
              <a:avLst/>
              <a:gdLst>
                <a:gd name="T0" fmla="*/ 0 w 8394"/>
                <a:gd name="T1" fmla="*/ 58 h 1306"/>
                <a:gd name="T2" fmla="*/ 896 w 8394"/>
                <a:gd name="T3" fmla="*/ 58 h 1306"/>
                <a:gd name="T4" fmla="*/ 896 w 8394"/>
                <a:gd name="T5" fmla="*/ 77 h 1306"/>
                <a:gd name="T6" fmla="*/ 933 w 8394"/>
                <a:gd name="T7" fmla="*/ 38 h 1306"/>
                <a:gd name="T8" fmla="*/ 896 w 8394"/>
                <a:gd name="T9" fmla="*/ 0 h 1306"/>
                <a:gd name="T10" fmla="*/ 896 w 8394"/>
                <a:gd name="T11" fmla="*/ 19 h 1306"/>
                <a:gd name="T12" fmla="*/ 0 w 8394"/>
                <a:gd name="T13" fmla="*/ 19 h 1306"/>
                <a:gd name="T14" fmla="*/ 0 w 8394"/>
                <a:gd name="T15" fmla="*/ 58 h 1306"/>
                <a:gd name="T16" fmla="*/ 0 60000 65536"/>
                <a:gd name="T17" fmla="*/ 0 60000 65536"/>
                <a:gd name="T18" fmla="*/ 0 60000 65536"/>
                <a:gd name="T19" fmla="*/ 0 60000 65536"/>
                <a:gd name="T20" fmla="*/ 0 60000 65536"/>
                <a:gd name="T21" fmla="*/ 0 60000 65536"/>
                <a:gd name="T22" fmla="*/ 0 60000 65536"/>
                <a:gd name="T23" fmla="*/ 0 60000 65536"/>
                <a:gd name="T24" fmla="*/ 0 w 8394"/>
                <a:gd name="T25" fmla="*/ 0 h 1306"/>
                <a:gd name="T26" fmla="*/ 8394 w 8394"/>
                <a:gd name="T27" fmla="*/ 1306 h 130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94" h="1306">
                  <a:moveTo>
                    <a:pt x="0" y="979"/>
                  </a:moveTo>
                  <a:lnTo>
                    <a:pt x="8067" y="979"/>
                  </a:lnTo>
                  <a:lnTo>
                    <a:pt x="8067" y="1306"/>
                  </a:lnTo>
                  <a:lnTo>
                    <a:pt x="8394" y="652"/>
                  </a:lnTo>
                  <a:lnTo>
                    <a:pt x="8067" y="0"/>
                  </a:lnTo>
                  <a:lnTo>
                    <a:pt x="8067" y="327"/>
                  </a:lnTo>
                  <a:lnTo>
                    <a:pt x="0" y="327"/>
                  </a:lnTo>
                  <a:lnTo>
                    <a:pt x="0" y="979"/>
                  </a:lnTo>
                  <a:close/>
                </a:path>
              </a:pathLst>
            </a:custGeom>
            <a:solidFill>
              <a:srgbClr val="DDE2CD"/>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86" name="Freeform 942"/>
            <p:cNvSpPr>
              <a:spLocks/>
            </p:cNvSpPr>
            <p:nvPr/>
          </p:nvSpPr>
          <p:spPr bwMode="auto">
            <a:xfrm>
              <a:off x="2041" y="2617"/>
              <a:ext cx="2798" cy="317"/>
            </a:xfrm>
            <a:custGeom>
              <a:avLst/>
              <a:gdLst>
                <a:gd name="T0" fmla="*/ 0 w 8394"/>
                <a:gd name="T1" fmla="*/ 58 h 1306"/>
                <a:gd name="T2" fmla="*/ 896 w 8394"/>
                <a:gd name="T3" fmla="*/ 58 h 1306"/>
                <a:gd name="T4" fmla="*/ 896 w 8394"/>
                <a:gd name="T5" fmla="*/ 77 h 1306"/>
                <a:gd name="T6" fmla="*/ 933 w 8394"/>
                <a:gd name="T7" fmla="*/ 38 h 1306"/>
                <a:gd name="T8" fmla="*/ 896 w 8394"/>
                <a:gd name="T9" fmla="*/ 0 h 1306"/>
                <a:gd name="T10" fmla="*/ 896 w 8394"/>
                <a:gd name="T11" fmla="*/ 19 h 1306"/>
                <a:gd name="T12" fmla="*/ 0 w 8394"/>
                <a:gd name="T13" fmla="*/ 19 h 1306"/>
                <a:gd name="T14" fmla="*/ 0 w 8394"/>
                <a:gd name="T15" fmla="*/ 58 h 1306"/>
                <a:gd name="T16" fmla="*/ 0 60000 65536"/>
                <a:gd name="T17" fmla="*/ 0 60000 65536"/>
                <a:gd name="T18" fmla="*/ 0 60000 65536"/>
                <a:gd name="T19" fmla="*/ 0 60000 65536"/>
                <a:gd name="T20" fmla="*/ 0 60000 65536"/>
                <a:gd name="T21" fmla="*/ 0 60000 65536"/>
                <a:gd name="T22" fmla="*/ 0 60000 65536"/>
                <a:gd name="T23" fmla="*/ 0 60000 65536"/>
                <a:gd name="T24" fmla="*/ 0 w 8394"/>
                <a:gd name="T25" fmla="*/ 0 h 1306"/>
                <a:gd name="T26" fmla="*/ 8394 w 8394"/>
                <a:gd name="T27" fmla="*/ 1306 h 130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94" h="1306">
                  <a:moveTo>
                    <a:pt x="0" y="979"/>
                  </a:moveTo>
                  <a:lnTo>
                    <a:pt x="8067" y="979"/>
                  </a:lnTo>
                  <a:lnTo>
                    <a:pt x="8067" y="1306"/>
                  </a:lnTo>
                  <a:lnTo>
                    <a:pt x="8394" y="652"/>
                  </a:lnTo>
                  <a:lnTo>
                    <a:pt x="8067" y="0"/>
                  </a:lnTo>
                  <a:lnTo>
                    <a:pt x="8067" y="327"/>
                  </a:lnTo>
                  <a:lnTo>
                    <a:pt x="0" y="327"/>
                  </a:lnTo>
                  <a:lnTo>
                    <a:pt x="0" y="979"/>
                  </a:lnTo>
                  <a:close/>
                </a:path>
              </a:pathLst>
            </a:custGeom>
            <a:solidFill>
              <a:srgbClr val="DDDDDD"/>
            </a:solid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87" name="Rectangle 943"/>
            <p:cNvSpPr>
              <a:spLocks noChangeArrowheads="1"/>
            </p:cNvSpPr>
            <p:nvPr/>
          </p:nvSpPr>
          <p:spPr bwMode="auto">
            <a:xfrm>
              <a:off x="3223" y="2751"/>
              <a:ext cx="437"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b="0" kern="0" baseline="0">
                  <a:solidFill>
                    <a:srgbClr val="000000"/>
                  </a:solidFill>
                  <a:latin typeface="Arial" charset="0"/>
                  <a:ea typeface="ＭＳ Ｐゴシック"/>
                  <a:cs typeface="ＭＳ Ｐゴシック"/>
                </a:rPr>
                <a:t>New Connections</a:t>
              </a:r>
              <a:endParaRPr lang="en-US" sz="1800" b="0" kern="0" baseline="0">
                <a:solidFill>
                  <a:sysClr val="windowText" lastClr="000000"/>
                </a:solidFill>
                <a:latin typeface="Arial" charset="0"/>
                <a:ea typeface="ＭＳ Ｐゴシック"/>
                <a:cs typeface="ＭＳ Ｐゴシック"/>
              </a:endParaRPr>
            </a:p>
          </p:txBody>
        </p:sp>
        <p:sp>
          <p:nvSpPr>
            <p:cNvPr id="388" name="Freeform 944"/>
            <p:cNvSpPr>
              <a:spLocks/>
            </p:cNvSpPr>
            <p:nvPr/>
          </p:nvSpPr>
          <p:spPr bwMode="auto">
            <a:xfrm>
              <a:off x="2047" y="2311"/>
              <a:ext cx="2798" cy="318"/>
            </a:xfrm>
            <a:custGeom>
              <a:avLst/>
              <a:gdLst>
                <a:gd name="T0" fmla="*/ 0 w 8394"/>
                <a:gd name="T1" fmla="*/ 58 h 1306"/>
                <a:gd name="T2" fmla="*/ 896 w 8394"/>
                <a:gd name="T3" fmla="*/ 58 h 1306"/>
                <a:gd name="T4" fmla="*/ 896 w 8394"/>
                <a:gd name="T5" fmla="*/ 77 h 1306"/>
                <a:gd name="T6" fmla="*/ 933 w 8394"/>
                <a:gd name="T7" fmla="*/ 39 h 1306"/>
                <a:gd name="T8" fmla="*/ 896 w 8394"/>
                <a:gd name="T9" fmla="*/ 0 h 1306"/>
                <a:gd name="T10" fmla="*/ 896 w 8394"/>
                <a:gd name="T11" fmla="*/ 19 h 1306"/>
                <a:gd name="T12" fmla="*/ 0 w 8394"/>
                <a:gd name="T13" fmla="*/ 19 h 1306"/>
                <a:gd name="T14" fmla="*/ 0 w 8394"/>
                <a:gd name="T15" fmla="*/ 58 h 1306"/>
                <a:gd name="T16" fmla="*/ 0 60000 65536"/>
                <a:gd name="T17" fmla="*/ 0 60000 65536"/>
                <a:gd name="T18" fmla="*/ 0 60000 65536"/>
                <a:gd name="T19" fmla="*/ 0 60000 65536"/>
                <a:gd name="T20" fmla="*/ 0 60000 65536"/>
                <a:gd name="T21" fmla="*/ 0 60000 65536"/>
                <a:gd name="T22" fmla="*/ 0 60000 65536"/>
                <a:gd name="T23" fmla="*/ 0 60000 65536"/>
                <a:gd name="T24" fmla="*/ 0 w 8394"/>
                <a:gd name="T25" fmla="*/ 0 h 1306"/>
                <a:gd name="T26" fmla="*/ 8394 w 8394"/>
                <a:gd name="T27" fmla="*/ 1306 h 130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94" h="1306">
                  <a:moveTo>
                    <a:pt x="0" y="979"/>
                  </a:moveTo>
                  <a:lnTo>
                    <a:pt x="8067" y="979"/>
                  </a:lnTo>
                  <a:lnTo>
                    <a:pt x="8067" y="1306"/>
                  </a:lnTo>
                  <a:lnTo>
                    <a:pt x="8394" y="652"/>
                  </a:lnTo>
                  <a:lnTo>
                    <a:pt x="8067" y="0"/>
                  </a:lnTo>
                  <a:lnTo>
                    <a:pt x="8067" y="327"/>
                  </a:lnTo>
                  <a:lnTo>
                    <a:pt x="0" y="327"/>
                  </a:lnTo>
                  <a:lnTo>
                    <a:pt x="0" y="979"/>
                  </a:lnTo>
                  <a:close/>
                </a:path>
              </a:pathLst>
            </a:custGeom>
            <a:solidFill>
              <a:srgbClr val="DDE2CD"/>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89" name="Freeform 945"/>
            <p:cNvSpPr>
              <a:spLocks/>
            </p:cNvSpPr>
            <p:nvPr/>
          </p:nvSpPr>
          <p:spPr bwMode="auto">
            <a:xfrm>
              <a:off x="2047" y="2311"/>
              <a:ext cx="2798" cy="318"/>
            </a:xfrm>
            <a:custGeom>
              <a:avLst/>
              <a:gdLst>
                <a:gd name="T0" fmla="*/ 0 w 8394"/>
                <a:gd name="T1" fmla="*/ 58 h 1306"/>
                <a:gd name="T2" fmla="*/ 896 w 8394"/>
                <a:gd name="T3" fmla="*/ 58 h 1306"/>
                <a:gd name="T4" fmla="*/ 896 w 8394"/>
                <a:gd name="T5" fmla="*/ 77 h 1306"/>
                <a:gd name="T6" fmla="*/ 933 w 8394"/>
                <a:gd name="T7" fmla="*/ 39 h 1306"/>
                <a:gd name="T8" fmla="*/ 896 w 8394"/>
                <a:gd name="T9" fmla="*/ 0 h 1306"/>
                <a:gd name="T10" fmla="*/ 896 w 8394"/>
                <a:gd name="T11" fmla="*/ 19 h 1306"/>
                <a:gd name="T12" fmla="*/ 0 w 8394"/>
                <a:gd name="T13" fmla="*/ 19 h 1306"/>
                <a:gd name="T14" fmla="*/ 0 w 8394"/>
                <a:gd name="T15" fmla="*/ 58 h 1306"/>
                <a:gd name="T16" fmla="*/ 0 60000 65536"/>
                <a:gd name="T17" fmla="*/ 0 60000 65536"/>
                <a:gd name="T18" fmla="*/ 0 60000 65536"/>
                <a:gd name="T19" fmla="*/ 0 60000 65536"/>
                <a:gd name="T20" fmla="*/ 0 60000 65536"/>
                <a:gd name="T21" fmla="*/ 0 60000 65536"/>
                <a:gd name="T22" fmla="*/ 0 60000 65536"/>
                <a:gd name="T23" fmla="*/ 0 60000 65536"/>
                <a:gd name="T24" fmla="*/ 0 w 8394"/>
                <a:gd name="T25" fmla="*/ 0 h 1306"/>
                <a:gd name="T26" fmla="*/ 8394 w 8394"/>
                <a:gd name="T27" fmla="*/ 1306 h 130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94" h="1306">
                  <a:moveTo>
                    <a:pt x="0" y="979"/>
                  </a:moveTo>
                  <a:lnTo>
                    <a:pt x="8067" y="979"/>
                  </a:lnTo>
                  <a:lnTo>
                    <a:pt x="8067" y="1306"/>
                  </a:lnTo>
                  <a:lnTo>
                    <a:pt x="8394" y="652"/>
                  </a:lnTo>
                  <a:lnTo>
                    <a:pt x="8067" y="0"/>
                  </a:lnTo>
                  <a:lnTo>
                    <a:pt x="8067" y="327"/>
                  </a:lnTo>
                  <a:lnTo>
                    <a:pt x="0" y="327"/>
                  </a:lnTo>
                  <a:lnTo>
                    <a:pt x="0" y="979"/>
                  </a:lnTo>
                  <a:close/>
                </a:path>
              </a:pathLst>
            </a:custGeom>
            <a:solidFill>
              <a:srgbClr val="DDDDDD"/>
            </a:solid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90" name="Rectangle 946"/>
            <p:cNvSpPr>
              <a:spLocks noChangeArrowheads="1"/>
            </p:cNvSpPr>
            <p:nvPr/>
          </p:nvSpPr>
          <p:spPr bwMode="auto">
            <a:xfrm>
              <a:off x="3191" y="2445"/>
              <a:ext cx="299"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b="0" kern="0" baseline="0">
                  <a:solidFill>
                    <a:srgbClr val="000000"/>
                  </a:solidFill>
                  <a:latin typeface="Arial" charset="0"/>
                  <a:ea typeface="ＭＳ Ｐゴシック"/>
                  <a:cs typeface="ＭＳ Ｐゴシック"/>
                </a:rPr>
                <a:t>Emergency </a:t>
              </a:r>
              <a:endParaRPr lang="en-US" sz="1800" b="0" kern="0" baseline="0">
                <a:solidFill>
                  <a:sysClr val="windowText" lastClr="000000"/>
                </a:solidFill>
                <a:latin typeface="Arial" charset="0"/>
                <a:ea typeface="ＭＳ Ｐゴシック"/>
                <a:cs typeface="ＭＳ Ｐゴシック"/>
              </a:endParaRPr>
            </a:p>
          </p:txBody>
        </p:sp>
        <p:sp>
          <p:nvSpPr>
            <p:cNvPr id="391" name="Rectangle 947"/>
            <p:cNvSpPr>
              <a:spLocks noChangeArrowheads="1"/>
            </p:cNvSpPr>
            <p:nvPr/>
          </p:nvSpPr>
          <p:spPr bwMode="auto">
            <a:xfrm>
              <a:off x="3486" y="2445"/>
              <a:ext cx="53"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392" name="Rectangle 948"/>
            <p:cNvSpPr>
              <a:spLocks noChangeArrowheads="1"/>
            </p:cNvSpPr>
            <p:nvPr/>
          </p:nvSpPr>
          <p:spPr bwMode="auto">
            <a:xfrm>
              <a:off x="3539" y="2445"/>
              <a:ext cx="164" cy="59"/>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700" b="0" kern="0" baseline="0">
                  <a:solidFill>
                    <a:srgbClr val="000000"/>
                  </a:solidFill>
                  <a:latin typeface="Arial" charset="0"/>
                  <a:ea typeface="ＭＳ Ｐゴシック"/>
                  <a:cs typeface="ＭＳ Ｐゴシック"/>
                </a:rPr>
                <a:t>Repair</a:t>
              </a:r>
              <a:endParaRPr lang="en-US" sz="1800" b="0" kern="0" baseline="0">
                <a:solidFill>
                  <a:sysClr val="windowText" lastClr="000000"/>
                </a:solidFill>
                <a:latin typeface="Arial" charset="0"/>
                <a:ea typeface="ＭＳ Ｐゴシック"/>
                <a:cs typeface="ＭＳ Ｐゴシック"/>
              </a:endParaRPr>
            </a:p>
          </p:txBody>
        </p:sp>
        <p:sp>
          <p:nvSpPr>
            <p:cNvPr id="393" name="Freeform 949"/>
            <p:cNvSpPr>
              <a:spLocks/>
            </p:cNvSpPr>
            <p:nvPr/>
          </p:nvSpPr>
          <p:spPr bwMode="auto">
            <a:xfrm>
              <a:off x="1412" y="2740"/>
              <a:ext cx="570" cy="281"/>
            </a:xfrm>
            <a:custGeom>
              <a:avLst/>
              <a:gdLst>
                <a:gd name="T0" fmla="*/ 0 w 1711"/>
                <a:gd name="T1" fmla="*/ 51 h 1157"/>
                <a:gd name="T2" fmla="*/ 158 w 1711"/>
                <a:gd name="T3" fmla="*/ 51 h 1157"/>
                <a:gd name="T4" fmla="*/ 158 w 1711"/>
                <a:gd name="T5" fmla="*/ 68 h 1157"/>
                <a:gd name="T6" fmla="*/ 190 w 1711"/>
                <a:gd name="T7" fmla="*/ 34 h 1157"/>
                <a:gd name="T8" fmla="*/ 158 w 1711"/>
                <a:gd name="T9" fmla="*/ 0 h 1157"/>
                <a:gd name="T10" fmla="*/ 158 w 1711"/>
                <a:gd name="T11" fmla="*/ 17 h 1157"/>
                <a:gd name="T12" fmla="*/ 0 w 1711"/>
                <a:gd name="T13" fmla="*/ 17 h 1157"/>
                <a:gd name="T14" fmla="*/ 0 w 1711"/>
                <a:gd name="T15" fmla="*/ 51 h 1157"/>
                <a:gd name="T16" fmla="*/ 0 60000 65536"/>
                <a:gd name="T17" fmla="*/ 0 60000 65536"/>
                <a:gd name="T18" fmla="*/ 0 60000 65536"/>
                <a:gd name="T19" fmla="*/ 0 60000 65536"/>
                <a:gd name="T20" fmla="*/ 0 60000 65536"/>
                <a:gd name="T21" fmla="*/ 0 60000 65536"/>
                <a:gd name="T22" fmla="*/ 0 60000 65536"/>
                <a:gd name="T23" fmla="*/ 0 60000 65536"/>
                <a:gd name="T24" fmla="*/ 0 w 1711"/>
                <a:gd name="T25" fmla="*/ 0 h 1157"/>
                <a:gd name="T26" fmla="*/ 1711 w 1711"/>
                <a:gd name="T27" fmla="*/ 1157 h 11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11" h="1157">
                  <a:moveTo>
                    <a:pt x="1" y="870"/>
                  </a:moveTo>
                  <a:lnTo>
                    <a:pt x="1422" y="868"/>
                  </a:lnTo>
                  <a:lnTo>
                    <a:pt x="1422" y="1157"/>
                  </a:lnTo>
                  <a:lnTo>
                    <a:pt x="1711" y="578"/>
                  </a:lnTo>
                  <a:lnTo>
                    <a:pt x="1420" y="0"/>
                  </a:lnTo>
                  <a:lnTo>
                    <a:pt x="1420" y="289"/>
                  </a:lnTo>
                  <a:lnTo>
                    <a:pt x="0" y="291"/>
                  </a:lnTo>
                  <a:lnTo>
                    <a:pt x="1" y="870"/>
                  </a:lnTo>
                  <a:close/>
                </a:path>
              </a:pathLst>
            </a:custGeom>
            <a:solidFill>
              <a:srgbClr val="DDE2CD"/>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94" name="Freeform 950"/>
            <p:cNvSpPr>
              <a:spLocks/>
            </p:cNvSpPr>
            <p:nvPr/>
          </p:nvSpPr>
          <p:spPr bwMode="auto">
            <a:xfrm>
              <a:off x="1412" y="2740"/>
              <a:ext cx="570" cy="281"/>
            </a:xfrm>
            <a:custGeom>
              <a:avLst/>
              <a:gdLst>
                <a:gd name="T0" fmla="*/ 0 w 1711"/>
                <a:gd name="T1" fmla="*/ 51 h 1157"/>
                <a:gd name="T2" fmla="*/ 158 w 1711"/>
                <a:gd name="T3" fmla="*/ 51 h 1157"/>
                <a:gd name="T4" fmla="*/ 158 w 1711"/>
                <a:gd name="T5" fmla="*/ 68 h 1157"/>
                <a:gd name="T6" fmla="*/ 190 w 1711"/>
                <a:gd name="T7" fmla="*/ 34 h 1157"/>
                <a:gd name="T8" fmla="*/ 158 w 1711"/>
                <a:gd name="T9" fmla="*/ 0 h 1157"/>
                <a:gd name="T10" fmla="*/ 158 w 1711"/>
                <a:gd name="T11" fmla="*/ 17 h 1157"/>
                <a:gd name="T12" fmla="*/ 0 w 1711"/>
                <a:gd name="T13" fmla="*/ 17 h 1157"/>
                <a:gd name="T14" fmla="*/ 0 w 1711"/>
                <a:gd name="T15" fmla="*/ 51 h 1157"/>
                <a:gd name="T16" fmla="*/ 0 60000 65536"/>
                <a:gd name="T17" fmla="*/ 0 60000 65536"/>
                <a:gd name="T18" fmla="*/ 0 60000 65536"/>
                <a:gd name="T19" fmla="*/ 0 60000 65536"/>
                <a:gd name="T20" fmla="*/ 0 60000 65536"/>
                <a:gd name="T21" fmla="*/ 0 60000 65536"/>
                <a:gd name="T22" fmla="*/ 0 60000 65536"/>
                <a:gd name="T23" fmla="*/ 0 60000 65536"/>
                <a:gd name="T24" fmla="*/ 0 w 1711"/>
                <a:gd name="T25" fmla="*/ 0 h 1157"/>
                <a:gd name="T26" fmla="*/ 1711 w 1711"/>
                <a:gd name="T27" fmla="*/ 1157 h 11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11" h="1157">
                  <a:moveTo>
                    <a:pt x="1" y="870"/>
                  </a:moveTo>
                  <a:lnTo>
                    <a:pt x="1422" y="868"/>
                  </a:lnTo>
                  <a:lnTo>
                    <a:pt x="1422" y="1157"/>
                  </a:lnTo>
                  <a:lnTo>
                    <a:pt x="1711" y="578"/>
                  </a:lnTo>
                  <a:lnTo>
                    <a:pt x="1420" y="0"/>
                  </a:lnTo>
                  <a:lnTo>
                    <a:pt x="1420" y="289"/>
                  </a:lnTo>
                  <a:lnTo>
                    <a:pt x="0" y="291"/>
                  </a:lnTo>
                  <a:lnTo>
                    <a:pt x="1" y="870"/>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395" name="Rectangle 951"/>
            <p:cNvSpPr>
              <a:spLocks noChangeArrowheads="1"/>
            </p:cNvSpPr>
            <p:nvPr/>
          </p:nvSpPr>
          <p:spPr bwMode="auto">
            <a:xfrm rot="21540000">
              <a:off x="1569" y="2832"/>
              <a:ext cx="35"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C</a:t>
              </a:r>
              <a:endParaRPr lang="en-US" sz="1800" b="0" kern="0" baseline="0">
                <a:solidFill>
                  <a:sysClr val="windowText" lastClr="000000"/>
                </a:solidFill>
                <a:latin typeface="Arial" charset="0"/>
                <a:ea typeface="ＭＳ Ｐゴシック"/>
                <a:cs typeface="ＭＳ Ｐゴシック"/>
              </a:endParaRPr>
            </a:p>
          </p:txBody>
        </p:sp>
        <p:sp>
          <p:nvSpPr>
            <p:cNvPr id="396" name="Rectangle 952"/>
            <p:cNvSpPr>
              <a:spLocks noChangeArrowheads="1"/>
            </p:cNvSpPr>
            <p:nvPr/>
          </p:nvSpPr>
          <p:spPr bwMode="auto">
            <a:xfrm rot="21540000">
              <a:off x="1605" y="2832"/>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o</a:t>
              </a:r>
              <a:endParaRPr lang="en-US" sz="1800" b="0" kern="0" baseline="0">
                <a:solidFill>
                  <a:sysClr val="windowText" lastClr="000000"/>
                </a:solidFill>
                <a:latin typeface="Arial" charset="0"/>
                <a:ea typeface="ＭＳ Ｐゴシック"/>
                <a:cs typeface="ＭＳ Ｐゴシック"/>
              </a:endParaRPr>
            </a:p>
          </p:txBody>
        </p:sp>
        <p:sp>
          <p:nvSpPr>
            <p:cNvPr id="397" name="Rectangle 953"/>
            <p:cNvSpPr>
              <a:spLocks noChangeArrowheads="1"/>
            </p:cNvSpPr>
            <p:nvPr/>
          </p:nvSpPr>
          <p:spPr bwMode="auto">
            <a:xfrm rot="21540000">
              <a:off x="1633" y="2832"/>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n</a:t>
              </a:r>
              <a:endParaRPr lang="en-US" sz="1800" b="0" kern="0" baseline="0">
                <a:solidFill>
                  <a:sysClr val="windowText" lastClr="000000"/>
                </a:solidFill>
                <a:latin typeface="Arial" charset="0"/>
                <a:ea typeface="ＭＳ Ｐゴシック"/>
                <a:cs typeface="ＭＳ Ｐゴシック"/>
              </a:endParaRPr>
            </a:p>
          </p:txBody>
        </p:sp>
        <p:sp>
          <p:nvSpPr>
            <p:cNvPr id="398" name="Rectangle 954"/>
            <p:cNvSpPr>
              <a:spLocks noChangeArrowheads="1"/>
            </p:cNvSpPr>
            <p:nvPr/>
          </p:nvSpPr>
          <p:spPr bwMode="auto">
            <a:xfrm rot="21540000">
              <a:off x="1661" y="2832"/>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n</a:t>
              </a:r>
              <a:endParaRPr lang="en-US" sz="1800" b="0" kern="0" baseline="0">
                <a:solidFill>
                  <a:sysClr val="windowText" lastClr="000000"/>
                </a:solidFill>
                <a:latin typeface="Arial" charset="0"/>
                <a:ea typeface="ＭＳ Ｐゴシック"/>
                <a:cs typeface="ＭＳ Ｐゴシック"/>
              </a:endParaRPr>
            </a:p>
          </p:txBody>
        </p:sp>
        <p:sp>
          <p:nvSpPr>
            <p:cNvPr id="399" name="Rectangle 955"/>
            <p:cNvSpPr>
              <a:spLocks noChangeArrowheads="1"/>
            </p:cNvSpPr>
            <p:nvPr/>
          </p:nvSpPr>
          <p:spPr bwMode="auto">
            <a:xfrm rot="21540000">
              <a:off x="1689" y="2832"/>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e</a:t>
              </a:r>
              <a:endParaRPr lang="en-US" sz="1800" b="0" kern="0" baseline="0">
                <a:solidFill>
                  <a:sysClr val="windowText" lastClr="000000"/>
                </a:solidFill>
                <a:latin typeface="Arial" charset="0"/>
                <a:ea typeface="ＭＳ Ｐゴシック"/>
                <a:cs typeface="ＭＳ Ｐゴシック"/>
              </a:endParaRPr>
            </a:p>
          </p:txBody>
        </p:sp>
        <p:sp>
          <p:nvSpPr>
            <p:cNvPr id="400" name="Rectangle 956"/>
            <p:cNvSpPr>
              <a:spLocks noChangeArrowheads="1"/>
            </p:cNvSpPr>
            <p:nvPr/>
          </p:nvSpPr>
          <p:spPr bwMode="auto">
            <a:xfrm rot="21540000">
              <a:off x="1717" y="2832"/>
              <a:ext cx="24"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c</a:t>
              </a:r>
              <a:endParaRPr lang="en-US" sz="1800" b="0" kern="0" baseline="0">
                <a:solidFill>
                  <a:sysClr val="windowText" lastClr="000000"/>
                </a:solidFill>
                <a:latin typeface="Arial" charset="0"/>
                <a:ea typeface="ＭＳ Ｐゴシック"/>
                <a:cs typeface="ＭＳ Ｐゴシック"/>
              </a:endParaRPr>
            </a:p>
          </p:txBody>
        </p:sp>
        <p:sp>
          <p:nvSpPr>
            <p:cNvPr id="401" name="Rectangle 957"/>
            <p:cNvSpPr>
              <a:spLocks noChangeArrowheads="1"/>
            </p:cNvSpPr>
            <p:nvPr/>
          </p:nvSpPr>
          <p:spPr bwMode="auto">
            <a:xfrm rot="21540000">
              <a:off x="1742" y="2832"/>
              <a:ext cx="13"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t</a:t>
              </a:r>
              <a:endParaRPr lang="en-US" sz="1800" b="0" kern="0" baseline="0">
                <a:solidFill>
                  <a:sysClr val="windowText" lastClr="000000"/>
                </a:solidFill>
                <a:latin typeface="Arial" charset="0"/>
                <a:ea typeface="ＭＳ Ｐゴシック"/>
                <a:cs typeface="ＭＳ Ｐゴシック"/>
              </a:endParaRPr>
            </a:p>
          </p:txBody>
        </p:sp>
        <p:sp>
          <p:nvSpPr>
            <p:cNvPr id="402" name="Rectangle 958"/>
            <p:cNvSpPr>
              <a:spLocks noChangeArrowheads="1"/>
            </p:cNvSpPr>
            <p:nvPr/>
          </p:nvSpPr>
          <p:spPr bwMode="auto">
            <a:xfrm rot="21540000">
              <a:off x="1756" y="2832"/>
              <a:ext cx="11"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i</a:t>
              </a:r>
              <a:endParaRPr lang="en-US" sz="1800" b="0" kern="0" baseline="0">
                <a:solidFill>
                  <a:sysClr val="windowText" lastClr="000000"/>
                </a:solidFill>
                <a:latin typeface="Arial" charset="0"/>
                <a:ea typeface="ＭＳ Ｐゴシック"/>
                <a:cs typeface="ＭＳ Ｐゴシック"/>
              </a:endParaRPr>
            </a:p>
          </p:txBody>
        </p:sp>
        <p:sp>
          <p:nvSpPr>
            <p:cNvPr id="403" name="Rectangle 959"/>
            <p:cNvSpPr>
              <a:spLocks noChangeArrowheads="1"/>
            </p:cNvSpPr>
            <p:nvPr/>
          </p:nvSpPr>
          <p:spPr bwMode="auto">
            <a:xfrm rot="21540000">
              <a:off x="1767" y="2832"/>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o</a:t>
              </a:r>
              <a:endParaRPr lang="en-US" sz="1800" b="0" kern="0" baseline="0">
                <a:solidFill>
                  <a:sysClr val="windowText" lastClr="000000"/>
                </a:solidFill>
                <a:latin typeface="Arial" charset="0"/>
                <a:ea typeface="ＭＳ Ｐゴシック"/>
                <a:cs typeface="ＭＳ Ｐゴシック"/>
              </a:endParaRPr>
            </a:p>
          </p:txBody>
        </p:sp>
        <p:sp>
          <p:nvSpPr>
            <p:cNvPr id="404" name="Rectangle 960"/>
            <p:cNvSpPr>
              <a:spLocks noChangeArrowheads="1"/>
            </p:cNvSpPr>
            <p:nvPr/>
          </p:nvSpPr>
          <p:spPr bwMode="auto">
            <a:xfrm rot="21540000">
              <a:off x="1795" y="2832"/>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n</a:t>
              </a:r>
              <a:endParaRPr lang="en-US" sz="1800" b="0" kern="0" baseline="0">
                <a:solidFill>
                  <a:sysClr val="windowText" lastClr="000000"/>
                </a:solidFill>
                <a:latin typeface="Arial" charset="0"/>
                <a:ea typeface="ＭＳ Ｐゴシック"/>
                <a:cs typeface="ＭＳ Ｐゴシック"/>
              </a:endParaRPr>
            </a:p>
          </p:txBody>
        </p:sp>
        <p:sp>
          <p:nvSpPr>
            <p:cNvPr id="405" name="Rectangle 961"/>
            <p:cNvSpPr>
              <a:spLocks noChangeArrowheads="1"/>
            </p:cNvSpPr>
            <p:nvPr/>
          </p:nvSpPr>
          <p:spPr bwMode="auto">
            <a:xfrm rot="21540000">
              <a:off x="1603" y="2875"/>
              <a:ext cx="35"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R</a:t>
              </a:r>
              <a:endParaRPr lang="en-US" sz="1800" b="0" kern="0" baseline="0">
                <a:solidFill>
                  <a:sysClr val="windowText" lastClr="000000"/>
                </a:solidFill>
                <a:latin typeface="Arial" charset="0"/>
                <a:ea typeface="ＭＳ Ｐゴシック"/>
                <a:cs typeface="ＭＳ Ｐゴシック"/>
              </a:endParaRPr>
            </a:p>
          </p:txBody>
        </p:sp>
        <p:sp>
          <p:nvSpPr>
            <p:cNvPr id="406" name="Rectangle 962"/>
            <p:cNvSpPr>
              <a:spLocks noChangeArrowheads="1"/>
            </p:cNvSpPr>
            <p:nvPr/>
          </p:nvSpPr>
          <p:spPr bwMode="auto">
            <a:xfrm rot="21540000">
              <a:off x="1639" y="2875"/>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e</a:t>
              </a:r>
              <a:endParaRPr lang="en-US" sz="1800" b="0" kern="0" baseline="0">
                <a:solidFill>
                  <a:sysClr val="windowText" lastClr="000000"/>
                </a:solidFill>
                <a:latin typeface="Arial" charset="0"/>
                <a:ea typeface="ＭＳ Ｐゴシック"/>
                <a:cs typeface="ＭＳ Ｐゴシック"/>
              </a:endParaRPr>
            </a:p>
          </p:txBody>
        </p:sp>
        <p:sp>
          <p:nvSpPr>
            <p:cNvPr id="407" name="Rectangle 963"/>
            <p:cNvSpPr>
              <a:spLocks noChangeArrowheads="1"/>
            </p:cNvSpPr>
            <p:nvPr/>
          </p:nvSpPr>
          <p:spPr bwMode="auto">
            <a:xfrm rot="21540000">
              <a:off x="1667" y="2875"/>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q</a:t>
              </a:r>
              <a:endParaRPr lang="en-US" sz="1800" b="0" kern="0" baseline="0">
                <a:solidFill>
                  <a:sysClr val="windowText" lastClr="000000"/>
                </a:solidFill>
                <a:latin typeface="Arial" charset="0"/>
                <a:ea typeface="ＭＳ Ｐゴシック"/>
                <a:cs typeface="ＭＳ Ｐゴシック"/>
              </a:endParaRPr>
            </a:p>
          </p:txBody>
        </p:sp>
        <p:sp>
          <p:nvSpPr>
            <p:cNvPr id="408" name="Rectangle 964"/>
            <p:cNvSpPr>
              <a:spLocks noChangeArrowheads="1"/>
            </p:cNvSpPr>
            <p:nvPr/>
          </p:nvSpPr>
          <p:spPr bwMode="auto">
            <a:xfrm rot="21540000">
              <a:off x="1695" y="2875"/>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u</a:t>
              </a:r>
              <a:endParaRPr lang="en-US" sz="1800" b="0" kern="0" baseline="0">
                <a:solidFill>
                  <a:sysClr val="windowText" lastClr="000000"/>
                </a:solidFill>
                <a:latin typeface="Arial" charset="0"/>
                <a:ea typeface="ＭＳ Ｐゴシック"/>
                <a:cs typeface="ＭＳ Ｐゴシック"/>
              </a:endParaRPr>
            </a:p>
          </p:txBody>
        </p:sp>
        <p:sp>
          <p:nvSpPr>
            <p:cNvPr id="409" name="Rectangle 965"/>
            <p:cNvSpPr>
              <a:spLocks noChangeArrowheads="1"/>
            </p:cNvSpPr>
            <p:nvPr/>
          </p:nvSpPr>
          <p:spPr bwMode="auto">
            <a:xfrm rot="21540000">
              <a:off x="1723" y="2875"/>
              <a:ext cx="27"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e</a:t>
              </a:r>
              <a:endParaRPr lang="en-US" sz="1800" b="0" kern="0" baseline="0">
                <a:solidFill>
                  <a:sysClr val="windowText" lastClr="000000"/>
                </a:solidFill>
                <a:latin typeface="Arial" charset="0"/>
                <a:ea typeface="ＭＳ Ｐゴシック"/>
                <a:cs typeface="ＭＳ Ｐゴシック"/>
              </a:endParaRPr>
            </a:p>
          </p:txBody>
        </p:sp>
        <p:sp>
          <p:nvSpPr>
            <p:cNvPr id="410" name="Rectangle 966"/>
            <p:cNvSpPr>
              <a:spLocks noChangeArrowheads="1"/>
            </p:cNvSpPr>
            <p:nvPr/>
          </p:nvSpPr>
          <p:spPr bwMode="auto">
            <a:xfrm rot="21540000">
              <a:off x="1751" y="2875"/>
              <a:ext cx="24"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s</a:t>
              </a:r>
              <a:endParaRPr lang="en-US" sz="1800" b="0" kern="0" baseline="0">
                <a:solidFill>
                  <a:sysClr val="windowText" lastClr="000000"/>
                </a:solidFill>
                <a:latin typeface="Arial" charset="0"/>
                <a:ea typeface="ＭＳ Ｐゴシック"/>
                <a:cs typeface="ＭＳ Ｐゴシック"/>
              </a:endParaRPr>
            </a:p>
          </p:txBody>
        </p:sp>
        <p:sp>
          <p:nvSpPr>
            <p:cNvPr id="411" name="Rectangle 967"/>
            <p:cNvSpPr>
              <a:spLocks noChangeArrowheads="1"/>
            </p:cNvSpPr>
            <p:nvPr/>
          </p:nvSpPr>
          <p:spPr bwMode="auto">
            <a:xfrm rot="21540000">
              <a:off x="1776" y="2875"/>
              <a:ext cx="13"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t</a:t>
              </a:r>
              <a:endParaRPr lang="en-US" sz="1800" b="0" kern="0" baseline="0">
                <a:solidFill>
                  <a:sysClr val="windowText" lastClr="000000"/>
                </a:solidFill>
                <a:latin typeface="Arial" charset="0"/>
                <a:ea typeface="ＭＳ Ｐゴシック"/>
                <a:cs typeface="ＭＳ Ｐゴシック"/>
              </a:endParaRPr>
            </a:p>
          </p:txBody>
        </p:sp>
        <p:sp>
          <p:nvSpPr>
            <p:cNvPr id="412" name="Freeform 968"/>
            <p:cNvSpPr>
              <a:spLocks/>
            </p:cNvSpPr>
            <p:nvPr/>
          </p:nvSpPr>
          <p:spPr bwMode="auto">
            <a:xfrm>
              <a:off x="932" y="1416"/>
              <a:ext cx="574" cy="346"/>
            </a:xfrm>
            <a:custGeom>
              <a:avLst/>
              <a:gdLst>
                <a:gd name="T0" fmla="*/ 0 w 1722"/>
                <a:gd name="T1" fmla="*/ 63 h 1426"/>
                <a:gd name="T2" fmla="*/ 152 w 1722"/>
                <a:gd name="T3" fmla="*/ 63 h 1426"/>
                <a:gd name="T4" fmla="*/ 152 w 1722"/>
                <a:gd name="T5" fmla="*/ 84 h 1426"/>
                <a:gd name="T6" fmla="*/ 191 w 1722"/>
                <a:gd name="T7" fmla="*/ 42 h 1426"/>
                <a:gd name="T8" fmla="*/ 152 w 1722"/>
                <a:gd name="T9" fmla="*/ 0 h 1426"/>
                <a:gd name="T10" fmla="*/ 152 w 1722"/>
                <a:gd name="T11" fmla="*/ 21 h 1426"/>
                <a:gd name="T12" fmla="*/ 0 w 1722"/>
                <a:gd name="T13" fmla="*/ 21 h 1426"/>
                <a:gd name="T14" fmla="*/ 0 w 1722"/>
                <a:gd name="T15" fmla="*/ 63 h 1426"/>
                <a:gd name="T16" fmla="*/ 0 60000 65536"/>
                <a:gd name="T17" fmla="*/ 0 60000 65536"/>
                <a:gd name="T18" fmla="*/ 0 60000 65536"/>
                <a:gd name="T19" fmla="*/ 0 60000 65536"/>
                <a:gd name="T20" fmla="*/ 0 60000 65536"/>
                <a:gd name="T21" fmla="*/ 0 60000 65536"/>
                <a:gd name="T22" fmla="*/ 0 60000 65536"/>
                <a:gd name="T23" fmla="*/ 0 60000 65536"/>
                <a:gd name="T24" fmla="*/ 0 w 1722"/>
                <a:gd name="T25" fmla="*/ 0 h 1426"/>
                <a:gd name="T26" fmla="*/ 1722 w 1722"/>
                <a:gd name="T27" fmla="*/ 1426 h 14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22" h="1426">
                  <a:moveTo>
                    <a:pt x="0" y="1070"/>
                  </a:moveTo>
                  <a:lnTo>
                    <a:pt x="1366" y="1070"/>
                  </a:lnTo>
                  <a:lnTo>
                    <a:pt x="1366" y="1426"/>
                  </a:lnTo>
                  <a:lnTo>
                    <a:pt x="1722" y="713"/>
                  </a:lnTo>
                  <a:lnTo>
                    <a:pt x="1366" y="0"/>
                  </a:lnTo>
                  <a:lnTo>
                    <a:pt x="1366" y="357"/>
                  </a:lnTo>
                  <a:lnTo>
                    <a:pt x="0" y="357"/>
                  </a:lnTo>
                  <a:lnTo>
                    <a:pt x="0" y="1070"/>
                  </a:lnTo>
                  <a:close/>
                </a:path>
              </a:pathLst>
            </a:custGeom>
            <a:solidFill>
              <a:srgbClr val="DDE2CD"/>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13" name="Freeform 969"/>
            <p:cNvSpPr>
              <a:spLocks/>
            </p:cNvSpPr>
            <p:nvPr/>
          </p:nvSpPr>
          <p:spPr bwMode="auto">
            <a:xfrm>
              <a:off x="932" y="1416"/>
              <a:ext cx="574" cy="346"/>
            </a:xfrm>
            <a:custGeom>
              <a:avLst/>
              <a:gdLst>
                <a:gd name="T0" fmla="*/ 0 w 1722"/>
                <a:gd name="T1" fmla="*/ 63 h 1426"/>
                <a:gd name="T2" fmla="*/ 152 w 1722"/>
                <a:gd name="T3" fmla="*/ 63 h 1426"/>
                <a:gd name="T4" fmla="*/ 152 w 1722"/>
                <a:gd name="T5" fmla="*/ 84 h 1426"/>
                <a:gd name="T6" fmla="*/ 191 w 1722"/>
                <a:gd name="T7" fmla="*/ 42 h 1426"/>
                <a:gd name="T8" fmla="*/ 152 w 1722"/>
                <a:gd name="T9" fmla="*/ 0 h 1426"/>
                <a:gd name="T10" fmla="*/ 152 w 1722"/>
                <a:gd name="T11" fmla="*/ 21 h 1426"/>
                <a:gd name="T12" fmla="*/ 0 w 1722"/>
                <a:gd name="T13" fmla="*/ 21 h 1426"/>
                <a:gd name="T14" fmla="*/ 0 60000 65536"/>
                <a:gd name="T15" fmla="*/ 0 60000 65536"/>
                <a:gd name="T16" fmla="*/ 0 60000 65536"/>
                <a:gd name="T17" fmla="*/ 0 60000 65536"/>
                <a:gd name="T18" fmla="*/ 0 60000 65536"/>
                <a:gd name="T19" fmla="*/ 0 60000 65536"/>
                <a:gd name="T20" fmla="*/ 0 60000 65536"/>
                <a:gd name="T21" fmla="*/ 0 w 1722"/>
                <a:gd name="T22" fmla="*/ 0 h 1426"/>
                <a:gd name="T23" fmla="*/ 1722 w 1722"/>
                <a:gd name="T24" fmla="*/ 1426 h 14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22" h="1426">
                  <a:moveTo>
                    <a:pt x="0" y="1070"/>
                  </a:moveTo>
                  <a:lnTo>
                    <a:pt x="1366" y="1070"/>
                  </a:lnTo>
                  <a:lnTo>
                    <a:pt x="1366" y="1426"/>
                  </a:lnTo>
                  <a:lnTo>
                    <a:pt x="1722" y="713"/>
                  </a:lnTo>
                  <a:lnTo>
                    <a:pt x="1366" y="0"/>
                  </a:lnTo>
                  <a:lnTo>
                    <a:pt x="1366" y="357"/>
                  </a:lnTo>
                  <a:lnTo>
                    <a:pt x="0" y="357"/>
                  </a:lnTo>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14" name="Freeform 970"/>
            <p:cNvSpPr>
              <a:spLocks/>
            </p:cNvSpPr>
            <p:nvPr/>
          </p:nvSpPr>
          <p:spPr bwMode="auto">
            <a:xfrm>
              <a:off x="932" y="1416"/>
              <a:ext cx="574" cy="346"/>
            </a:xfrm>
            <a:custGeom>
              <a:avLst/>
              <a:gdLst>
                <a:gd name="T0" fmla="*/ 0 w 1722"/>
                <a:gd name="T1" fmla="*/ 63 h 1426"/>
                <a:gd name="T2" fmla="*/ 152 w 1722"/>
                <a:gd name="T3" fmla="*/ 63 h 1426"/>
                <a:gd name="T4" fmla="*/ 152 w 1722"/>
                <a:gd name="T5" fmla="*/ 84 h 1426"/>
                <a:gd name="T6" fmla="*/ 191 w 1722"/>
                <a:gd name="T7" fmla="*/ 42 h 1426"/>
                <a:gd name="T8" fmla="*/ 152 w 1722"/>
                <a:gd name="T9" fmla="*/ 0 h 1426"/>
                <a:gd name="T10" fmla="*/ 152 w 1722"/>
                <a:gd name="T11" fmla="*/ 21 h 1426"/>
                <a:gd name="T12" fmla="*/ 0 w 1722"/>
                <a:gd name="T13" fmla="*/ 21 h 1426"/>
                <a:gd name="T14" fmla="*/ 0 w 1722"/>
                <a:gd name="T15" fmla="*/ 63 h 1426"/>
                <a:gd name="T16" fmla="*/ 0 60000 65536"/>
                <a:gd name="T17" fmla="*/ 0 60000 65536"/>
                <a:gd name="T18" fmla="*/ 0 60000 65536"/>
                <a:gd name="T19" fmla="*/ 0 60000 65536"/>
                <a:gd name="T20" fmla="*/ 0 60000 65536"/>
                <a:gd name="T21" fmla="*/ 0 60000 65536"/>
                <a:gd name="T22" fmla="*/ 0 60000 65536"/>
                <a:gd name="T23" fmla="*/ 0 60000 65536"/>
                <a:gd name="T24" fmla="*/ 0 w 1722"/>
                <a:gd name="T25" fmla="*/ 0 h 1426"/>
                <a:gd name="T26" fmla="*/ 1722 w 1722"/>
                <a:gd name="T27" fmla="*/ 1426 h 14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22" h="1426">
                  <a:moveTo>
                    <a:pt x="0" y="1070"/>
                  </a:moveTo>
                  <a:lnTo>
                    <a:pt x="1366" y="1070"/>
                  </a:lnTo>
                  <a:lnTo>
                    <a:pt x="1366" y="1426"/>
                  </a:lnTo>
                  <a:lnTo>
                    <a:pt x="1722" y="713"/>
                  </a:lnTo>
                  <a:lnTo>
                    <a:pt x="1366" y="0"/>
                  </a:lnTo>
                  <a:lnTo>
                    <a:pt x="1366" y="357"/>
                  </a:lnTo>
                  <a:lnTo>
                    <a:pt x="0" y="357"/>
                  </a:lnTo>
                  <a:lnTo>
                    <a:pt x="0" y="1070"/>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15" name="Rectangle 971"/>
            <p:cNvSpPr>
              <a:spLocks noChangeArrowheads="1"/>
            </p:cNvSpPr>
            <p:nvPr/>
          </p:nvSpPr>
          <p:spPr bwMode="auto">
            <a:xfrm>
              <a:off x="956" y="1545"/>
              <a:ext cx="518"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Approved Replacement </a:t>
              </a:r>
              <a:endParaRPr lang="en-US" sz="1800" b="0" kern="0" baseline="0">
                <a:solidFill>
                  <a:sysClr val="windowText" lastClr="000000"/>
                </a:solidFill>
                <a:latin typeface="Arial" charset="0"/>
                <a:ea typeface="ＭＳ Ｐゴシック"/>
                <a:cs typeface="ＭＳ Ｐゴシック"/>
              </a:endParaRPr>
            </a:p>
          </p:txBody>
        </p:sp>
        <p:sp>
          <p:nvSpPr>
            <p:cNvPr id="416" name="Rectangle 972"/>
            <p:cNvSpPr>
              <a:spLocks noChangeArrowheads="1"/>
            </p:cNvSpPr>
            <p:nvPr/>
          </p:nvSpPr>
          <p:spPr bwMode="auto">
            <a:xfrm>
              <a:off x="1128" y="1589"/>
              <a:ext cx="174"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Projects</a:t>
              </a:r>
              <a:endParaRPr lang="en-US" sz="1800" b="0" kern="0" baseline="0">
                <a:solidFill>
                  <a:sysClr val="windowText" lastClr="000000"/>
                </a:solidFill>
                <a:latin typeface="Arial" charset="0"/>
                <a:ea typeface="ＭＳ Ｐゴシック"/>
                <a:cs typeface="ＭＳ Ｐゴシック"/>
              </a:endParaRPr>
            </a:p>
          </p:txBody>
        </p:sp>
        <p:sp>
          <p:nvSpPr>
            <p:cNvPr id="417" name="Freeform 973"/>
            <p:cNvSpPr>
              <a:spLocks/>
            </p:cNvSpPr>
            <p:nvPr/>
          </p:nvSpPr>
          <p:spPr bwMode="auto">
            <a:xfrm>
              <a:off x="932" y="2189"/>
              <a:ext cx="578" cy="347"/>
            </a:xfrm>
            <a:custGeom>
              <a:avLst/>
              <a:gdLst>
                <a:gd name="T0" fmla="*/ 0 w 1733"/>
                <a:gd name="T1" fmla="*/ 63 h 1427"/>
                <a:gd name="T2" fmla="*/ 153 w 1733"/>
                <a:gd name="T3" fmla="*/ 63 h 1427"/>
                <a:gd name="T4" fmla="*/ 153 w 1733"/>
                <a:gd name="T5" fmla="*/ 84 h 1427"/>
                <a:gd name="T6" fmla="*/ 193 w 1733"/>
                <a:gd name="T7" fmla="*/ 42 h 1427"/>
                <a:gd name="T8" fmla="*/ 153 w 1733"/>
                <a:gd name="T9" fmla="*/ 0 h 1427"/>
                <a:gd name="T10" fmla="*/ 153 w 1733"/>
                <a:gd name="T11" fmla="*/ 21 h 1427"/>
                <a:gd name="T12" fmla="*/ 0 w 1733"/>
                <a:gd name="T13" fmla="*/ 21 h 1427"/>
                <a:gd name="T14" fmla="*/ 0 w 1733"/>
                <a:gd name="T15" fmla="*/ 63 h 1427"/>
                <a:gd name="T16" fmla="*/ 0 60000 65536"/>
                <a:gd name="T17" fmla="*/ 0 60000 65536"/>
                <a:gd name="T18" fmla="*/ 0 60000 65536"/>
                <a:gd name="T19" fmla="*/ 0 60000 65536"/>
                <a:gd name="T20" fmla="*/ 0 60000 65536"/>
                <a:gd name="T21" fmla="*/ 0 60000 65536"/>
                <a:gd name="T22" fmla="*/ 0 60000 65536"/>
                <a:gd name="T23" fmla="*/ 0 60000 65536"/>
                <a:gd name="T24" fmla="*/ 0 w 1733"/>
                <a:gd name="T25" fmla="*/ 0 h 1427"/>
                <a:gd name="T26" fmla="*/ 1733 w 1733"/>
                <a:gd name="T27" fmla="*/ 1427 h 14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33" h="1427">
                  <a:moveTo>
                    <a:pt x="0" y="1071"/>
                  </a:moveTo>
                  <a:lnTo>
                    <a:pt x="1377" y="1071"/>
                  </a:lnTo>
                  <a:lnTo>
                    <a:pt x="1377" y="1427"/>
                  </a:lnTo>
                  <a:lnTo>
                    <a:pt x="1733" y="714"/>
                  </a:lnTo>
                  <a:lnTo>
                    <a:pt x="1377" y="0"/>
                  </a:lnTo>
                  <a:lnTo>
                    <a:pt x="1377" y="358"/>
                  </a:lnTo>
                  <a:lnTo>
                    <a:pt x="0" y="358"/>
                  </a:lnTo>
                  <a:lnTo>
                    <a:pt x="0" y="1071"/>
                  </a:lnTo>
                  <a:close/>
                </a:path>
              </a:pathLst>
            </a:custGeom>
            <a:solidFill>
              <a:srgbClr val="DDE2CD"/>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18" name="Freeform 974"/>
            <p:cNvSpPr>
              <a:spLocks/>
            </p:cNvSpPr>
            <p:nvPr/>
          </p:nvSpPr>
          <p:spPr bwMode="auto">
            <a:xfrm>
              <a:off x="932" y="2189"/>
              <a:ext cx="578" cy="347"/>
            </a:xfrm>
            <a:custGeom>
              <a:avLst/>
              <a:gdLst>
                <a:gd name="T0" fmla="*/ 0 w 1733"/>
                <a:gd name="T1" fmla="*/ 63 h 1427"/>
                <a:gd name="T2" fmla="*/ 153 w 1733"/>
                <a:gd name="T3" fmla="*/ 63 h 1427"/>
                <a:gd name="T4" fmla="*/ 153 w 1733"/>
                <a:gd name="T5" fmla="*/ 84 h 1427"/>
                <a:gd name="T6" fmla="*/ 193 w 1733"/>
                <a:gd name="T7" fmla="*/ 42 h 1427"/>
                <a:gd name="T8" fmla="*/ 153 w 1733"/>
                <a:gd name="T9" fmla="*/ 0 h 1427"/>
                <a:gd name="T10" fmla="*/ 153 w 1733"/>
                <a:gd name="T11" fmla="*/ 21 h 1427"/>
                <a:gd name="T12" fmla="*/ 0 w 1733"/>
                <a:gd name="T13" fmla="*/ 21 h 1427"/>
                <a:gd name="T14" fmla="*/ 0 w 1733"/>
                <a:gd name="T15" fmla="*/ 63 h 1427"/>
                <a:gd name="T16" fmla="*/ 0 60000 65536"/>
                <a:gd name="T17" fmla="*/ 0 60000 65536"/>
                <a:gd name="T18" fmla="*/ 0 60000 65536"/>
                <a:gd name="T19" fmla="*/ 0 60000 65536"/>
                <a:gd name="T20" fmla="*/ 0 60000 65536"/>
                <a:gd name="T21" fmla="*/ 0 60000 65536"/>
                <a:gd name="T22" fmla="*/ 0 60000 65536"/>
                <a:gd name="T23" fmla="*/ 0 60000 65536"/>
                <a:gd name="T24" fmla="*/ 0 w 1733"/>
                <a:gd name="T25" fmla="*/ 0 h 1427"/>
                <a:gd name="T26" fmla="*/ 1733 w 1733"/>
                <a:gd name="T27" fmla="*/ 1427 h 14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33" h="1427">
                  <a:moveTo>
                    <a:pt x="0" y="1071"/>
                  </a:moveTo>
                  <a:lnTo>
                    <a:pt x="1377" y="1071"/>
                  </a:lnTo>
                  <a:lnTo>
                    <a:pt x="1377" y="1427"/>
                  </a:lnTo>
                  <a:lnTo>
                    <a:pt x="1733" y="714"/>
                  </a:lnTo>
                  <a:lnTo>
                    <a:pt x="1377" y="0"/>
                  </a:lnTo>
                  <a:lnTo>
                    <a:pt x="1377" y="358"/>
                  </a:lnTo>
                  <a:lnTo>
                    <a:pt x="0" y="358"/>
                  </a:lnTo>
                  <a:lnTo>
                    <a:pt x="0" y="1071"/>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19" name="Rectangle 975"/>
            <p:cNvSpPr>
              <a:spLocks noChangeArrowheads="1"/>
            </p:cNvSpPr>
            <p:nvPr/>
          </p:nvSpPr>
          <p:spPr bwMode="auto">
            <a:xfrm>
              <a:off x="1124" y="2304"/>
              <a:ext cx="220" cy="50"/>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Approved </a:t>
              </a:r>
              <a:endParaRPr lang="en-US" sz="1800" b="0" kern="0" baseline="0">
                <a:solidFill>
                  <a:sysClr val="windowText" lastClr="000000"/>
                </a:solidFill>
                <a:latin typeface="Arial" charset="0"/>
                <a:ea typeface="ＭＳ Ｐゴシック"/>
                <a:cs typeface="ＭＳ Ｐゴシック"/>
              </a:endParaRPr>
            </a:p>
          </p:txBody>
        </p:sp>
        <p:sp>
          <p:nvSpPr>
            <p:cNvPr id="420" name="Rectangle 976"/>
            <p:cNvSpPr>
              <a:spLocks noChangeArrowheads="1"/>
            </p:cNvSpPr>
            <p:nvPr/>
          </p:nvSpPr>
          <p:spPr bwMode="auto">
            <a:xfrm>
              <a:off x="953" y="2344"/>
              <a:ext cx="290"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Maintenance </a:t>
              </a:r>
              <a:endParaRPr lang="en-US" sz="1800" b="0" kern="0" baseline="0">
                <a:solidFill>
                  <a:sysClr val="windowText" lastClr="000000"/>
                </a:solidFill>
                <a:latin typeface="Arial" charset="0"/>
                <a:ea typeface="ＭＳ Ｐゴシック"/>
                <a:cs typeface="ＭＳ Ｐゴシック"/>
              </a:endParaRPr>
            </a:p>
          </p:txBody>
        </p:sp>
        <p:sp>
          <p:nvSpPr>
            <p:cNvPr id="421" name="Rectangle 977"/>
            <p:cNvSpPr>
              <a:spLocks noChangeArrowheads="1"/>
            </p:cNvSpPr>
            <p:nvPr/>
          </p:nvSpPr>
          <p:spPr bwMode="auto">
            <a:xfrm>
              <a:off x="1225" y="2344"/>
              <a:ext cx="26"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422" name="Rectangle 978"/>
            <p:cNvSpPr>
              <a:spLocks noChangeArrowheads="1"/>
            </p:cNvSpPr>
            <p:nvPr/>
          </p:nvSpPr>
          <p:spPr bwMode="auto">
            <a:xfrm>
              <a:off x="1250" y="2344"/>
              <a:ext cx="269"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Compliance </a:t>
              </a:r>
              <a:endParaRPr lang="en-US" sz="1800" b="0" kern="0" baseline="0">
                <a:solidFill>
                  <a:sysClr val="windowText" lastClr="000000"/>
                </a:solidFill>
                <a:latin typeface="Arial" charset="0"/>
                <a:ea typeface="ＭＳ Ｐゴシック"/>
                <a:cs typeface="ＭＳ Ｐゴシック"/>
              </a:endParaRPr>
            </a:p>
          </p:txBody>
        </p:sp>
        <p:sp>
          <p:nvSpPr>
            <p:cNvPr id="423" name="Rectangle 979"/>
            <p:cNvSpPr>
              <a:spLocks noChangeArrowheads="1"/>
            </p:cNvSpPr>
            <p:nvPr/>
          </p:nvSpPr>
          <p:spPr bwMode="auto">
            <a:xfrm>
              <a:off x="1123" y="2383"/>
              <a:ext cx="209"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Programs</a:t>
              </a:r>
              <a:endParaRPr lang="en-US" sz="1800" b="0" kern="0" baseline="0">
                <a:solidFill>
                  <a:sysClr val="windowText" lastClr="000000"/>
                </a:solidFill>
                <a:latin typeface="Arial" charset="0"/>
                <a:ea typeface="ＭＳ Ｐゴシック"/>
                <a:cs typeface="ＭＳ Ｐゴシック"/>
              </a:endParaRPr>
            </a:p>
          </p:txBody>
        </p:sp>
        <p:sp>
          <p:nvSpPr>
            <p:cNvPr id="424" name="Freeform 980"/>
            <p:cNvSpPr>
              <a:spLocks/>
            </p:cNvSpPr>
            <p:nvPr/>
          </p:nvSpPr>
          <p:spPr bwMode="auto">
            <a:xfrm>
              <a:off x="932" y="1806"/>
              <a:ext cx="574" cy="345"/>
            </a:xfrm>
            <a:custGeom>
              <a:avLst/>
              <a:gdLst>
                <a:gd name="T0" fmla="*/ 0 w 1722"/>
                <a:gd name="T1" fmla="*/ 63 h 1427"/>
                <a:gd name="T2" fmla="*/ 152 w 1722"/>
                <a:gd name="T3" fmla="*/ 63 h 1427"/>
                <a:gd name="T4" fmla="*/ 152 w 1722"/>
                <a:gd name="T5" fmla="*/ 84 h 1427"/>
                <a:gd name="T6" fmla="*/ 191 w 1722"/>
                <a:gd name="T7" fmla="*/ 42 h 1427"/>
                <a:gd name="T8" fmla="*/ 152 w 1722"/>
                <a:gd name="T9" fmla="*/ 0 h 1427"/>
                <a:gd name="T10" fmla="*/ 152 w 1722"/>
                <a:gd name="T11" fmla="*/ 21 h 1427"/>
                <a:gd name="T12" fmla="*/ 0 w 1722"/>
                <a:gd name="T13" fmla="*/ 21 h 1427"/>
                <a:gd name="T14" fmla="*/ 0 w 1722"/>
                <a:gd name="T15" fmla="*/ 63 h 1427"/>
                <a:gd name="T16" fmla="*/ 0 60000 65536"/>
                <a:gd name="T17" fmla="*/ 0 60000 65536"/>
                <a:gd name="T18" fmla="*/ 0 60000 65536"/>
                <a:gd name="T19" fmla="*/ 0 60000 65536"/>
                <a:gd name="T20" fmla="*/ 0 60000 65536"/>
                <a:gd name="T21" fmla="*/ 0 60000 65536"/>
                <a:gd name="T22" fmla="*/ 0 60000 65536"/>
                <a:gd name="T23" fmla="*/ 0 60000 65536"/>
                <a:gd name="T24" fmla="*/ 0 w 1722"/>
                <a:gd name="T25" fmla="*/ 0 h 1427"/>
                <a:gd name="T26" fmla="*/ 1722 w 1722"/>
                <a:gd name="T27" fmla="*/ 1427 h 14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22" h="1427">
                  <a:moveTo>
                    <a:pt x="0" y="1070"/>
                  </a:moveTo>
                  <a:lnTo>
                    <a:pt x="1366" y="1070"/>
                  </a:lnTo>
                  <a:lnTo>
                    <a:pt x="1366" y="1427"/>
                  </a:lnTo>
                  <a:lnTo>
                    <a:pt x="1722" y="714"/>
                  </a:lnTo>
                  <a:lnTo>
                    <a:pt x="1366" y="0"/>
                  </a:lnTo>
                  <a:lnTo>
                    <a:pt x="1366" y="357"/>
                  </a:lnTo>
                  <a:lnTo>
                    <a:pt x="0" y="357"/>
                  </a:lnTo>
                  <a:lnTo>
                    <a:pt x="0" y="1070"/>
                  </a:lnTo>
                  <a:close/>
                </a:path>
              </a:pathLst>
            </a:custGeom>
            <a:solidFill>
              <a:srgbClr val="DDE2CD"/>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25" name="Freeform 981"/>
            <p:cNvSpPr>
              <a:spLocks/>
            </p:cNvSpPr>
            <p:nvPr/>
          </p:nvSpPr>
          <p:spPr bwMode="auto">
            <a:xfrm>
              <a:off x="932" y="1806"/>
              <a:ext cx="574" cy="345"/>
            </a:xfrm>
            <a:custGeom>
              <a:avLst/>
              <a:gdLst>
                <a:gd name="T0" fmla="*/ 0 w 1722"/>
                <a:gd name="T1" fmla="*/ 63 h 1427"/>
                <a:gd name="T2" fmla="*/ 152 w 1722"/>
                <a:gd name="T3" fmla="*/ 63 h 1427"/>
                <a:gd name="T4" fmla="*/ 152 w 1722"/>
                <a:gd name="T5" fmla="*/ 84 h 1427"/>
                <a:gd name="T6" fmla="*/ 191 w 1722"/>
                <a:gd name="T7" fmla="*/ 42 h 1427"/>
                <a:gd name="T8" fmla="*/ 152 w 1722"/>
                <a:gd name="T9" fmla="*/ 0 h 1427"/>
                <a:gd name="T10" fmla="*/ 152 w 1722"/>
                <a:gd name="T11" fmla="*/ 21 h 1427"/>
                <a:gd name="T12" fmla="*/ 0 w 1722"/>
                <a:gd name="T13" fmla="*/ 21 h 1427"/>
                <a:gd name="T14" fmla="*/ 0 60000 65536"/>
                <a:gd name="T15" fmla="*/ 0 60000 65536"/>
                <a:gd name="T16" fmla="*/ 0 60000 65536"/>
                <a:gd name="T17" fmla="*/ 0 60000 65536"/>
                <a:gd name="T18" fmla="*/ 0 60000 65536"/>
                <a:gd name="T19" fmla="*/ 0 60000 65536"/>
                <a:gd name="T20" fmla="*/ 0 60000 65536"/>
                <a:gd name="T21" fmla="*/ 0 w 1722"/>
                <a:gd name="T22" fmla="*/ 0 h 1427"/>
                <a:gd name="T23" fmla="*/ 1722 w 1722"/>
                <a:gd name="T24" fmla="*/ 1427 h 14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22" h="1427">
                  <a:moveTo>
                    <a:pt x="0" y="1070"/>
                  </a:moveTo>
                  <a:lnTo>
                    <a:pt x="1366" y="1070"/>
                  </a:lnTo>
                  <a:lnTo>
                    <a:pt x="1366" y="1427"/>
                  </a:lnTo>
                  <a:lnTo>
                    <a:pt x="1722" y="714"/>
                  </a:lnTo>
                  <a:lnTo>
                    <a:pt x="1366" y="0"/>
                  </a:lnTo>
                  <a:lnTo>
                    <a:pt x="1366" y="357"/>
                  </a:lnTo>
                  <a:lnTo>
                    <a:pt x="0" y="357"/>
                  </a:lnTo>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26" name="Freeform 982"/>
            <p:cNvSpPr>
              <a:spLocks/>
            </p:cNvSpPr>
            <p:nvPr/>
          </p:nvSpPr>
          <p:spPr bwMode="auto">
            <a:xfrm>
              <a:off x="932" y="1806"/>
              <a:ext cx="574" cy="345"/>
            </a:xfrm>
            <a:custGeom>
              <a:avLst/>
              <a:gdLst>
                <a:gd name="T0" fmla="*/ 0 w 1722"/>
                <a:gd name="T1" fmla="*/ 63 h 1427"/>
                <a:gd name="T2" fmla="*/ 152 w 1722"/>
                <a:gd name="T3" fmla="*/ 63 h 1427"/>
                <a:gd name="T4" fmla="*/ 152 w 1722"/>
                <a:gd name="T5" fmla="*/ 84 h 1427"/>
                <a:gd name="T6" fmla="*/ 191 w 1722"/>
                <a:gd name="T7" fmla="*/ 42 h 1427"/>
                <a:gd name="T8" fmla="*/ 152 w 1722"/>
                <a:gd name="T9" fmla="*/ 0 h 1427"/>
                <a:gd name="T10" fmla="*/ 152 w 1722"/>
                <a:gd name="T11" fmla="*/ 21 h 1427"/>
                <a:gd name="T12" fmla="*/ 0 w 1722"/>
                <a:gd name="T13" fmla="*/ 21 h 1427"/>
                <a:gd name="T14" fmla="*/ 0 w 1722"/>
                <a:gd name="T15" fmla="*/ 63 h 1427"/>
                <a:gd name="T16" fmla="*/ 0 60000 65536"/>
                <a:gd name="T17" fmla="*/ 0 60000 65536"/>
                <a:gd name="T18" fmla="*/ 0 60000 65536"/>
                <a:gd name="T19" fmla="*/ 0 60000 65536"/>
                <a:gd name="T20" fmla="*/ 0 60000 65536"/>
                <a:gd name="T21" fmla="*/ 0 60000 65536"/>
                <a:gd name="T22" fmla="*/ 0 60000 65536"/>
                <a:gd name="T23" fmla="*/ 0 60000 65536"/>
                <a:gd name="T24" fmla="*/ 0 w 1722"/>
                <a:gd name="T25" fmla="*/ 0 h 1427"/>
                <a:gd name="T26" fmla="*/ 1722 w 1722"/>
                <a:gd name="T27" fmla="*/ 1427 h 14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22" h="1427">
                  <a:moveTo>
                    <a:pt x="0" y="1070"/>
                  </a:moveTo>
                  <a:lnTo>
                    <a:pt x="1366" y="1070"/>
                  </a:lnTo>
                  <a:lnTo>
                    <a:pt x="1366" y="1427"/>
                  </a:lnTo>
                  <a:lnTo>
                    <a:pt x="1722" y="714"/>
                  </a:lnTo>
                  <a:lnTo>
                    <a:pt x="1366" y="0"/>
                  </a:lnTo>
                  <a:lnTo>
                    <a:pt x="1366" y="357"/>
                  </a:lnTo>
                  <a:lnTo>
                    <a:pt x="0" y="357"/>
                  </a:lnTo>
                  <a:lnTo>
                    <a:pt x="0" y="1070"/>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27" name="Rectangle 983"/>
            <p:cNvSpPr>
              <a:spLocks noChangeArrowheads="1"/>
            </p:cNvSpPr>
            <p:nvPr/>
          </p:nvSpPr>
          <p:spPr bwMode="auto">
            <a:xfrm>
              <a:off x="1112" y="1934"/>
              <a:ext cx="220"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Approved </a:t>
              </a:r>
              <a:endParaRPr lang="en-US" sz="1800" b="0" kern="0" baseline="0">
                <a:solidFill>
                  <a:sysClr val="windowText" lastClr="000000"/>
                </a:solidFill>
                <a:latin typeface="Arial" charset="0"/>
                <a:ea typeface="ＭＳ Ｐゴシック"/>
                <a:cs typeface="ＭＳ Ｐゴシック"/>
              </a:endParaRPr>
            </a:p>
          </p:txBody>
        </p:sp>
        <p:sp>
          <p:nvSpPr>
            <p:cNvPr id="428" name="Rectangle 984"/>
            <p:cNvSpPr>
              <a:spLocks noChangeArrowheads="1"/>
            </p:cNvSpPr>
            <p:nvPr/>
          </p:nvSpPr>
          <p:spPr bwMode="auto">
            <a:xfrm>
              <a:off x="958" y="1979"/>
              <a:ext cx="501"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Reinforcement Projects</a:t>
              </a:r>
              <a:endParaRPr lang="en-US" sz="1800" b="0" kern="0" baseline="0">
                <a:solidFill>
                  <a:sysClr val="windowText" lastClr="000000"/>
                </a:solidFill>
                <a:latin typeface="Arial" charset="0"/>
                <a:ea typeface="ＭＳ Ｐゴシック"/>
                <a:cs typeface="ＭＳ Ｐゴシック"/>
              </a:endParaRPr>
            </a:p>
          </p:txBody>
        </p:sp>
        <p:sp>
          <p:nvSpPr>
            <p:cNvPr id="429" name="Rectangle 990"/>
            <p:cNvSpPr>
              <a:spLocks noChangeArrowheads="1"/>
            </p:cNvSpPr>
            <p:nvPr/>
          </p:nvSpPr>
          <p:spPr bwMode="auto">
            <a:xfrm>
              <a:off x="1318" y="1237"/>
              <a:ext cx="0" cy="203"/>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endParaRPr lang="en-US" sz="1800" b="0" kern="0" baseline="0" dirty="0">
                <a:solidFill>
                  <a:sysClr val="windowText" lastClr="000000"/>
                </a:solidFill>
                <a:latin typeface="Arial" charset="0"/>
                <a:ea typeface="ＭＳ Ｐゴシック"/>
                <a:cs typeface="ＭＳ Ｐゴシック"/>
              </a:endParaRPr>
            </a:p>
          </p:txBody>
        </p:sp>
        <p:sp>
          <p:nvSpPr>
            <p:cNvPr id="430" name="Freeform 991"/>
            <p:cNvSpPr>
              <a:spLocks/>
            </p:cNvSpPr>
            <p:nvPr/>
          </p:nvSpPr>
          <p:spPr bwMode="auto">
            <a:xfrm>
              <a:off x="1953" y="3490"/>
              <a:ext cx="363" cy="168"/>
            </a:xfrm>
            <a:custGeom>
              <a:avLst/>
              <a:gdLst>
                <a:gd name="T0" fmla="*/ 113 w 1088"/>
                <a:gd name="T1" fmla="*/ 41 h 690"/>
                <a:gd name="T2" fmla="*/ 115 w 1088"/>
                <a:gd name="T3" fmla="*/ 41 h 690"/>
                <a:gd name="T4" fmla="*/ 116 w 1088"/>
                <a:gd name="T5" fmla="*/ 41 h 690"/>
                <a:gd name="T6" fmla="*/ 118 w 1088"/>
                <a:gd name="T7" fmla="*/ 40 h 690"/>
                <a:gd name="T8" fmla="*/ 119 w 1088"/>
                <a:gd name="T9" fmla="*/ 40 h 690"/>
                <a:gd name="T10" fmla="*/ 120 w 1088"/>
                <a:gd name="T11" fmla="*/ 39 h 690"/>
                <a:gd name="T12" fmla="*/ 120 w 1088"/>
                <a:gd name="T13" fmla="*/ 38 h 690"/>
                <a:gd name="T14" fmla="*/ 121 w 1088"/>
                <a:gd name="T15" fmla="*/ 38 h 690"/>
                <a:gd name="T16" fmla="*/ 121 w 1088"/>
                <a:gd name="T17" fmla="*/ 37 h 690"/>
                <a:gd name="T18" fmla="*/ 121 w 1088"/>
                <a:gd name="T19" fmla="*/ 4 h 690"/>
                <a:gd name="T20" fmla="*/ 121 w 1088"/>
                <a:gd name="T21" fmla="*/ 3 h 690"/>
                <a:gd name="T22" fmla="*/ 120 w 1088"/>
                <a:gd name="T23" fmla="*/ 2 h 690"/>
                <a:gd name="T24" fmla="*/ 120 w 1088"/>
                <a:gd name="T25" fmla="*/ 2 h 690"/>
                <a:gd name="T26" fmla="*/ 119 w 1088"/>
                <a:gd name="T27" fmla="*/ 1 h 690"/>
                <a:gd name="T28" fmla="*/ 118 w 1088"/>
                <a:gd name="T29" fmla="*/ 1 h 690"/>
                <a:gd name="T30" fmla="*/ 116 w 1088"/>
                <a:gd name="T31" fmla="*/ 0 h 690"/>
                <a:gd name="T32" fmla="*/ 115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8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8" y="690"/>
                  </a:moveTo>
                  <a:lnTo>
                    <a:pt x="1020" y="690"/>
                  </a:lnTo>
                  <a:lnTo>
                    <a:pt x="1027" y="688"/>
                  </a:lnTo>
                  <a:lnTo>
                    <a:pt x="1034" y="687"/>
                  </a:lnTo>
                  <a:lnTo>
                    <a:pt x="1041" y="686"/>
                  </a:lnTo>
                  <a:lnTo>
                    <a:pt x="1046" y="684"/>
                  </a:lnTo>
                  <a:lnTo>
                    <a:pt x="1053" y="680"/>
                  </a:lnTo>
                  <a:lnTo>
                    <a:pt x="1059" y="677"/>
                  </a:lnTo>
                  <a:lnTo>
                    <a:pt x="1063" y="674"/>
                  </a:lnTo>
                  <a:lnTo>
                    <a:pt x="1068" y="669"/>
                  </a:lnTo>
                  <a:lnTo>
                    <a:pt x="1072" y="665"/>
                  </a:lnTo>
                  <a:lnTo>
                    <a:pt x="1077" y="659"/>
                  </a:lnTo>
                  <a:lnTo>
                    <a:pt x="1080" y="653"/>
                  </a:lnTo>
                  <a:lnTo>
                    <a:pt x="1083" y="648"/>
                  </a:lnTo>
                  <a:lnTo>
                    <a:pt x="1085" y="641"/>
                  </a:lnTo>
                  <a:lnTo>
                    <a:pt x="1087" y="635"/>
                  </a:lnTo>
                  <a:lnTo>
                    <a:pt x="1088" y="628"/>
                  </a:lnTo>
                  <a:lnTo>
                    <a:pt x="1088" y="622"/>
                  </a:lnTo>
                  <a:lnTo>
                    <a:pt x="1088" y="68"/>
                  </a:lnTo>
                  <a:lnTo>
                    <a:pt x="1088" y="61"/>
                  </a:lnTo>
                  <a:lnTo>
                    <a:pt x="1087" y="54"/>
                  </a:lnTo>
                  <a:lnTo>
                    <a:pt x="1085" y="47"/>
                  </a:lnTo>
                  <a:lnTo>
                    <a:pt x="1083" y="42"/>
                  </a:lnTo>
                  <a:lnTo>
                    <a:pt x="1080" y="35"/>
                  </a:lnTo>
                  <a:lnTo>
                    <a:pt x="1077" y="31"/>
                  </a:lnTo>
                  <a:lnTo>
                    <a:pt x="1072" y="25"/>
                  </a:lnTo>
                  <a:lnTo>
                    <a:pt x="1068" y="20"/>
                  </a:lnTo>
                  <a:lnTo>
                    <a:pt x="1063" y="16"/>
                  </a:lnTo>
                  <a:lnTo>
                    <a:pt x="1059" y="11"/>
                  </a:lnTo>
                  <a:lnTo>
                    <a:pt x="1053" y="8"/>
                  </a:lnTo>
                  <a:lnTo>
                    <a:pt x="1046" y="6"/>
                  </a:lnTo>
                  <a:lnTo>
                    <a:pt x="1041" y="3"/>
                  </a:lnTo>
                  <a:lnTo>
                    <a:pt x="1034" y="1"/>
                  </a:lnTo>
                  <a:lnTo>
                    <a:pt x="1027" y="0"/>
                  </a:lnTo>
                  <a:lnTo>
                    <a:pt x="1020" y="0"/>
                  </a:lnTo>
                  <a:lnTo>
                    <a:pt x="68" y="0"/>
                  </a:lnTo>
                  <a:lnTo>
                    <a:pt x="61" y="0"/>
                  </a:lnTo>
                  <a:lnTo>
                    <a:pt x="54" y="1"/>
                  </a:lnTo>
                  <a:lnTo>
                    <a:pt x="47" y="3"/>
                  </a:lnTo>
                  <a:lnTo>
                    <a:pt x="42" y="6"/>
                  </a:lnTo>
                  <a:lnTo>
                    <a:pt x="35" y="8"/>
                  </a:lnTo>
                  <a:lnTo>
                    <a:pt x="29" y="11"/>
                  </a:lnTo>
                  <a:lnTo>
                    <a:pt x="25" y="16"/>
                  </a:lnTo>
                  <a:lnTo>
                    <a:pt x="19" y="20"/>
                  </a:lnTo>
                  <a:lnTo>
                    <a:pt x="16" y="25"/>
                  </a:lnTo>
                  <a:lnTo>
                    <a:pt x="11" y="31"/>
                  </a:lnTo>
                  <a:lnTo>
                    <a:pt x="8" y="35"/>
                  </a:lnTo>
                  <a:lnTo>
                    <a:pt x="5" y="42"/>
                  </a:lnTo>
                  <a:lnTo>
                    <a:pt x="3" y="47"/>
                  </a:lnTo>
                  <a:lnTo>
                    <a:pt x="1" y="54"/>
                  </a:lnTo>
                  <a:lnTo>
                    <a:pt x="0" y="61"/>
                  </a:lnTo>
                  <a:lnTo>
                    <a:pt x="0" y="68"/>
                  </a:lnTo>
                  <a:lnTo>
                    <a:pt x="0" y="622"/>
                  </a:lnTo>
                  <a:lnTo>
                    <a:pt x="0" y="628"/>
                  </a:lnTo>
                  <a:lnTo>
                    <a:pt x="1" y="635"/>
                  </a:lnTo>
                  <a:lnTo>
                    <a:pt x="3" y="641"/>
                  </a:lnTo>
                  <a:lnTo>
                    <a:pt x="5" y="648"/>
                  </a:lnTo>
                  <a:lnTo>
                    <a:pt x="8" y="653"/>
                  </a:lnTo>
                  <a:lnTo>
                    <a:pt x="11" y="659"/>
                  </a:lnTo>
                  <a:lnTo>
                    <a:pt x="16" y="665"/>
                  </a:lnTo>
                  <a:lnTo>
                    <a:pt x="19" y="669"/>
                  </a:lnTo>
                  <a:lnTo>
                    <a:pt x="25" y="674"/>
                  </a:lnTo>
                  <a:lnTo>
                    <a:pt x="29" y="677"/>
                  </a:lnTo>
                  <a:lnTo>
                    <a:pt x="35" y="680"/>
                  </a:lnTo>
                  <a:lnTo>
                    <a:pt x="42" y="684"/>
                  </a:lnTo>
                  <a:lnTo>
                    <a:pt x="47" y="686"/>
                  </a:lnTo>
                  <a:lnTo>
                    <a:pt x="54" y="687"/>
                  </a:lnTo>
                  <a:lnTo>
                    <a:pt x="61" y="688"/>
                  </a:lnTo>
                  <a:lnTo>
                    <a:pt x="68" y="690"/>
                  </a:lnTo>
                  <a:close/>
                </a:path>
              </a:pathLst>
            </a:custGeom>
            <a:solidFill>
              <a:srgbClr val="FFFF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31" name="Freeform 992"/>
            <p:cNvSpPr>
              <a:spLocks/>
            </p:cNvSpPr>
            <p:nvPr/>
          </p:nvSpPr>
          <p:spPr bwMode="auto">
            <a:xfrm>
              <a:off x="1953" y="3490"/>
              <a:ext cx="363" cy="168"/>
            </a:xfrm>
            <a:custGeom>
              <a:avLst/>
              <a:gdLst>
                <a:gd name="T0" fmla="*/ 113 w 1088"/>
                <a:gd name="T1" fmla="*/ 41 h 690"/>
                <a:gd name="T2" fmla="*/ 115 w 1088"/>
                <a:gd name="T3" fmla="*/ 41 h 690"/>
                <a:gd name="T4" fmla="*/ 116 w 1088"/>
                <a:gd name="T5" fmla="*/ 41 h 690"/>
                <a:gd name="T6" fmla="*/ 118 w 1088"/>
                <a:gd name="T7" fmla="*/ 40 h 690"/>
                <a:gd name="T8" fmla="*/ 119 w 1088"/>
                <a:gd name="T9" fmla="*/ 40 h 690"/>
                <a:gd name="T10" fmla="*/ 120 w 1088"/>
                <a:gd name="T11" fmla="*/ 39 h 690"/>
                <a:gd name="T12" fmla="*/ 120 w 1088"/>
                <a:gd name="T13" fmla="*/ 38 h 690"/>
                <a:gd name="T14" fmla="*/ 121 w 1088"/>
                <a:gd name="T15" fmla="*/ 38 h 690"/>
                <a:gd name="T16" fmla="*/ 121 w 1088"/>
                <a:gd name="T17" fmla="*/ 37 h 690"/>
                <a:gd name="T18" fmla="*/ 121 w 1088"/>
                <a:gd name="T19" fmla="*/ 4 h 690"/>
                <a:gd name="T20" fmla="*/ 121 w 1088"/>
                <a:gd name="T21" fmla="*/ 3 h 690"/>
                <a:gd name="T22" fmla="*/ 120 w 1088"/>
                <a:gd name="T23" fmla="*/ 2 h 690"/>
                <a:gd name="T24" fmla="*/ 120 w 1088"/>
                <a:gd name="T25" fmla="*/ 2 h 690"/>
                <a:gd name="T26" fmla="*/ 119 w 1088"/>
                <a:gd name="T27" fmla="*/ 1 h 690"/>
                <a:gd name="T28" fmla="*/ 118 w 1088"/>
                <a:gd name="T29" fmla="*/ 1 h 690"/>
                <a:gd name="T30" fmla="*/ 116 w 1088"/>
                <a:gd name="T31" fmla="*/ 0 h 690"/>
                <a:gd name="T32" fmla="*/ 115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8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8" y="690"/>
                  </a:moveTo>
                  <a:lnTo>
                    <a:pt x="1020" y="690"/>
                  </a:lnTo>
                  <a:lnTo>
                    <a:pt x="1027" y="688"/>
                  </a:lnTo>
                  <a:lnTo>
                    <a:pt x="1034" y="687"/>
                  </a:lnTo>
                  <a:lnTo>
                    <a:pt x="1041" y="686"/>
                  </a:lnTo>
                  <a:lnTo>
                    <a:pt x="1046" y="684"/>
                  </a:lnTo>
                  <a:lnTo>
                    <a:pt x="1053" y="680"/>
                  </a:lnTo>
                  <a:lnTo>
                    <a:pt x="1059" y="677"/>
                  </a:lnTo>
                  <a:lnTo>
                    <a:pt x="1063" y="674"/>
                  </a:lnTo>
                  <a:lnTo>
                    <a:pt x="1068" y="669"/>
                  </a:lnTo>
                  <a:lnTo>
                    <a:pt x="1072" y="665"/>
                  </a:lnTo>
                  <a:lnTo>
                    <a:pt x="1077" y="659"/>
                  </a:lnTo>
                  <a:lnTo>
                    <a:pt x="1080" y="653"/>
                  </a:lnTo>
                  <a:lnTo>
                    <a:pt x="1083" y="648"/>
                  </a:lnTo>
                  <a:lnTo>
                    <a:pt x="1085" y="641"/>
                  </a:lnTo>
                  <a:lnTo>
                    <a:pt x="1087" y="635"/>
                  </a:lnTo>
                  <a:lnTo>
                    <a:pt x="1088" y="628"/>
                  </a:lnTo>
                  <a:lnTo>
                    <a:pt x="1088" y="622"/>
                  </a:lnTo>
                  <a:lnTo>
                    <a:pt x="1088" y="68"/>
                  </a:lnTo>
                  <a:lnTo>
                    <a:pt x="1088" y="61"/>
                  </a:lnTo>
                  <a:lnTo>
                    <a:pt x="1087" y="54"/>
                  </a:lnTo>
                  <a:lnTo>
                    <a:pt x="1085" y="47"/>
                  </a:lnTo>
                  <a:lnTo>
                    <a:pt x="1083" y="42"/>
                  </a:lnTo>
                  <a:lnTo>
                    <a:pt x="1080" y="35"/>
                  </a:lnTo>
                  <a:lnTo>
                    <a:pt x="1077" y="31"/>
                  </a:lnTo>
                  <a:lnTo>
                    <a:pt x="1072" y="25"/>
                  </a:lnTo>
                  <a:lnTo>
                    <a:pt x="1068" y="20"/>
                  </a:lnTo>
                  <a:lnTo>
                    <a:pt x="1063" y="16"/>
                  </a:lnTo>
                  <a:lnTo>
                    <a:pt x="1059" y="11"/>
                  </a:lnTo>
                  <a:lnTo>
                    <a:pt x="1053" y="8"/>
                  </a:lnTo>
                  <a:lnTo>
                    <a:pt x="1046" y="6"/>
                  </a:lnTo>
                  <a:lnTo>
                    <a:pt x="1041" y="3"/>
                  </a:lnTo>
                  <a:lnTo>
                    <a:pt x="1034" y="1"/>
                  </a:lnTo>
                  <a:lnTo>
                    <a:pt x="1027" y="0"/>
                  </a:lnTo>
                  <a:lnTo>
                    <a:pt x="1020" y="0"/>
                  </a:lnTo>
                  <a:lnTo>
                    <a:pt x="68" y="0"/>
                  </a:lnTo>
                  <a:lnTo>
                    <a:pt x="61" y="0"/>
                  </a:lnTo>
                  <a:lnTo>
                    <a:pt x="54" y="1"/>
                  </a:lnTo>
                  <a:lnTo>
                    <a:pt x="47" y="3"/>
                  </a:lnTo>
                  <a:lnTo>
                    <a:pt x="42" y="6"/>
                  </a:lnTo>
                  <a:lnTo>
                    <a:pt x="35" y="8"/>
                  </a:lnTo>
                  <a:lnTo>
                    <a:pt x="29" y="11"/>
                  </a:lnTo>
                  <a:lnTo>
                    <a:pt x="25" y="16"/>
                  </a:lnTo>
                  <a:lnTo>
                    <a:pt x="19" y="20"/>
                  </a:lnTo>
                  <a:lnTo>
                    <a:pt x="16" y="25"/>
                  </a:lnTo>
                  <a:lnTo>
                    <a:pt x="11" y="31"/>
                  </a:lnTo>
                  <a:lnTo>
                    <a:pt x="8" y="35"/>
                  </a:lnTo>
                  <a:lnTo>
                    <a:pt x="5" y="42"/>
                  </a:lnTo>
                  <a:lnTo>
                    <a:pt x="3" y="47"/>
                  </a:lnTo>
                  <a:lnTo>
                    <a:pt x="1" y="54"/>
                  </a:lnTo>
                  <a:lnTo>
                    <a:pt x="0" y="61"/>
                  </a:lnTo>
                  <a:lnTo>
                    <a:pt x="0" y="68"/>
                  </a:lnTo>
                  <a:lnTo>
                    <a:pt x="0" y="622"/>
                  </a:lnTo>
                  <a:lnTo>
                    <a:pt x="0" y="628"/>
                  </a:lnTo>
                  <a:lnTo>
                    <a:pt x="1" y="635"/>
                  </a:lnTo>
                  <a:lnTo>
                    <a:pt x="3" y="641"/>
                  </a:lnTo>
                  <a:lnTo>
                    <a:pt x="5" y="648"/>
                  </a:lnTo>
                  <a:lnTo>
                    <a:pt x="8" y="653"/>
                  </a:lnTo>
                  <a:lnTo>
                    <a:pt x="11" y="659"/>
                  </a:lnTo>
                  <a:lnTo>
                    <a:pt x="16" y="665"/>
                  </a:lnTo>
                  <a:lnTo>
                    <a:pt x="19" y="669"/>
                  </a:lnTo>
                  <a:lnTo>
                    <a:pt x="25" y="674"/>
                  </a:lnTo>
                  <a:lnTo>
                    <a:pt x="29" y="677"/>
                  </a:lnTo>
                  <a:lnTo>
                    <a:pt x="35" y="680"/>
                  </a:lnTo>
                  <a:lnTo>
                    <a:pt x="42" y="684"/>
                  </a:lnTo>
                  <a:lnTo>
                    <a:pt x="47" y="686"/>
                  </a:lnTo>
                  <a:lnTo>
                    <a:pt x="54" y="687"/>
                  </a:lnTo>
                  <a:lnTo>
                    <a:pt x="61" y="688"/>
                  </a:lnTo>
                  <a:lnTo>
                    <a:pt x="68" y="69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32" name="Rectangle 993"/>
            <p:cNvSpPr>
              <a:spLocks noChangeArrowheads="1"/>
            </p:cNvSpPr>
            <p:nvPr/>
          </p:nvSpPr>
          <p:spPr bwMode="auto">
            <a:xfrm>
              <a:off x="2063" y="3521"/>
              <a:ext cx="15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erform </a:t>
              </a:r>
              <a:endParaRPr lang="en-US" sz="1800" b="0" kern="0" baseline="0">
                <a:solidFill>
                  <a:sysClr val="windowText" lastClr="000000"/>
                </a:solidFill>
                <a:latin typeface="Arial" charset="0"/>
                <a:ea typeface="ＭＳ Ｐゴシック"/>
                <a:cs typeface="ＭＳ Ｐゴシック"/>
              </a:endParaRPr>
            </a:p>
          </p:txBody>
        </p:sp>
        <p:sp>
          <p:nvSpPr>
            <p:cNvPr id="433" name="Rectangle 994"/>
            <p:cNvSpPr>
              <a:spLocks noChangeArrowheads="1"/>
            </p:cNvSpPr>
            <p:nvPr/>
          </p:nvSpPr>
          <p:spPr bwMode="auto">
            <a:xfrm>
              <a:off x="2031" y="3556"/>
              <a:ext cx="21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Operational </a:t>
              </a:r>
              <a:endParaRPr lang="en-US" sz="1800" b="0" kern="0" baseline="0">
                <a:solidFill>
                  <a:sysClr val="windowText" lastClr="000000"/>
                </a:solidFill>
                <a:latin typeface="Arial" charset="0"/>
                <a:ea typeface="ＭＳ Ｐゴシック"/>
                <a:cs typeface="ＭＳ Ｐゴシック"/>
              </a:endParaRPr>
            </a:p>
          </p:txBody>
        </p:sp>
        <p:sp>
          <p:nvSpPr>
            <p:cNvPr id="434" name="Rectangle 995"/>
            <p:cNvSpPr>
              <a:spLocks noChangeArrowheads="1"/>
            </p:cNvSpPr>
            <p:nvPr/>
          </p:nvSpPr>
          <p:spPr bwMode="auto">
            <a:xfrm>
              <a:off x="2056" y="3591"/>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lanning</a:t>
              </a:r>
              <a:endParaRPr lang="en-US" sz="1800" b="0" kern="0" baseline="0">
                <a:solidFill>
                  <a:sysClr val="windowText" lastClr="000000"/>
                </a:solidFill>
                <a:latin typeface="Arial" charset="0"/>
                <a:ea typeface="ＭＳ Ｐゴシック"/>
                <a:cs typeface="ＭＳ Ｐゴシック"/>
              </a:endParaRPr>
            </a:p>
          </p:txBody>
        </p:sp>
        <p:sp>
          <p:nvSpPr>
            <p:cNvPr id="435" name="Freeform 996"/>
            <p:cNvSpPr>
              <a:spLocks/>
            </p:cNvSpPr>
            <p:nvPr/>
          </p:nvSpPr>
          <p:spPr bwMode="auto">
            <a:xfrm>
              <a:off x="2496" y="3490"/>
              <a:ext cx="363" cy="168"/>
            </a:xfrm>
            <a:custGeom>
              <a:avLst/>
              <a:gdLst>
                <a:gd name="T0" fmla="*/ 113 w 1089"/>
                <a:gd name="T1" fmla="*/ 41 h 690"/>
                <a:gd name="T2" fmla="*/ 115 w 1089"/>
                <a:gd name="T3" fmla="*/ 41 h 690"/>
                <a:gd name="T4" fmla="*/ 116 w 1089"/>
                <a:gd name="T5" fmla="*/ 41 h 690"/>
                <a:gd name="T6" fmla="*/ 118 w 1089"/>
                <a:gd name="T7" fmla="*/ 40 h 690"/>
                <a:gd name="T8" fmla="*/ 119 w 1089"/>
                <a:gd name="T9" fmla="*/ 40 h 690"/>
                <a:gd name="T10" fmla="*/ 120 w 1089"/>
                <a:gd name="T11" fmla="*/ 39 h 690"/>
                <a:gd name="T12" fmla="*/ 120 w 1089"/>
                <a:gd name="T13" fmla="*/ 38 h 690"/>
                <a:gd name="T14" fmla="*/ 121 w 1089"/>
                <a:gd name="T15" fmla="*/ 38 h 690"/>
                <a:gd name="T16" fmla="*/ 121 w 1089"/>
                <a:gd name="T17" fmla="*/ 37 h 690"/>
                <a:gd name="T18" fmla="*/ 121 w 1089"/>
                <a:gd name="T19" fmla="*/ 4 h 690"/>
                <a:gd name="T20" fmla="*/ 121 w 1089"/>
                <a:gd name="T21" fmla="*/ 3 h 690"/>
                <a:gd name="T22" fmla="*/ 120 w 1089"/>
                <a:gd name="T23" fmla="*/ 2 h 690"/>
                <a:gd name="T24" fmla="*/ 120 w 1089"/>
                <a:gd name="T25" fmla="*/ 2 h 690"/>
                <a:gd name="T26" fmla="*/ 119 w 1089"/>
                <a:gd name="T27" fmla="*/ 1 h 690"/>
                <a:gd name="T28" fmla="*/ 118 w 1089"/>
                <a:gd name="T29" fmla="*/ 1 h 690"/>
                <a:gd name="T30" fmla="*/ 116 w 1089"/>
                <a:gd name="T31" fmla="*/ 0 h 690"/>
                <a:gd name="T32" fmla="*/ 115 w 1089"/>
                <a:gd name="T33" fmla="*/ 0 h 690"/>
                <a:gd name="T34" fmla="*/ 113 w 1089"/>
                <a:gd name="T35" fmla="*/ 0 h 690"/>
                <a:gd name="T36" fmla="*/ 7 w 1089"/>
                <a:gd name="T37" fmla="*/ 0 h 690"/>
                <a:gd name="T38" fmla="*/ 5 w 1089"/>
                <a:gd name="T39" fmla="*/ 0 h 690"/>
                <a:gd name="T40" fmla="*/ 4 w 1089"/>
                <a:gd name="T41" fmla="*/ 0 h 690"/>
                <a:gd name="T42" fmla="*/ 3 w 1089"/>
                <a:gd name="T43" fmla="*/ 1 h 690"/>
                <a:gd name="T44" fmla="*/ 2 w 1089"/>
                <a:gd name="T45" fmla="*/ 1 h 690"/>
                <a:gd name="T46" fmla="*/ 1 w 1089"/>
                <a:gd name="T47" fmla="*/ 2 h 690"/>
                <a:gd name="T48" fmla="*/ 0 w 1089"/>
                <a:gd name="T49" fmla="*/ 3 h 690"/>
                <a:gd name="T50" fmla="*/ 0 w 1089"/>
                <a:gd name="T51" fmla="*/ 4 h 690"/>
                <a:gd name="T52" fmla="*/ 0 w 1089"/>
                <a:gd name="T53" fmla="*/ 37 h 690"/>
                <a:gd name="T54" fmla="*/ 0 w 1089"/>
                <a:gd name="T55" fmla="*/ 38 h 690"/>
                <a:gd name="T56" fmla="*/ 1 w 1089"/>
                <a:gd name="T57" fmla="*/ 38 h 690"/>
                <a:gd name="T58" fmla="*/ 1 w 1089"/>
                <a:gd name="T59" fmla="*/ 39 h 690"/>
                <a:gd name="T60" fmla="*/ 2 w 1089"/>
                <a:gd name="T61" fmla="*/ 40 h 690"/>
                <a:gd name="T62" fmla="*/ 3 w 1089"/>
                <a:gd name="T63" fmla="*/ 40 h 690"/>
                <a:gd name="T64" fmla="*/ 5 w 1089"/>
                <a:gd name="T65" fmla="*/ 41 h 690"/>
                <a:gd name="T66" fmla="*/ 6 w 1089"/>
                <a:gd name="T67" fmla="*/ 41 h 690"/>
                <a:gd name="T68" fmla="*/ 8 w 1089"/>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90"/>
                <a:gd name="T107" fmla="*/ 1089 w 1089"/>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90">
                  <a:moveTo>
                    <a:pt x="68" y="690"/>
                  </a:moveTo>
                  <a:lnTo>
                    <a:pt x="1021" y="690"/>
                  </a:lnTo>
                  <a:lnTo>
                    <a:pt x="1028" y="688"/>
                  </a:lnTo>
                  <a:lnTo>
                    <a:pt x="1034" y="687"/>
                  </a:lnTo>
                  <a:lnTo>
                    <a:pt x="1041" y="686"/>
                  </a:lnTo>
                  <a:lnTo>
                    <a:pt x="1047" y="684"/>
                  </a:lnTo>
                  <a:lnTo>
                    <a:pt x="1054" y="680"/>
                  </a:lnTo>
                  <a:lnTo>
                    <a:pt x="1059" y="677"/>
                  </a:lnTo>
                  <a:lnTo>
                    <a:pt x="1064" y="674"/>
                  </a:lnTo>
                  <a:lnTo>
                    <a:pt x="1068" y="669"/>
                  </a:lnTo>
                  <a:lnTo>
                    <a:pt x="1073" y="665"/>
                  </a:lnTo>
                  <a:lnTo>
                    <a:pt x="1077" y="659"/>
                  </a:lnTo>
                  <a:lnTo>
                    <a:pt x="1081" y="653"/>
                  </a:lnTo>
                  <a:lnTo>
                    <a:pt x="1083" y="648"/>
                  </a:lnTo>
                  <a:lnTo>
                    <a:pt x="1085" y="641"/>
                  </a:lnTo>
                  <a:lnTo>
                    <a:pt x="1087" y="635"/>
                  </a:lnTo>
                  <a:lnTo>
                    <a:pt x="1089" y="628"/>
                  </a:lnTo>
                  <a:lnTo>
                    <a:pt x="1089" y="622"/>
                  </a:lnTo>
                  <a:lnTo>
                    <a:pt x="1089" y="68"/>
                  </a:lnTo>
                  <a:lnTo>
                    <a:pt x="1089" y="61"/>
                  </a:lnTo>
                  <a:lnTo>
                    <a:pt x="1087" y="54"/>
                  </a:lnTo>
                  <a:lnTo>
                    <a:pt x="1085" y="47"/>
                  </a:lnTo>
                  <a:lnTo>
                    <a:pt x="1083" y="42"/>
                  </a:lnTo>
                  <a:lnTo>
                    <a:pt x="1081" y="35"/>
                  </a:lnTo>
                  <a:lnTo>
                    <a:pt x="1077" y="31"/>
                  </a:lnTo>
                  <a:lnTo>
                    <a:pt x="1073" y="25"/>
                  </a:lnTo>
                  <a:lnTo>
                    <a:pt x="1068" y="20"/>
                  </a:lnTo>
                  <a:lnTo>
                    <a:pt x="1064" y="16"/>
                  </a:lnTo>
                  <a:lnTo>
                    <a:pt x="1059" y="11"/>
                  </a:lnTo>
                  <a:lnTo>
                    <a:pt x="1054" y="8"/>
                  </a:lnTo>
                  <a:lnTo>
                    <a:pt x="1047" y="6"/>
                  </a:lnTo>
                  <a:lnTo>
                    <a:pt x="1041" y="3"/>
                  </a:lnTo>
                  <a:lnTo>
                    <a:pt x="1034" y="1"/>
                  </a:lnTo>
                  <a:lnTo>
                    <a:pt x="1028" y="0"/>
                  </a:lnTo>
                  <a:lnTo>
                    <a:pt x="1021" y="0"/>
                  </a:lnTo>
                  <a:lnTo>
                    <a:pt x="68" y="0"/>
                  </a:lnTo>
                  <a:lnTo>
                    <a:pt x="61" y="0"/>
                  </a:lnTo>
                  <a:lnTo>
                    <a:pt x="54" y="1"/>
                  </a:lnTo>
                  <a:lnTo>
                    <a:pt x="48" y="3"/>
                  </a:lnTo>
                  <a:lnTo>
                    <a:pt x="42" y="6"/>
                  </a:lnTo>
                  <a:lnTo>
                    <a:pt x="35" y="8"/>
                  </a:lnTo>
                  <a:lnTo>
                    <a:pt x="30" y="11"/>
                  </a:lnTo>
                  <a:lnTo>
                    <a:pt x="25" y="16"/>
                  </a:lnTo>
                  <a:lnTo>
                    <a:pt x="19" y="20"/>
                  </a:lnTo>
                  <a:lnTo>
                    <a:pt x="16" y="25"/>
                  </a:lnTo>
                  <a:lnTo>
                    <a:pt x="12" y="31"/>
                  </a:lnTo>
                  <a:lnTo>
                    <a:pt x="8" y="35"/>
                  </a:lnTo>
                  <a:lnTo>
                    <a:pt x="6" y="42"/>
                  </a:lnTo>
                  <a:lnTo>
                    <a:pt x="4" y="47"/>
                  </a:lnTo>
                  <a:lnTo>
                    <a:pt x="1" y="54"/>
                  </a:lnTo>
                  <a:lnTo>
                    <a:pt x="0" y="61"/>
                  </a:lnTo>
                  <a:lnTo>
                    <a:pt x="0" y="68"/>
                  </a:lnTo>
                  <a:lnTo>
                    <a:pt x="0" y="622"/>
                  </a:lnTo>
                  <a:lnTo>
                    <a:pt x="0" y="628"/>
                  </a:lnTo>
                  <a:lnTo>
                    <a:pt x="1" y="635"/>
                  </a:lnTo>
                  <a:lnTo>
                    <a:pt x="4" y="641"/>
                  </a:lnTo>
                  <a:lnTo>
                    <a:pt x="6" y="648"/>
                  </a:lnTo>
                  <a:lnTo>
                    <a:pt x="8" y="653"/>
                  </a:lnTo>
                  <a:lnTo>
                    <a:pt x="12" y="659"/>
                  </a:lnTo>
                  <a:lnTo>
                    <a:pt x="16" y="665"/>
                  </a:lnTo>
                  <a:lnTo>
                    <a:pt x="19" y="669"/>
                  </a:lnTo>
                  <a:lnTo>
                    <a:pt x="25" y="674"/>
                  </a:lnTo>
                  <a:lnTo>
                    <a:pt x="30" y="677"/>
                  </a:lnTo>
                  <a:lnTo>
                    <a:pt x="35" y="680"/>
                  </a:lnTo>
                  <a:lnTo>
                    <a:pt x="42" y="684"/>
                  </a:lnTo>
                  <a:lnTo>
                    <a:pt x="48" y="686"/>
                  </a:lnTo>
                  <a:lnTo>
                    <a:pt x="54" y="687"/>
                  </a:lnTo>
                  <a:lnTo>
                    <a:pt x="61" y="688"/>
                  </a:lnTo>
                  <a:lnTo>
                    <a:pt x="68" y="690"/>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36" name="Freeform 997"/>
            <p:cNvSpPr>
              <a:spLocks/>
            </p:cNvSpPr>
            <p:nvPr/>
          </p:nvSpPr>
          <p:spPr bwMode="auto">
            <a:xfrm>
              <a:off x="2496" y="3490"/>
              <a:ext cx="363" cy="168"/>
            </a:xfrm>
            <a:custGeom>
              <a:avLst/>
              <a:gdLst>
                <a:gd name="T0" fmla="*/ 113 w 1089"/>
                <a:gd name="T1" fmla="*/ 41 h 690"/>
                <a:gd name="T2" fmla="*/ 115 w 1089"/>
                <a:gd name="T3" fmla="*/ 41 h 690"/>
                <a:gd name="T4" fmla="*/ 116 w 1089"/>
                <a:gd name="T5" fmla="*/ 41 h 690"/>
                <a:gd name="T6" fmla="*/ 118 w 1089"/>
                <a:gd name="T7" fmla="*/ 40 h 690"/>
                <a:gd name="T8" fmla="*/ 119 w 1089"/>
                <a:gd name="T9" fmla="*/ 40 h 690"/>
                <a:gd name="T10" fmla="*/ 120 w 1089"/>
                <a:gd name="T11" fmla="*/ 39 h 690"/>
                <a:gd name="T12" fmla="*/ 120 w 1089"/>
                <a:gd name="T13" fmla="*/ 38 h 690"/>
                <a:gd name="T14" fmla="*/ 121 w 1089"/>
                <a:gd name="T15" fmla="*/ 38 h 690"/>
                <a:gd name="T16" fmla="*/ 121 w 1089"/>
                <a:gd name="T17" fmla="*/ 37 h 690"/>
                <a:gd name="T18" fmla="*/ 121 w 1089"/>
                <a:gd name="T19" fmla="*/ 4 h 690"/>
                <a:gd name="T20" fmla="*/ 121 w 1089"/>
                <a:gd name="T21" fmla="*/ 3 h 690"/>
                <a:gd name="T22" fmla="*/ 120 w 1089"/>
                <a:gd name="T23" fmla="*/ 2 h 690"/>
                <a:gd name="T24" fmla="*/ 120 w 1089"/>
                <a:gd name="T25" fmla="*/ 2 h 690"/>
                <a:gd name="T26" fmla="*/ 119 w 1089"/>
                <a:gd name="T27" fmla="*/ 1 h 690"/>
                <a:gd name="T28" fmla="*/ 118 w 1089"/>
                <a:gd name="T29" fmla="*/ 1 h 690"/>
                <a:gd name="T30" fmla="*/ 116 w 1089"/>
                <a:gd name="T31" fmla="*/ 0 h 690"/>
                <a:gd name="T32" fmla="*/ 115 w 1089"/>
                <a:gd name="T33" fmla="*/ 0 h 690"/>
                <a:gd name="T34" fmla="*/ 113 w 1089"/>
                <a:gd name="T35" fmla="*/ 0 h 690"/>
                <a:gd name="T36" fmla="*/ 7 w 1089"/>
                <a:gd name="T37" fmla="*/ 0 h 690"/>
                <a:gd name="T38" fmla="*/ 5 w 1089"/>
                <a:gd name="T39" fmla="*/ 0 h 690"/>
                <a:gd name="T40" fmla="*/ 4 w 1089"/>
                <a:gd name="T41" fmla="*/ 0 h 690"/>
                <a:gd name="T42" fmla="*/ 3 w 1089"/>
                <a:gd name="T43" fmla="*/ 1 h 690"/>
                <a:gd name="T44" fmla="*/ 2 w 1089"/>
                <a:gd name="T45" fmla="*/ 1 h 690"/>
                <a:gd name="T46" fmla="*/ 1 w 1089"/>
                <a:gd name="T47" fmla="*/ 2 h 690"/>
                <a:gd name="T48" fmla="*/ 0 w 1089"/>
                <a:gd name="T49" fmla="*/ 3 h 690"/>
                <a:gd name="T50" fmla="*/ 0 w 1089"/>
                <a:gd name="T51" fmla="*/ 4 h 690"/>
                <a:gd name="T52" fmla="*/ 0 w 1089"/>
                <a:gd name="T53" fmla="*/ 37 h 690"/>
                <a:gd name="T54" fmla="*/ 0 w 1089"/>
                <a:gd name="T55" fmla="*/ 38 h 690"/>
                <a:gd name="T56" fmla="*/ 1 w 1089"/>
                <a:gd name="T57" fmla="*/ 38 h 690"/>
                <a:gd name="T58" fmla="*/ 1 w 1089"/>
                <a:gd name="T59" fmla="*/ 39 h 690"/>
                <a:gd name="T60" fmla="*/ 2 w 1089"/>
                <a:gd name="T61" fmla="*/ 40 h 690"/>
                <a:gd name="T62" fmla="*/ 3 w 1089"/>
                <a:gd name="T63" fmla="*/ 40 h 690"/>
                <a:gd name="T64" fmla="*/ 5 w 1089"/>
                <a:gd name="T65" fmla="*/ 41 h 690"/>
                <a:gd name="T66" fmla="*/ 6 w 1089"/>
                <a:gd name="T67" fmla="*/ 41 h 690"/>
                <a:gd name="T68" fmla="*/ 8 w 1089"/>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90"/>
                <a:gd name="T107" fmla="*/ 1089 w 1089"/>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90">
                  <a:moveTo>
                    <a:pt x="68" y="690"/>
                  </a:moveTo>
                  <a:lnTo>
                    <a:pt x="1021" y="690"/>
                  </a:lnTo>
                  <a:lnTo>
                    <a:pt x="1028" y="688"/>
                  </a:lnTo>
                  <a:lnTo>
                    <a:pt x="1034" y="687"/>
                  </a:lnTo>
                  <a:lnTo>
                    <a:pt x="1041" y="686"/>
                  </a:lnTo>
                  <a:lnTo>
                    <a:pt x="1047" y="684"/>
                  </a:lnTo>
                  <a:lnTo>
                    <a:pt x="1054" y="680"/>
                  </a:lnTo>
                  <a:lnTo>
                    <a:pt x="1059" y="677"/>
                  </a:lnTo>
                  <a:lnTo>
                    <a:pt x="1064" y="674"/>
                  </a:lnTo>
                  <a:lnTo>
                    <a:pt x="1068" y="669"/>
                  </a:lnTo>
                  <a:lnTo>
                    <a:pt x="1073" y="665"/>
                  </a:lnTo>
                  <a:lnTo>
                    <a:pt x="1077" y="659"/>
                  </a:lnTo>
                  <a:lnTo>
                    <a:pt x="1081" y="653"/>
                  </a:lnTo>
                  <a:lnTo>
                    <a:pt x="1083" y="648"/>
                  </a:lnTo>
                  <a:lnTo>
                    <a:pt x="1085" y="641"/>
                  </a:lnTo>
                  <a:lnTo>
                    <a:pt x="1087" y="635"/>
                  </a:lnTo>
                  <a:lnTo>
                    <a:pt x="1089" y="628"/>
                  </a:lnTo>
                  <a:lnTo>
                    <a:pt x="1089" y="622"/>
                  </a:lnTo>
                  <a:lnTo>
                    <a:pt x="1089" y="68"/>
                  </a:lnTo>
                  <a:lnTo>
                    <a:pt x="1089" y="61"/>
                  </a:lnTo>
                  <a:lnTo>
                    <a:pt x="1087" y="54"/>
                  </a:lnTo>
                  <a:lnTo>
                    <a:pt x="1085" y="47"/>
                  </a:lnTo>
                  <a:lnTo>
                    <a:pt x="1083" y="42"/>
                  </a:lnTo>
                  <a:lnTo>
                    <a:pt x="1081" y="35"/>
                  </a:lnTo>
                  <a:lnTo>
                    <a:pt x="1077" y="31"/>
                  </a:lnTo>
                  <a:lnTo>
                    <a:pt x="1073" y="25"/>
                  </a:lnTo>
                  <a:lnTo>
                    <a:pt x="1068" y="20"/>
                  </a:lnTo>
                  <a:lnTo>
                    <a:pt x="1064" y="16"/>
                  </a:lnTo>
                  <a:lnTo>
                    <a:pt x="1059" y="11"/>
                  </a:lnTo>
                  <a:lnTo>
                    <a:pt x="1054" y="8"/>
                  </a:lnTo>
                  <a:lnTo>
                    <a:pt x="1047" y="6"/>
                  </a:lnTo>
                  <a:lnTo>
                    <a:pt x="1041" y="3"/>
                  </a:lnTo>
                  <a:lnTo>
                    <a:pt x="1034" y="1"/>
                  </a:lnTo>
                  <a:lnTo>
                    <a:pt x="1028" y="0"/>
                  </a:lnTo>
                  <a:lnTo>
                    <a:pt x="1021" y="0"/>
                  </a:lnTo>
                  <a:lnTo>
                    <a:pt x="68" y="0"/>
                  </a:lnTo>
                  <a:lnTo>
                    <a:pt x="61" y="0"/>
                  </a:lnTo>
                  <a:lnTo>
                    <a:pt x="54" y="1"/>
                  </a:lnTo>
                  <a:lnTo>
                    <a:pt x="48" y="3"/>
                  </a:lnTo>
                  <a:lnTo>
                    <a:pt x="42" y="6"/>
                  </a:lnTo>
                  <a:lnTo>
                    <a:pt x="35" y="8"/>
                  </a:lnTo>
                  <a:lnTo>
                    <a:pt x="30" y="11"/>
                  </a:lnTo>
                  <a:lnTo>
                    <a:pt x="25" y="16"/>
                  </a:lnTo>
                  <a:lnTo>
                    <a:pt x="19" y="20"/>
                  </a:lnTo>
                  <a:lnTo>
                    <a:pt x="16" y="25"/>
                  </a:lnTo>
                  <a:lnTo>
                    <a:pt x="12" y="31"/>
                  </a:lnTo>
                  <a:lnTo>
                    <a:pt x="8" y="35"/>
                  </a:lnTo>
                  <a:lnTo>
                    <a:pt x="6" y="42"/>
                  </a:lnTo>
                  <a:lnTo>
                    <a:pt x="4" y="47"/>
                  </a:lnTo>
                  <a:lnTo>
                    <a:pt x="1" y="54"/>
                  </a:lnTo>
                  <a:lnTo>
                    <a:pt x="0" y="61"/>
                  </a:lnTo>
                  <a:lnTo>
                    <a:pt x="0" y="68"/>
                  </a:lnTo>
                  <a:lnTo>
                    <a:pt x="0" y="622"/>
                  </a:lnTo>
                  <a:lnTo>
                    <a:pt x="0" y="628"/>
                  </a:lnTo>
                  <a:lnTo>
                    <a:pt x="1" y="635"/>
                  </a:lnTo>
                  <a:lnTo>
                    <a:pt x="4" y="641"/>
                  </a:lnTo>
                  <a:lnTo>
                    <a:pt x="6" y="648"/>
                  </a:lnTo>
                  <a:lnTo>
                    <a:pt x="8" y="653"/>
                  </a:lnTo>
                  <a:lnTo>
                    <a:pt x="12" y="659"/>
                  </a:lnTo>
                  <a:lnTo>
                    <a:pt x="16" y="665"/>
                  </a:lnTo>
                  <a:lnTo>
                    <a:pt x="19" y="669"/>
                  </a:lnTo>
                  <a:lnTo>
                    <a:pt x="25" y="674"/>
                  </a:lnTo>
                  <a:lnTo>
                    <a:pt x="30" y="677"/>
                  </a:lnTo>
                  <a:lnTo>
                    <a:pt x="35" y="680"/>
                  </a:lnTo>
                  <a:lnTo>
                    <a:pt x="42" y="684"/>
                  </a:lnTo>
                  <a:lnTo>
                    <a:pt x="48" y="686"/>
                  </a:lnTo>
                  <a:lnTo>
                    <a:pt x="54" y="687"/>
                  </a:lnTo>
                  <a:lnTo>
                    <a:pt x="61" y="688"/>
                  </a:lnTo>
                  <a:lnTo>
                    <a:pt x="68" y="69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37" name="Rectangle 998"/>
            <p:cNvSpPr>
              <a:spLocks noChangeArrowheads="1"/>
            </p:cNvSpPr>
            <p:nvPr/>
          </p:nvSpPr>
          <p:spPr bwMode="auto">
            <a:xfrm>
              <a:off x="2609" y="3521"/>
              <a:ext cx="14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ovide </a:t>
              </a:r>
              <a:endParaRPr lang="en-US" sz="1800" b="0" kern="0" baseline="0">
                <a:solidFill>
                  <a:sysClr val="windowText" lastClr="000000"/>
                </a:solidFill>
                <a:latin typeface="Arial" charset="0"/>
                <a:ea typeface="ＭＳ Ｐゴシック"/>
                <a:cs typeface="ＭＳ Ｐゴシック"/>
              </a:endParaRPr>
            </a:p>
          </p:txBody>
        </p:sp>
        <p:sp>
          <p:nvSpPr>
            <p:cNvPr id="438" name="Rectangle 999"/>
            <p:cNvSpPr>
              <a:spLocks noChangeArrowheads="1"/>
            </p:cNvSpPr>
            <p:nvPr/>
          </p:nvSpPr>
          <p:spPr bwMode="auto">
            <a:xfrm>
              <a:off x="2573" y="3556"/>
              <a:ext cx="21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Operational </a:t>
              </a:r>
              <a:endParaRPr lang="en-US" sz="1800" b="0" kern="0" baseline="0">
                <a:solidFill>
                  <a:sysClr val="windowText" lastClr="000000"/>
                </a:solidFill>
                <a:latin typeface="Arial" charset="0"/>
                <a:ea typeface="ＭＳ Ｐゴシック"/>
                <a:cs typeface="ＭＳ Ｐゴシック"/>
              </a:endParaRPr>
            </a:p>
          </p:txBody>
        </p:sp>
        <p:sp>
          <p:nvSpPr>
            <p:cNvPr id="439" name="Rectangle 1000"/>
            <p:cNvSpPr>
              <a:spLocks noChangeArrowheads="1"/>
            </p:cNvSpPr>
            <p:nvPr/>
          </p:nvSpPr>
          <p:spPr bwMode="auto">
            <a:xfrm>
              <a:off x="2607" y="3591"/>
              <a:ext cx="13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Support</a:t>
              </a:r>
              <a:endParaRPr lang="en-US" sz="1800" b="0" kern="0" baseline="0">
                <a:solidFill>
                  <a:sysClr val="windowText" lastClr="000000"/>
                </a:solidFill>
                <a:latin typeface="Arial" charset="0"/>
                <a:ea typeface="ＭＳ Ｐゴシック"/>
                <a:cs typeface="ＭＳ Ｐゴシック"/>
              </a:endParaRPr>
            </a:p>
          </p:txBody>
        </p:sp>
        <p:sp>
          <p:nvSpPr>
            <p:cNvPr id="440" name="Freeform 1001"/>
            <p:cNvSpPr>
              <a:spLocks/>
            </p:cNvSpPr>
            <p:nvPr/>
          </p:nvSpPr>
          <p:spPr bwMode="auto">
            <a:xfrm>
              <a:off x="3038" y="3490"/>
              <a:ext cx="363" cy="168"/>
            </a:xfrm>
            <a:custGeom>
              <a:avLst/>
              <a:gdLst>
                <a:gd name="T0" fmla="*/ 113 w 1088"/>
                <a:gd name="T1" fmla="*/ 41 h 690"/>
                <a:gd name="T2" fmla="*/ 115 w 1088"/>
                <a:gd name="T3" fmla="*/ 41 h 690"/>
                <a:gd name="T4" fmla="*/ 116 w 1088"/>
                <a:gd name="T5" fmla="*/ 41 h 690"/>
                <a:gd name="T6" fmla="*/ 118 w 1088"/>
                <a:gd name="T7" fmla="*/ 40 h 690"/>
                <a:gd name="T8" fmla="*/ 119 w 1088"/>
                <a:gd name="T9" fmla="*/ 40 h 690"/>
                <a:gd name="T10" fmla="*/ 120 w 1088"/>
                <a:gd name="T11" fmla="*/ 39 h 690"/>
                <a:gd name="T12" fmla="*/ 120 w 1088"/>
                <a:gd name="T13" fmla="*/ 38 h 690"/>
                <a:gd name="T14" fmla="*/ 121 w 1088"/>
                <a:gd name="T15" fmla="*/ 38 h 690"/>
                <a:gd name="T16" fmla="*/ 121 w 1088"/>
                <a:gd name="T17" fmla="*/ 37 h 690"/>
                <a:gd name="T18" fmla="*/ 121 w 1088"/>
                <a:gd name="T19" fmla="*/ 4 h 690"/>
                <a:gd name="T20" fmla="*/ 121 w 1088"/>
                <a:gd name="T21" fmla="*/ 3 h 690"/>
                <a:gd name="T22" fmla="*/ 120 w 1088"/>
                <a:gd name="T23" fmla="*/ 2 h 690"/>
                <a:gd name="T24" fmla="*/ 120 w 1088"/>
                <a:gd name="T25" fmla="*/ 2 h 690"/>
                <a:gd name="T26" fmla="*/ 119 w 1088"/>
                <a:gd name="T27" fmla="*/ 1 h 690"/>
                <a:gd name="T28" fmla="*/ 118 w 1088"/>
                <a:gd name="T29" fmla="*/ 1 h 690"/>
                <a:gd name="T30" fmla="*/ 116 w 1088"/>
                <a:gd name="T31" fmla="*/ 0 h 690"/>
                <a:gd name="T32" fmla="*/ 115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7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7" y="690"/>
                  </a:moveTo>
                  <a:lnTo>
                    <a:pt x="1020" y="690"/>
                  </a:lnTo>
                  <a:lnTo>
                    <a:pt x="1027" y="688"/>
                  </a:lnTo>
                  <a:lnTo>
                    <a:pt x="1034" y="687"/>
                  </a:lnTo>
                  <a:lnTo>
                    <a:pt x="1041" y="686"/>
                  </a:lnTo>
                  <a:lnTo>
                    <a:pt x="1046" y="684"/>
                  </a:lnTo>
                  <a:lnTo>
                    <a:pt x="1053" y="680"/>
                  </a:lnTo>
                  <a:lnTo>
                    <a:pt x="1059" y="677"/>
                  </a:lnTo>
                  <a:lnTo>
                    <a:pt x="1063" y="674"/>
                  </a:lnTo>
                  <a:lnTo>
                    <a:pt x="1068" y="669"/>
                  </a:lnTo>
                  <a:lnTo>
                    <a:pt x="1072" y="665"/>
                  </a:lnTo>
                  <a:lnTo>
                    <a:pt x="1077" y="659"/>
                  </a:lnTo>
                  <a:lnTo>
                    <a:pt x="1080" y="653"/>
                  </a:lnTo>
                  <a:lnTo>
                    <a:pt x="1082" y="648"/>
                  </a:lnTo>
                  <a:lnTo>
                    <a:pt x="1085" y="641"/>
                  </a:lnTo>
                  <a:lnTo>
                    <a:pt x="1087" y="635"/>
                  </a:lnTo>
                  <a:lnTo>
                    <a:pt x="1088" y="628"/>
                  </a:lnTo>
                  <a:lnTo>
                    <a:pt x="1088" y="622"/>
                  </a:lnTo>
                  <a:lnTo>
                    <a:pt x="1088" y="68"/>
                  </a:lnTo>
                  <a:lnTo>
                    <a:pt x="1088" y="61"/>
                  </a:lnTo>
                  <a:lnTo>
                    <a:pt x="1087" y="54"/>
                  </a:lnTo>
                  <a:lnTo>
                    <a:pt x="1085" y="47"/>
                  </a:lnTo>
                  <a:lnTo>
                    <a:pt x="1082" y="42"/>
                  </a:lnTo>
                  <a:lnTo>
                    <a:pt x="1080" y="35"/>
                  </a:lnTo>
                  <a:lnTo>
                    <a:pt x="1077" y="31"/>
                  </a:lnTo>
                  <a:lnTo>
                    <a:pt x="1072" y="25"/>
                  </a:lnTo>
                  <a:lnTo>
                    <a:pt x="1068" y="20"/>
                  </a:lnTo>
                  <a:lnTo>
                    <a:pt x="1063" y="16"/>
                  </a:lnTo>
                  <a:lnTo>
                    <a:pt x="1059" y="11"/>
                  </a:lnTo>
                  <a:lnTo>
                    <a:pt x="1053" y="8"/>
                  </a:lnTo>
                  <a:lnTo>
                    <a:pt x="1046" y="6"/>
                  </a:lnTo>
                  <a:lnTo>
                    <a:pt x="1041" y="3"/>
                  </a:lnTo>
                  <a:lnTo>
                    <a:pt x="1034" y="1"/>
                  </a:lnTo>
                  <a:lnTo>
                    <a:pt x="1027" y="0"/>
                  </a:lnTo>
                  <a:lnTo>
                    <a:pt x="1020" y="0"/>
                  </a:lnTo>
                  <a:lnTo>
                    <a:pt x="67" y="0"/>
                  </a:lnTo>
                  <a:lnTo>
                    <a:pt x="61" y="0"/>
                  </a:lnTo>
                  <a:lnTo>
                    <a:pt x="54" y="1"/>
                  </a:lnTo>
                  <a:lnTo>
                    <a:pt x="47" y="3"/>
                  </a:lnTo>
                  <a:lnTo>
                    <a:pt x="41" y="6"/>
                  </a:lnTo>
                  <a:lnTo>
                    <a:pt x="35" y="8"/>
                  </a:lnTo>
                  <a:lnTo>
                    <a:pt x="29" y="11"/>
                  </a:lnTo>
                  <a:lnTo>
                    <a:pt x="25" y="16"/>
                  </a:lnTo>
                  <a:lnTo>
                    <a:pt x="19" y="20"/>
                  </a:lnTo>
                  <a:lnTo>
                    <a:pt x="15" y="25"/>
                  </a:lnTo>
                  <a:lnTo>
                    <a:pt x="11" y="31"/>
                  </a:lnTo>
                  <a:lnTo>
                    <a:pt x="8" y="35"/>
                  </a:lnTo>
                  <a:lnTo>
                    <a:pt x="5" y="42"/>
                  </a:lnTo>
                  <a:lnTo>
                    <a:pt x="3" y="47"/>
                  </a:lnTo>
                  <a:lnTo>
                    <a:pt x="1" y="54"/>
                  </a:lnTo>
                  <a:lnTo>
                    <a:pt x="0" y="61"/>
                  </a:lnTo>
                  <a:lnTo>
                    <a:pt x="0" y="68"/>
                  </a:lnTo>
                  <a:lnTo>
                    <a:pt x="0" y="622"/>
                  </a:lnTo>
                  <a:lnTo>
                    <a:pt x="0" y="628"/>
                  </a:lnTo>
                  <a:lnTo>
                    <a:pt x="1" y="635"/>
                  </a:lnTo>
                  <a:lnTo>
                    <a:pt x="3" y="641"/>
                  </a:lnTo>
                  <a:lnTo>
                    <a:pt x="5" y="648"/>
                  </a:lnTo>
                  <a:lnTo>
                    <a:pt x="8" y="653"/>
                  </a:lnTo>
                  <a:lnTo>
                    <a:pt x="11" y="659"/>
                  </a:lnTo>
                  <a:lnTo>
                    <a:pt x="15" y="665"/>
                  </a:lnTo>
                  <a:lnTo>
                    <a:pt x="19" y="669"/>
                  </a:lnTo>
                  <a:lnTo>
                    <a:pt x="25" y="674"/>
                  </a:lnTo>
                  <a:lnTo>
                    <a:pt x="29" y="677"/>
                  </a:lnTo>
                  <a:lnTo>
                    <a:pt x="35" y="680"/>
                  </a:lnTo>
                  <a:lnTo>
                    <a:pt x="41" y="684"/>
                  </a:lnTo>
                  <a:lnTo>
                    <a:pt x="47" y="686"/>
                  </a:lnTo>
                  <a:lnTo>
                    <a:pt x="54" y="687"/>
                  </a:lnTo>
                  <a:lnTo>
                    <a:pt x="61" y="688"/>
                  </a:lnTo>
                  <a:lnTo>
                    <a:pt x="67" y="690"/>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41" name="Freeform 1002"/>
            <p:cNvSpPr>
              <a:spLocks/>
            </p:cNvSpPr>
            <p:nvPr/>
          </p:nvSpPr>
          <p:spPr bwMode="auto">
            <a:xfrm>
              <a:off x="3038" y="3490"/>
              <a:ext cx="363" cy="168"/>
            </a:xfrm>
            <a:custGeom>
              <a:avLst/>
              <a:gdLst>
                <a:gd name="T0" fmla="*/ 113 w 1088"/>
                <a:gd name="T1" fmla="*/ 41 h 690"/>
                <a:gd name="T2" fmla="*/ 115 w 1088"/>
                <a:gd name="T3" fmla="*/ 41 h 690"/>
                <a:gd name="T4" fmla="*/ 116 w 1088"/>
                <a:gd name="T5" fmla="*/ 41 h 690"/>
                <a:gd name="T6" fmla="*/ 118 w 1088"/>
                <a:gd name="T7" fmla="*/ 40 h 690"/>
                <a:gd name="T8" fmla="*/ 119 w 1088"/>
                <a:gd name="T9" fmla="*/ 40 h 690"/>
                <a:gd name="T10" fmla="*/ 120 w 1088"/>
                <a:gd name="T11" fmla="*/ 39 h 690"/>
                <a:gd name="T12" fmla="*/ 120 w 1088"/>
                <a:gd name="T13" fmla="*/ 38 h 690"/>
                <a:gd name="T14" fmla="*/ 121 w 1088"/>
                <a:gd name="T15" fmla="*/ 38 h 690"/>
                <a:gd name="T16" fmla="*/ 121 w 1088"/>
                <a:gd name="T17" fmla="*/ 37 h 690"/>
                <a:gd name="T18" fmla="*/ 121 w 1088"/>
                <a:gd name="T19" fmla="*/ 4 h 690"/>
                <a:gd name="T20" fmla="*/ 121 w 1088"/>
                <a:gd name="T21" fmla="*/ 3 h 690"/>
                <a:gd name="T22" fmla="*/ 120 w 1088"/>
                <a:gd name="T23" fmla="*/ 2 h 690"/>
                <a:gd name="T24" fmla="*/ 120 w 1088"/>
                <a:gd name="T25" fmla="*/ 2 h 690"/>
                <a:gd name="T26" fmla="*/ 119 w 1088"/>
                <a:gd name="T27" fmla="*/ 1 h 690"/>
                <a:gd name="T28" fmla="*/ 118 w 1088"/>
                <a:gd name="T29" fmla="*/ 1 h 690"/>
                <a:gd name="T30" fmla="*/ 116 w 1088"/>
                <a:gd name="T31" fmla="*/ 0 h 690"/>
                <a:gd name="T32" fmla="*/ 115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7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7" y="690"/>
                  </a:moveTo>
                  <a:lnTo>
                    <a:pt x="1020" y="690"/>
                  </a:lnTo>
                  <a:lnTo>
                    <a:pt x="1027" y="688"/>
                  </a:lnTo>
                  <a:lnTo>
                    <a:pt x="1034" y="687"/>
                  </a:lnTo>
                  <a:lnTo>
                    <a:pt x="1041" y="686"/>
                  </a:lnTo>
                  <a:lnTo>
                    <a:pt x="1046" y="684"/>
                  </a:lnTo>
                  <a:lnTo>
                    <a:pt x="1053" y="680"/>
                  </a:lnTo>
                  <a:lnTo>
                    <a:pt x="1059" y="677"/>
                  </a:lnTo>
                  <a:lnTo>
                    <a:pt x="1063" y="674"/>
                  </a:lnTo>
                  <a:lnTo>
                    <a:pt x="1068" y="669"/>
                  </a:lnTo>
                  <a:lnTo>
                    <a:pt x="1072" y="665"/>
                  </a:lnTo>
                  <a:lnTo>
                    <a:pt x="1077" y="659"/>
                  </a:lnTo>
                  <a:lnTo>
                    <a:pt x="1080" y="653"/>
                  </a:lnTo>
                  <a:lnTo>
                    <a:pt x="1082" y="648"/>
                  </a:lnTo>
                  <a:lnTo>
                    <a:pt x="1085" y="641"/>
                  </a:lnTo>
                  <a:lnTo>
                    <a:pt x="1087" y="635"/>
                  </a:lnTo>
                  <a:lnTo>
                    <a:pt x="1088" y="628"/>
                  </a:lnTo>
                  <a:lnTo>
                    <a:pt x="1088" y="622"/>
                  </a:lnTo>
                  <a:lnTo>
                    <a:pt x="1088" y="68"/>
                  </a:lnTo>
                  <a:lnTo>
                    <a:pt x="1088" y="61"/>
                  </a:lnTo>
                  <a:lnTo>
                    <a:pt x="1087" y="54"/>
                  </a:lnTo>
                  <a:lnTo>
                    <a:pt x="1085" y="47"/>
                  </a:lnTo>
                  <a:lnTo>
                    <a:pt x="1082" y="42"/>
                  </a:lnTo>
                  <a:lnTo>
                    <a:pt x="1080" y="35"/>
                  </a:lnTo>
                  <a:lnTo>
                    <a:pt x="1077" y="31"/>
                  </a:lnTo>
                  <a:lnTo>
                    <a:pt x="1072" y="25"/>
                  </a:lnTo>
                  <a:lnTo>
                    <a:pt x="1068" y="20"/>
                  </a:lnTo>
                  <a:lnTo>
                    <a:pt x="1063" y="16"/>
                  </a:lnTo>
                  <a:lnTo>
                    <a:pt x="1059" y="11"/>
                  </a:lnTo>
                  <a:lnTo>
                    <a:pt x="1053" y="8"/>
                  </a:lnTo>
                  <a:lnTo>
                    <a:pt x="1046" y="6"/>
                  </a:lnTo>
                  <a:lnTo>
                    <a:pt x="1041" y="3"/>
                  </a:lnTo>
                  <a:lnTo>
                    <a:pt x="1034" y="1"/>
                  </a:lnTo>
                  <a:lnTo>
                    <a:pt x="1027" y="0"/>
                  </a:lnTo>
                  <a:lnTo>
                    <a:pt x="1020" y="0"/>
                  </a:lnTo>
                  <a:lnTo>
                    <a:pt x="67" y="0"/>
                  </a:lnTo>
                  <a:lnTo>
                    <a:pt x="61" y="0"/>
                  </a:lnTo>
                  <a:lnTo>
                    <a:pt x="54" y="1"/>
                  </a:lnTo>
                  <a:lnTo>
                    <a:pt x="47" y="3"/>
                  </a:lnTo>
                  <a:lnTo>
                    <a:pt x="41" y="6"/>
                  </a:lnTo>
                  <a:lnTo>
                    <a:pt x="35" y="8"/>
                  </a:lnTo>
                  <a:lnTo>
                    <a:pt x="29" y="11"/>
                  </a:lnTo>
                  <a:lnTo>
                    <a:pt x="25" y="16"/>
                  </a:lnTo>
                  <a:lnTo>
                    <a:pt x="19" y="20"/>
                  </a:lnTo>
                  <a:lnTo>
                    <a:pt x="15" y="25"/>
                  </a:lnTo>
                  <a:lnTo>
                    <a:pt x="11" y="31"/>
                  </a:lnTo>
                  <a:lnTo>
                    <a:pt x="8" y="35"/>
                  </a:lnTo>
                  <a:lnTo>
                    <a:pt x="5" y="42"/>
                  </a:lnTo>
                  <a:lnTo>
                    <a:pt x="3" y="47"/>
                  </a:lnTo>
                  <a:lnTo>
                    <a:pt x="1" y="54"/>
                  </a:lnTo>
                  <a:lnTo>
                    <a:pt x="0" y="61"/>
                  </a:lnTo>
                  <a:lnTo>
                    <a:pt x="0" y="68"/>
                  </a:lnTo>
                  <a:lnTo>
                    <a:pt x="0" y="622"/>
                  </a:lnTo>
                  <a:lnTo>
                    <a:pt x="0" y="628"/>
                  </a:lnTo>
                  <a:lnTo>
                    <a:pt x="1" y="635"/>
                  </a:lnTo>
                  <a:lnTo>
                    <a:pt x="3" y="641"/>
                  </a:lnTo>
                  <a:lnTo>
                    <a:pt x="5" y="648"/>
                  </a:lnTo>
                  <a:lnTo>
                    <a:pt x="8" y="653"/>
                  </a:lnTo>
                  <a:lnTo>
                    <a:pt x="11" y="659"/>
                  </a:lnTo>
                  <a:lnTo>
                    <a:pt x="15" y="665"/>
                  </a:lnTo>
                  <a:lnTo>
                    <a:pt x="19" y="669"/>
                  </a:lnTo>
                  <a:lnTo>
                    <a:pt x="25" y="674"/>
                  </a:lnTo>
                  <a:lnTo>
                    <a:pt x="29" y="677"/>
                  </a:lnTo>
                  <a:lnTo>
                    <a:pt x="35" y="680"/>
                  </a:lnTo>
                  <a:lnTo>
                    <a:pt x="41" y="684"/>
                  </a:lnTo>
                  <a:lnTo>
                    <a:pt x="47" y="686"/>
                  </a:lnTo>
                  <a:lnTo>
                    <a:pt x="54" y="687"/>
                  </a:lnTo>
                  <a:lnTo>
                    <a:pt x="61" y="688"/>
                  </a:lnTo>
                  <a:lnTo>
                    <a:pt x="67" y="69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42" name="Rectangle 1003"/>
            <p:cNvSpPr>
              <a:spLocks noChangeArrowheads="1"/>
            </p:cNvSpPr>
            <p:nvPr/>
          </p:nvSpPr>
          <p:spPr bwMode="auto">
            <a:xfrm>
              <a:off x="3128" y="3521"/>
              <a:ext cx="19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al Time </a:t>
              </a:r>
              <a:endParaRPr lang="en-US" sz="1800" b="0" kern="0" baseline="0">
                <a:solidFill>
                  <a:sysClr val="windowText" lastClr="000000"/>
                </a:solidFill>
                <a:latin typeface="Arial" charset="0"/>
                <a:ea typeface="ＭＳ Ｐゴシック"/>
                <a:cs typeface="ＭＳ Ｐゴシック"/>
              </a:endParaRPr>
            </a:p>
          </p:txBody>
        </p:sp>
        <p:sp>
          <p:nvSpPr>
            <p:cNvPr id="443" name="Rectangle 1004"/>
            <p:cNvSpPr>
              <a:spLocks noChangeArrowheads="1"/>
            </p:cNvSpPr>
            <p:nvPr/>
          </p:nvSpPr>
          <p:spPr bwMode="auto">
            <a:xfrm>
              <a:off x="3116" y="3556"/>
              <a:ext cx="19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Operations</a:t>
              </a:r>
              <a:endParaRPr lang="en-US" sz="1800" b="0" kern="0" baseline="0">
                <a:solidFill>
                  <a:sysClr val="windowText" lastClr="000000"/>
                </a:solidFill>
                <a:latin typeface="Arial" charset="0"/>
                <a:ea typeface="ＭＳ Ｐゴシック"/>
                <a:cs typeface="ＭＳ Ｐゴシック"/>
              </a:endParaRPr>
            </a:p>
          </p:txBody>
        </p:sp>
        <p:sp>
          <p:nvSpPr>
            <p:cNvPr id="444" name="Rectangle 1005"/>
            <p:cNvSpPr>
              <a:spLocks noChangeArrowheads="1"/>
            </p:cNvSpPr>
            <p:nvPr/>
          </p:nvSpPr>
          <p:spPr bwMode="auto">
            <a:xfrm>
              <a:off x="3312" y="3556"/>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445" name="Rectangle 1006"/>
            <p:cNvSpPr>
              <a:spLocks noChangeArrowheads="1"/>
            </p:cNvSpPr>
            <p:nvPr/>
          </p:nvSpPr>
          <p:spPr bwMode="auto">
            <a:xfrm>
              <a:off x="3063" y="3591"/>
              <a:ext cx="14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onitor </a:t>
              </a:r>
              <a:endParaRPr lang="en-US" sz="1800" b="0" kern="0" baseline="0">
                <a:solidFill>
                  <a:sysClr val="windowText" lastClr="000000"/>
                </a:solidFill>
                <a:latin typeface="Arial" charset="0"/>
                <a:ea typeface="ＭＳ Ｐゴシック"/>
                <a:cs typeface="ＭＳ Ｐゴシック"/>
              </a:endParaRPr>
            </a:p>
          </p:txBody>
        </p:sp>
        <p:sp>
          <p:nvSpPr>
            <p:cNvPr id="446" name="Rectangle 1007"/>
            <p:cNvSpPr>
              <a:spLocks noChangeArrowheads="1"/>
            </p:cNvSpPr>
            <p:nvPr/>
          </p:nvSpPr>
          <p:spPr bwMode="auto">
            <a:xfrm>
              <a:off x="3208" y="3591"/>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447" name="Rectangle 1008"/>
            <p:cNvSpPr>
              <a:spLocks noChangeArrowheads="1"/>
            </p:cNvSpPr>
            <p:nvPr/>
          </p:nvSpPr>
          <p:spPr bwMode="auto">
            <a:xfrm>
              <a:off x="3246" y="3591"/>
              <a:ext cx="12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Control</a:t>
              </a:r>
              <a:endParaRPr lang="en-US" sz="1800" b="0" kern="0" baseline="0">
                <a:solidFill>
                  <a:sysClr val="windowText" lastClr="000000"/>
                </a:solidFill>
                <a:latin typeface="Arial" charset="0"/>
                <a:ea typeface="ＭＳ Ｐゴシック"/>
                <a:cs typeface="ＭＳ Ｐゴシック"/>
              </a:endParaRPr>
            </a:p>
          </p:txBody>
        </p:sp>
        <p:sp>
          <p:nvSpPr>
            <p:cNvPr id="448" name="Freeform 1009"/>
            <p:cNvSpPr>
              <a:spLocks/>
            </p:cNvSpPr>
            <p:nvPr/>
          </p:nvSpPr>
          <p:spPr bwMode="auto">
            <a:xfrm>
              <a:off x="3581" y="3490"/>
              <a:ext cx="362" cy="168"/>
            </a:xfrm>
            <a:custGeom>
              <a:avLst/>
              <a:gdLst>
                <a:gd name="T0" fmla="*/ 113 w 1088"/>
                <a:gd name="T1" fmla="*/ 41 h 690"/>
                <a:gd name="T2" fmla="*/ 114 w 1088"/>
                <a:gd name="T3" fmla="*/ 41 h 690"/>
                <a:gd name="T4" fmla="*/ 116 w 1088"/>
                <a:gd name="T5" fmla="*/ 41 h 690"/>
                <a:gd name="T6" fmla="*/ 117 w 1088"/>
                <a:gd name="T7" fmla="*/ 40 h 690"/>
                <a:gd name="T8" fmla="*/ 118 w 1088"/>
                <a:gd name="T9" fmla="*/ 40 h 690"/>
                <a:gd name="T10" fmla="*/ 119 w 1088"/>
                <a:gd name="T11" fmla="*/ 39 h 690"/>
                <a:gd name="T12" fmla="*/ 120 w 1088"/>
                <a:gd name="T13" fmla="*/ 38 h 690"/>
                <a:gd name="T14" fmla="*/ 120 w 1088"/>
                <a:gd name="T15" fmla="*/ 38 h 690"/>
                <a:gd name="T16" fmla="*/ 120 w 1088"/>
                <a:gd name="T17" fmla="*/ 37 h 690"/>
                <a:gd name="T18" fmla="*/ 120 w 1088"/>
                <a:gd name="T19" fmla="*/ 4 h 690"/>
                <a:gd name="T20" fmla="*/ 120 w 1088"/>
                <a:gd name="T21" fmla="*/ 3 h 690"/>
                <a:gd name="T22" fmla="*/ 120 w 1088"/>
                <a:gd name="T23" fmla="*/ 2 h 690"/>
                <a:gd name="T24" fmla="*/ 119 w 1088"/>
                <a:gd name="T25" fmla="*/ 2 h 690"/>
                <a:gd name="T26" fmla="*/ 118 w 1088"/>
                <a:gd name="T27" fmla="*/ 1 h 690"/>
                <a:gd name="T28" fmla="*/ 117 w 1088"/>
                <a:gd name="T29" fmla="*/ 1 h 690"/>
                <a:gd name="T30" fmla="*/ 116 w 1088"/>
                <a:gd name="T31" fmla="*/ 0 h 690"/>
                <a:gd name="T32" fmla="*/ 114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8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8" y="690"/>
                  </a:moveTo>
                  <a:lnTo>
                    <a:pt x="1021" y="690"/>
                  </a:lnTo>
                  <a:lnTo>
                    <a:pt x="1027" y="688"/>
                  </a:lnTo>
                  <a:lnTo>
                    <a:pt x="1034" y="687"/>
                  </a:lnTo>
                  <a:lnTo>
                    <a:pt x="1041" y="686"/>
                  </a:lnTo>
                  <a:lnTo>
                    <a:pt x="1047" y="684"/>
                  </a:lnTo>
                  <a:lnTo>
                    <a:pt x="1053" y="680"/>
                  </a:lnTo>
                  <a:lnTo>
                    <a:pt x="1059" y="677"/>
                  </a:lnTo>
                  <a:lnTo>
                    <a:pt x="1064" y="674"/>
                  </a:lnTo>
                  <a:lnTo>
                    <a:pt x="1068" y="669"/>
                  </a:lnTo>
                  <a:lnTo>
                    <a:pt x="1073" y="665"/>
                  </a:lnTo>
                  <a:lnTo>
                    <a:pt x="1077" y="659"/>
                  </a:lnTo>
                  <a:lnTo>
                    <a:pt x="1081" y="653"/>
                  </a:lnTo>
                  <a:lnTo>
                    <a:pt x="1083" y="648"/>
                  </a:lnTo>
                  <a:lnTo>
                    <a:pt x="1085" y="641"/>
                  </a:lnTo>
                  <a:lnTo>
                    <a:pt x="1087" y="635"/>
                  </a:lnTo>
                  <a:lnTo>
                    <a:pt x="1088" y="628"/>
                  </a:lnTo>
                  <a:lnTo>
                    <a:pt x="1088" y="622"/>
                  </a:lnTo>
                  <a:lnTo>
                    <a:pt x="1088" y="68"/>
                  </a:lnTo>
                  <a:lnTo>
                    <a:pt x="1088" y="61"/>
                  </a:lnTo>
                  <a:lnTo>
                    <a:pt x="1087" y="54"/>
                  </a:lnTo>
                  <a:lnTo>
                    <a:pt x="1085" y="47"/>
                  </a:lnTo>
                  <a:lnTo>
                    <a:pt x="1083" y="42"/>
                  </a:lnTo>
                  <a:lnTo>
                    <a:pt x="1081" y="35"/>
                  </a:lnTo>
                  <a:lnTo>
                    <a:pt x="1077" y="31"/>
                  </a:lnTo>
                  <a:lnTo>
                    <a:pt x="1073" y="25"/>
                  </a:lnTo>
                  <a:lnTo>
                    <a:pt x="1068" y="20"/>
                  </a:lnTo>
                  <a:lnTo>
                    <a:pt x="1064" y="16"/>
                  </a:lnTo>
                  <a:lnTo>
                    <a:pt x="1059" y="11"/>
                  </a:lnTo>
                  <a:lnTo>
                    <a:pt x="1053" y="8"/>
                  </a:lnTo>
                  <a:lnTo>
                    <a:pt x="1047" y="6"/>
                  </a:lnTo>
                  <a:lnTo>
                    <a:pt x="1041" y="3"/>
                  </a:lnTo>
                  <a:lnTo>
                    <a:pt x="1034" y="1"/>
                  </a:lnTo>
                  <a:lnTo>
                    <a:pt x="1027" y="0"/>
                  </a:lnTo>
                  <a:lnTo>
                    <a:pt x="1021" y="0"/>
                  </a:lnTo>
                  <a:lnTo>
                    <a:pt x="68" y="0"/>
                  </a:lnTo>
                  <a:lnTo>
                    <a:pt x="61" y="0"/>
                  </a:lnTo>
                  <a:lnTo>
                    <a:pt x="54" y="1"/>
                  </a:lnTo>
                  <a:lnTo>
                    <a:pt x="48" y="3"/>
                  </a:lnTo>
                  <a:lnTo>
                    <a:pt x="42" y="6"/>
                  </a:lnTo>
                  <a:lnTo>
                    <a:pt x="35" y="8"/>
                  </a:lnTo>
                  <a:lnTo>
                    <a:pt x="29" y="11"/>
                  </a:lnTo>
                  <a:lnTo>
                    <a:pt x="25" y="16"/>
                  </a:lnTo>
                  <a:lnTo>
                    <a:pt x="19" y="20"/>
                  </a:lnTo>
                  <a:lnTo>
                    <a:pt x="16" y="25"/>
                  </a:lnTo>
                  <a:lnTo>
                    <a:pt x="11" y="31"/>
                  </a:lnTo>
                  <a:lnTo>
                    <a:pt x="8" y="35"/>
                  </a:lnTo>
                  <a:lnTo>
                    <a:pt x="6" y="42"/>
                  </a:lnTo>
                  <a:lnTo>
                    <a:pt x="3" y="47"/>
                  </a:lnTo>
                  <a:lnTo>
                    <a:pt x="1" y="54"/>
                  </a:lnTo>
                  <a:lnTo>
                    <a:pt x="0" y="61"/>
                  </a:lnTo>
                  <a:lnTo>
                    <a:pt x="0" y="68"/>
                  </a:lnTo>
                  <a:lnTo>
                    <a:pt x="0" y="622"/>
                  </a:lnTo>
                  <a:lnTo>
                    <a:pt x="0" y="628"/>
                  </a:lnTo>
                  <a:lnTo>
                    <a:pt x="1" y="635"/>
                  </a:lnTo>
                  <a:lnTo>
                    <a:pt x="3" y="641"/>
                  </a:lnTo>
                  <a:lnTo>
                    <a:pt x="6" y="648"/>
                  </a:lnTo>
                  <a:lnTo>
                    <a:pt x="8" y="653"/>
                  </a:lnTo>
                  <a:lnTo>
                    <a:pt x="11" y="659"/>
                  </a:lnTo>
                  <a:lnTo>
                    <a:pt x="16" y="665"/>
                  </a:lnTo>
                  <a:lnTo>
                    <a:pt x="19" y="669"/>
                  </a:lnTo>
                  <a:lnTo>
                    <a:pt x="25" y="674"/>
                  </a:lnTo>
                  <a:lnTo>
                    <a:pt x="29" y="677"/>
                  </a:lnTo>
                  <a:lnTo>
                    <a:pt x="35" y="680"/>
                  </a:lnTo>
                  <a:lnTo>
                    <a:pt x="42" y="684"/>
                  </a:lnTo>
                  <a:lnTo>
                    <a:pt x="48" y="686"/>
                  </a:lnTo>
                  <a:lnTo>
                    <a:pt x="54" y="687"/>
                  </a:lnTo>
                  <a:lnTo>
                    <a:pt x="61" y="688"/>
                  </a:lnTo>
                  <a:lnTo>
                    <a:pt x="68" y="690"/>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49" name="Freeform 1010"/>
            <p:cNvSpPr>
              <a:spLocks/>
            </p:cNvSpPr>
            <p:nvPr/>
          </p:nvSpPr>
          <p:spPr bwMode="auto">
            <a:xfrm>
              <a:off x="3581" y="3490"/>
              <a:ext cx="362" cy="168"/>
            </a:xfrm>
            <a:custGeom>
              <a:avLst/>
              <a:gdLst>
                <a:gd name="T0" fmla="*/ 113 w 1088"/>
                <a:gd name="T1" fmla="*/ 41 h 690"/>
                <a:gd name="T2" fmla="*/ 114 w 1088"/>
                <a:gd name="T3" fmla="*/ 41 h 690"/>
                <a:gd name="T4" fmla="*/ 116 w 1088"/>
                <a:gd name="T5" fmla="*/ 41 h 690"/>
                <a:gd name="T6" fmla="*/ 117 w 1088"/>
                <a:gd name="T7" fmla="*/ 40 h 690"/>
                <a:gd name="T8" fmla="*/ 118 w 1088"/>
                <a:gd name="T9" fmla="*/ 40 h 690"/>
                <a:gd name="T10" fmla="*/ 119 w 1088"/>
                <a:gd name="T11" fmla="*/ 39 h 690"/>
                <a:gd name="T12" fmla="*/ 120 w 1088"/>
                <a:gd name="T13" fmla="*/ 38 h 690"/>
                <a:gd name="T14" fmla="*/ 120 w 1088"/>
                <a:gd name="T15" fmla="*/ 38 h 690"/>
                <a:gd name="T16" fmla="*/ 120 w 1088"/>
                <a:gd name="T17" fmla="*/ 37 h 690"/>
                <a:gd name="T18" fmla="*/ 120 w 1088"/>
                <a:gd name="T19" fmla="*/ 4 h 690"/>
                <a:gd name="T20" fmla="*/ 120 w 1088"/>
                <a:gd name="T21" fmla="*/ 3 h 690"/>
                <a:gd name="T22" fmla="*/ 120 w 1088"/>
                <a:gd name="T23" fmla="*/ 2 h 690"/>
                <a:gd name="T24" fmla="*/ 119 w 1088"/>
                <a:gd name="T25" fmla="*/ 2 h 690"/>
                <a:gd name="T26" fmla="*/ 118 w 1088"/>
                <a:gd name="T27" fmla="*/ 1 h 690"/>
                <a:gd name="T28" fmla="*/ 117 w 1088"/>
                <a:gd name="T29" fmla="*/ 1 h 690"/>
                <a:gd name="T30" fmla="*/ 116 w 1088"/>
                <a:gd name="T31" fmla="*/ 0 h 690"/>
                <a:gd name="T32" fmla="*/ 114 w 1088"/>
                <a:gd name="T33" fmla="*/ 0 h 690"/>
                <a:gd name="T34" fmla="*/ 113 w 1088"/>
                <a:gd name="T35" fmla="*/ 0 h 690"/>
                <a:gd name="T36" fmla="*/ 7 w 1088"/>
                <a:gd name="T37" fmla="*/ 0 h 690"/>
                <a:gd name="T38" fmla="*/ 5 w 1088"/>
                <a:gd name="T39" fmla="*/ 0 h 690"/>
                <a:gd name="T40" fmla="*/ 4 w 1088"/>
                <a:gd name="T41" fmla="*/ 0 h 690"/>
                <a:gd name="T42" fmla="*/ 3 w 1088"/>
                <a:gd name="T43" fmla="*/ 1 h 690"/>
                <a:gd name="T44" fmla="*/ 2 w 1088"/>
                <a:gd name="T45" fmla="*/ 1 h 690"/>
                <a:gd name="T46" fmla="*/ 1 w 1088"/>
                <a:gd name="T47" fmla="*/ 2 h 690"/>
                <a:gd name="T48" fmla="*/ 0 w 1088"/>
                <a:gd name="T49" fmla="*/ 3 h 690"/>
                <a:gd name="T50" fmla="*/ 0 w 1088"/>
                <a:gd name="T51" fmla="*/ 4 h 690"/>
                <a:gd name="T52" fmla="*/ 0 w 1088"/>
                <a:gd name="T53" fmla="*/ 37 h 690"/>
                <a:gd name="T54" fmla="*/ 0 w 1088"/>
                <a:gd name="T55" fmla="*/ 38 h 690"/>
                <a:gd name="T56" fmla="*/ 1 w 1088"/>
                <a:gd name="T57" fmla="*/ 38 h 690"/>
                <a:gd name="T58" fmla="*/ 1 w 1088"/>
                <a:gd name="T59" fmla="*/ 39 h 690"/>
                <a:gd name="T60" fmla="*/ 2 w 1088"/>
                <a:gd name="T61" fmla="*/ 40 h 690"/>
                <a:gd name="T62" fmla="*/ 3 w 1088"/>
                <a:gd name="T63" fmla="*/ 40 h 690"/>
                <a:gd name="T64" fmla="*/ 5 w 1088"/>
                <a:gd name="T65" fmla="*/ 41 h 690"/>
                <a:gd name="T66" fmla="*/ 6 w 1088"/>
                <a:gd name="T67" fmla="*/ 41 h 690"/>
                <a:gd name="T68" fmla="*/ 8 w 1088"/>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90"/>
                <a:gd name="T107" fmla="*/ 1088 w 1088"/>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90">
                  <a:moveTo>
                    <a:pt x="68" y="690"/>
                  </a:moveTo>
                  <a:lnTo>
                    <a:pt x="1021" y="690"/>
                  </a:lnTo>
                  <a:lnTo>
                    <a:pt x="1027" y="688"/>
                  </a:lnTo>
                  <a:lnTo>
                    <a:pt x="1034" y="687"/>
                  </a:lnTo>
                  <a:lnTo>
                    <a:pt x="1041" y="686"/>
                  </a:lnTo>
                  <a:lnTo>
                    <a:pt x="1047" y="684"/>
                  </a:lnTo>
                  <a:lnTo>
                    <a:pt x="1053" y="680"/>
                  </a:lnTo>
                  <a:lnTo>
                    <a:pt x="1059" y="677"/>
                  </a:lnTo>
                  <a:lnTo>
                    <a:pt x="1064" y="674"/>
                  </a:lnTo>
                  <a:lnTo>
                    <a:pt x="1068" y="669"/>
                  </a:lnTo>
                  <a:lnTo>
                    <a:pt x="1073" y="665"/>
                  </a:lnTo>
                  <a:lnTo>
                    <a:pt x="1077" y="659"/>
                  </a:lnTo>
                  <a:lnTo>
                    <a:pt x="1081" y="653"/>
                  </a:lnTo>
                  <a:lnTo>
                    <a:pt x="1083" y="648"/>
                  </a:lnTo>
                  <a:lnTo>
                    <a:pt x="1085" y="641"/>
                  </a:lnTo>
                  <a:lnTo>
                    <a:pt x="1087" y="635"/>
                  </a:lnTo>
                  <a:lnTo>
                    <a:pt x="1088" y="628"/>
                  </a:lnTo>
                  <a:lnTo>
                    <a:pt x="1088" y="622"/>
                  </a:lnTo>
                  <a:lnTo>
                    <a:pt x="1088" y="68"/>
                  </a:lnTo>
                  <a:lnTo>
                    <a:pt x="1088" y="61"/>
                  </a:lnTo>
                  <a:lnTo>
                    <a:pt x="1087" y="54"/>
                  </a:lnTo>
                  <a:lnTo>
                    <a:pt x="1085" y="47"/>
                  </a:lnTo>
                  <a:lnTo>
                    <a:pt x="1083" y="42"/>
                  </a:lnTo>
                  <a:lnTo>
                    <a:pt x="1081" y="35"/>
                  </a:lnTo>
                  <a:lnTo>
                    <a:pt x="1077" y="31"/>
                  </a:lnTo>
                  <a:lnTo>
                    <a:pt x="1073" y="25"/>
                  </a:lnTo>
                  <a:lnTo>
                    <a:pt x="1068" y="20"/>
                  </a:lnTo>
                  <a:lnTo>
                    <a:pt x="1064" y="16"/>
                  </a:lnTo>
                  <a:lnTo>
                    <a:pt x="1059" y="11"/>
                  </a:lnTo>
                  <a:lnTo>
                    <a:pt x="1053" y="8"/>
                  </a:lnTo>
                  <a:lnTo>
                    <a:pt x="1047" y="6"/>
                  </a:lnTo>
                  <a:lnTo>
                    <a:pt x="1041" y="3"/>
                  </a:lnTo>
                  <a:lnTo>
                    <a:pt x="1034" y="1"/>
                  </a:lnTo>
                  <a:lnTo>
                    <a:pt x="1027" y="0"/>
                  </a:lnTo>
                  <a:lnTo>
                    <a:pt x="1021" y="0"/>
                  </a:lnTo>
                  <a:lnTo>
                    <a:pt x="68" y="0"/>
                  </a:lnTo>
                  <a:lnTo>
                    <a:pt x="61" y="0"/>
                  </a:lnTo>
                  <a:lnTo>
                    <a:pt x="54" y="1"/>
                  </a:lnTo>
                  <a:lnTo>
                    <a:pt x="48" y="3"/>
                  </a:lnTo>
                  <a:lnTo>
                    <a:pt x="42" y="6"/>
                  </a:lnTo>
                  <a:lnTo>
                    <a:pt x="35" y="8"/>
                  </a:lnTo>
                  <a:lnTo>
                    <a:pt x="29" y="11"/>
                  </a:lnTo>
                  <a:lnTo>
                    <a:pt x="25" y="16"/>
                  </a:lnTo>
                  <a:lnTo>
                    <a:pt x="19" y="20"/>
                  </a:lnTo>
                  <a:lnTo>
                    <a:pt x="16" y="25"/>
                  </a:lnTo>
                  <a:lnTo>
                    <a:pt x="11" y="31"/>
                  </a:lnTo>
                  <a:lnTo>
                    <a:pt x="8" y="35"/>
                  </a:lnTo>
                  <a:lnTo>
                    <a:pt x="6" y="42"/>
                  </a:lnTo>
                  <a:lnTo>
                    <a:pt x="3" y="47"/>
                  </a:lnTo>
                  <a:lnTo>
                    <a:pt x="1" y="54"/>
                  </a:lnTo>
                  <a:lnTo>
                    <a:pt x="0" y="61"/>
                  </a:lnTo>
                  <a:lnTo>
                    <a:pt x="0" y="68"/>
                  </a:lnTo>
                  <a:lnTo>
                    <a:pt x="0" y="622"/>
                  </a:lnTo>
                  <a:lnTo>
                    <a:pt x="0" y="628"/>
                  </a:lnTo>
                  <a:lnTo>
                    <a:pt x="1" y="635"/>
                  </a:lnTo>
                  <a:lnTo>
                    <a:pt x="3" y="641"/>
                  </a:lnTo>
                  <a:lnTo>
                    <a:pt x="6" y="648"/>
                  </a:lnTo>
                  <a:lnTo>
                    <a:pt x="8" y="653"/>
                  </a:lnTo>
                  <a:lnTo>
                    <a:pt x="11" y="659"/>
                  </a:lnTo>
                  <a:lnTo>
                    <a:pt x="16" y="665"/>
                  </a:lnTo>
                  <a:lnTo>
                    <a:pt x="19" y="669"/>
                  </a:lnTo>
                  <a:lnTo>
                    <a:pt x="25" y="674"/>
                  </a:lnTo>
                  <a:lnTo>
                    <a:pt x="29" y="677"/>
                  </a:lnTo>
                  <a:lnTo>
                    <a:pt x="35" y="680"/>
                  </a:lnTo>
                  <a:lnTo>
                    <a:pt x="42" y="684"/>
                  </a:lnTo>
                  <a:lnTo>
                    <a:pt x="48" y="686"/>
                  </a:lnTo>
                  <a:lnTo>
                    <a:pt x="54" y="687"/>
                  </a:lnTo>
                  <a:lnTo>
                    <a:pt x="61" y="688"/>
                  </a:lnTo>
                  <a:lnTo>
                    <a:pt x="68" y="69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50" name="Rectangle 1011"/>
            <p:cNvSpPr>
              <a:spLocks noChangeArrowheads="1"/>
            </p:cNvSpPr>
            <p:nvPr/>
          </p:nvSpPr>
          <p:spPr bwMode="auto">
            <a:xfrm>
              <a:off x="3610" y="3539"/>
              <a:ext cx="31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Planned </a:t>
              </a:r>
              <a:endParaRPr lang="en-US" sz="1800" b="0" kern="0" baseline="0">
                <a:solidFill>
                  <a:sysClr val="windowText" lastClr="000000"/>
                </a:solidFill>
                <a:latin typeface="Arial" charset="0"/>
                <a:ea typeface="ＭＳ Ｐゴシック"/>
                <a:cs typeface="ＭＳ Ｐゴシック"/>
              </a:endParaRPr>
            </a:p>
          </p:txBody>
        </p:sp>
        <p:sp>
          <p:nvSpPr>
            <p:cNvPr id="451" name="Rectangle 1012"/>
            <p:cNvSpPr>
              <a:spLocks noChangeArrowheads="1"/>
            </p:cNvSpPr>
            <p:nvPr/>
          </p:nvSpPr>
          <p:spPr bwMode="auto">
            <a:xfrm>
              <a:off x="3700" y="3574"/>
              <a:ext cx="1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Events</a:t>
              </a:r>
              <a:endParaRPr lang="en-US" sz="1800" b="0" kern="0" baseline="0">
                <a:solidFill>
                  <a:sysClr val="windowText" lastClr="000000"/>
                </a:solidFill>
                <a:latin typeface="Arial" charset="0"/>
                <a:ea typeface="ＭＳ Ｐゴシック"/>
                <a:cs typeface="ＭＳ Ｐゴシック"/>
              </a:endParaRPr>
            </a:p>
          </p:txBody>
        </p:sp>
        <p:sp>
          <p:nvSpPr>
            <p:cNvPr id="452" name="Freeform 1013"/>
            <p:cNvSpPr>
              <a:spLocks/>
            </p:cNvSpPr>
            <p:nvPr/>
          </p:nvSpPr>
          <p:spPr bwMode="auto">
            <a:xfrm>
              <a:off x="4123" y="3490"/>
              <a:ext cx="363" cy="168"/>
            </a:xfrm>
            <a:custGeom>
              <a:avLst/>
              <a:gdLst>
                <a:gd name="T0" fmla="*/ 113 w 1089"/>
                <a:gd name="T1" fmla="*/ 41 h 690"/>
                <a:gd name="T2" fmla="*/ 115 w 1089"/>
                <a:gd name="T3" fmla="*/ 41 h 690"/>
                <a:gd name="T4" fmla="*/ 116 w 1089"/>
                <a:gd name="T5" fmla="*/ 41 h 690"/>
                <a:gd name="T6" fmla="*/ 118 w 1089"/>
                <a:gd name="T7" fmla="*/ 40 h 690"/>
                <a:gd name="T8" fmla="*/ 119 w 1089"/>
                <a:gd name="T9" fmla="*/ 40 h 690"/>
                <a:gd name="T10" fmla="*/ 120 w 1089"/>
                <a:gd name="T11" fmla="*/ 39 h 690"/>
                <a:gd name="T12" fmla="*/ 120 w 1089"/>
                <a:gd name="T13" fmla="*/ 38 h 690"/>
                <a:gd name="T14" fmla="*/ 121 w 1089"/>
                <a:gd name="T15" fmla="*/ 38 h 690"/>
                <a:gd name="T16" fmla="*/ 121 w 1089"/>
                <a:gd name="T17" fmla="*/ 37 h 690"/>
                <a:gd name="T18" fmla="*/ 121 w 1089"/>
                <a:gd name="T19" fmla="*/ 4 h 690"/>
                <a:gd name="T20" fmla="*/ 121 w 1089"/>
                <a:gd name="T21" fmla="*/ 3 h 690"/>
                <a:gd name="T22" fmla="*/ 120 w 1089"/>
                <a:gd name="T23" fmla="*/ 2 h 690"/>
                <a:gd name="T24" fmla="*/ 120 w 1089"/>
                <a:gd name="T25" fmla="*/ 2 h 690"/>
                <a:gd name="T26" fmla="*/ 119 w 1089"/>
                <a:gd name="T27" fmla="*/ 1 h 690"/>
                <a:gd name="T28" fmla="*/ 118 w 1089"/>
                <a:gd name="T29" fmla="*/ 1 h 690"/>
                <a:gd name="T30" fmla="*/ 116 w 1089"/>
                <a:gd name="T31" fmla="*/ 0 h 690"/>
                <a:gd name="T32" fmla="*/ 115 w 1089"/>
                <a:gd name="T33" fmla="*/ 0 h 690"/>
                <a:gd name="T34" fmla="*/ 113 w 1089"/>
                <a:gd name="T35" fmla="*/ 0 h 690"/>
                <a:gd name="T36" fmla="*/ 7 w 1089"/>
                <a:gd name="T37" fmla="*/ 0 h 690"/>
                <a:gd name="T38" fmla="*/ 5 w 1089"/>
                <a:gd name="T39" fmla="*/ 0 h 690"/>
                <a:gd name="T40" fmla="*/ 4 w 1089"/>
                <a:gd name="T41" fmla="*/ 0 h 690"/>
                <a:gd name="T42" fmla="*/ 3 w 1089"/>
                <a:gd name="T43" fmla="*/ 1 h 690"/>
                <a:gd name="T44" fmla="*/ 2 w 1089"/>
                <a:gd name="T45" fmla="*/ 1 h 690"/>
                <a:gd name="T46" fmla="*/ 1 w 1089"/>
                <a:gd name="T47" fmla="*/ 2 h 690"/>
                <a:gd name="T48" fmla="*/ 0 w 1089"/>
                <a:gd name="T49" fmla="*/ 3 h 690"/>
                <a:gd name="T50" fmla="*/ 0 w 1089"/>
                <a:gd name="T51" fmla="*/ 4 h 690"/>
                <a:gd name="T52" fmla="*/ 0 w 1089"/>
                <a:gd name="T53" fmla="*/ 37 h 690"/>
                <a:gd name="T54" fmla="*/ 0 w 1089"/>
                <a:gd name="T55" fmla="*/ 38 h 690"/>
                <a:gd name="T56" fmla="*/ 1 w 1089"/>
                <a:gd name="T57" fmla="*/ 38 h 690"/>
                <a:gd name="T58" fmla="*/ 1 w 1089"/>
                <a:gd name="T59" fmla="*/ 39 h 690"/>
                <a:gd name="T60" fmla="*/ 2 w 1089"/>
                <a:gd name="T61" fmla="*/ 40 h 690"/>
                <a:gd name="T62" fmla="*/ 3 w 1089"/>
                <a:gd name="T63" fmla="*/ 40 h 690"/>
                <a:gd name="T64" fmla="*/ 5 w 1089"/>
                <a:gd name="T65" fmla="*/ 41 h 690"/>
                <a:gd name="T66" fmla="*/ 6 w 1089"/>
                <a:gd name="T67" fmla="*/ 41 h 690"/>
                <a:gd name="T68" fmla="*/ 8 w 1089"/>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90"/>
                <a:gd name="T107" fmla="*/ 1089 w 1089"/>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90">
                  <a:moveTo>
                    <a:pt x="68" y="690"/>
                  </a:moveTo>
                  <a:lnTo>
                    <a:pt x="1021" y="690"/>
                  </a:lnTo>
                  <a:lnTo>
                    <a:pt x="1028" y="688"/>
                  </a:lnTo>
                  <a:lnTo>
                    <a:pt x="1035" y="687"/>
                  </a:lnTo>
                  <a:lnTo>
                    <a:pt x="1041" y="686"/>
                  </a:lnTo>
                  <a:lnTo>
                    <a:pt x="1047" y="684"/>
                  </a:lnTo>
                  <a:lnTo>
                    <a:pt x="1054" y="680"/>
                  </a:lnTo>
                  <a:lnTo>
                    <a:pt x="1059" y="677"/>
                  </a:lnTo>
                  <a:lnTo>
                    <a:pt x="1064" y="674"/>
                  </a:lnTo>
                  <a:lnTo>
                    <a:pt x="1068" y="669"/>
                  </a:lnTo>
                  <a:lnTo>
                    <a:pt x="1073" y="665"/>
                  </a:lnTo>
                  <a:lnTo>
                    <a:pt x="1078" y="659"/>
                  </a:lnTo>
                  <a:lnTo>
                    <a:pt x="1081" y="653"/>
                  </a:lnTo>
                  <a:lnTo>
                    <a:pt x="1083" y="648"/>
                  </a:lnTo>
                  <a:lnTo>
                    <a:pt x="1085" y="641"/>
                  </a:lnTo>
                  <a:lnTo>
                    <a:pt x="1088" y="635"/>
                  </a:lnTo>
                  <a:lnTo>
                    <a:pt x="1089" y="628"/>
                  </a:lnTo>
                  <a:lnTo>
                    <a:pt x="1089" y="622"/>
                  </a:lnTo>
                  <a:lnTo>
                    <a:pt x="1089" y="68"/>
                  </a:lnTo>
                  <a:lnTo>
                    <a:pt x="1089" y="61"/>
                  </a:lnTo>
                  <a:lnTo>
                    <a:pt x="1088" y="54"/>
                  </a:lnTo>
                  <a:lnTo>
                    <a:pt x="1085" y="47"/>
                  </a:lnTo>
                  <a:lnTo>
                    <a:pt x="1083" y="42"/>
                  </a:lnTo>
                  <a:lnTo>
                    <a:pt x="1081" y="35"/>
                  </a:lnTo>
                  <a:lnTo>
                    <a:pt x="1078" y="31"/>
                  </a:lnTo>
                  <a:lnTo>
                    <a:pt x="1073" y="25"/>
                  </a:lnTo>
                  <a:lnTo>
                    <a:pt x="1068" y="20"/>
                  </a:lnTo>
                  <a:lnTo>
                    <a:pt x="1064" y="16"/>
                  </a:lnTo>
                  <a:lnTo>
                    <a:pt x="1059" y="11"/>
                  </a:lnTo>
                  <a:lnTo>
                    <a:pt x="1054" y="8"/>
                  </a:lnTo>
                  <a:lnTo>
                    <a:pt x="1047" y="6"/>
                  </a:lnTo>
                  <a:lnTo>
                    <a:pt x="1041" y="3"/>
                  </a:lnTo>
                  <a:lnTo>
                    <a:pt x="1035" y="1"/>
                  </a:lnTo>
                  <a:lnTo>
                    <a:pt x="1028" y="0"/>
                  </a:lnTo>
                  <a:lnTo>
                    <a:pt x="1021" y="0"/>
                  </a:lnTo>
                  <a:lnTo>
                    <a:pt x="68" y="0"/>
                  </a:lnTo>
                  <a:lnTo>
                    <a:pt x="62" y="0"/>
                  </a:lnTo>
                  <a:lnTo>
                    <a:pt x="55" y="1"/>
                  </a:lnTo>
                  <a:lnTo>
                    <a:pt x="48" y="3"/>
                  </a:lnTo>
                  <a:lnTo>
                    <a:pt x="42" y="6"/>
                  </a:lnTo>
                  <a:lnTo>
                    <a:pt x="36" y="8"/>
                  </a:lnTo>
                  <a:lnTo>
                    <a:pt x="30" y="11"/>
                  </a:lnTo>
                  <a:lnTo>
                    <a:pt x="25" y="16"/>
                  </a:lnTo>
                  <a:lnTo>
                    <a:pt x="20" y="20"/>
                  </a:lnTo>
                  <a:lnTo>
                    <a:pt x="16" y="25"/>
                  </a:lnTo>
                  <a:lnTo>
                    <a:pt x="12" y="31"/>
                  </a:lnTo>
                  <a:lnTo>
                    <a:pt x="8" y="35"/>
                  </a:lnTo>
                  <a:lnTo>
                    <a:pt x="6" y="42"/>
                  </a:lnTo>
                  <a:lnTo>
                    <a:pt x="4" y="47"/>
                  </a:lnTo>
                  <a:lnTo>
                    <a:pt x="2" y="54"/>
                  </a:lnTo>
                  <a:lnTo>
                    <a:pt x="0" y="61"/>
                  </a:lnTo>
                  <a:lnTo>
                    <a:pt x="0" y="68"/>
                  </a:lnTo>
                  <a:lnTo>
                    <a:pt x="0" y="622"/>
                  </a:lnTo>
                  <a:lnTo>
                    <a:pt x="0" y="628"/>
                  </a:lnTo>
                  <a:lnTo>
                    <a:pt x="2" y="635"/>
                  </a:lnTo>
                  <a:lnTo>
                    <a:pt x="4" y="641"/>
                  </a:lnTo>
                  <a:lnTo>
                    <a:pt x="6" y="648"/>
                  </a:lnTo>
                  <a:lnTo>
                    <a:pt x="8" y="653"/>
                  </a:lnTo>
                  <a:lnTo>
                    <a:pt x="12" y="659"/>
                  </a:lnTo>
                  <a:lnTo>
                    <a:pt x="16" y="665"/>
                  </a:lnTo>
                  <a:lnTo>
                    <a:pt x="20" y="669"/>
                  </a:lnTo>
                  <a:lnTo>
                    <a:pt x="25" y="674"/>
                  </a:lnTo>
                  <a:lnTo>
                    <a:pt x="30" y="677"/>
                  </a:lnTo>
                  <a:lnTo>
                    <a:pt x="36" y="680"/>
                  </a:lnTo>
                  <a:lnTo>
                    <a:pt x="42" y="684"/>
                  </a:lnTo>
                  <a:lnTo>
                    <a:pt x="48" y="686"/>
                  </a:lnTo>
                  <a:lnTo>
                    <a:pt x="55" y="687"/>
                  </a:lnTo>
                  <a:lnTo>
                    <a:pt x="62" y="688"/>
                  </a:lnTo>
                  <a:lnTo>
                    <a:pt x="68" y="690"/>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53" name="Freeform 1014"/>
            <p:cNvSpPr>
              <a:spLocks/>
            </p:cNvSpPr>
            <p:nvPr/>
          </p:nvSpPr>
          <p:spPr bwMode="auto">
            <a:xfrm>
              <a:off x="4123" y="3490"/>
              <a:ext cx="363" cy="168"/>
            </a:xfrm>
            <a:custGeom>
              <a:avLst/>
              <a:gdLst>
                <a:gd name="T0" fmla="*/ 113 w 1089"/>
                <a:gd name="T1" fmla="*/ 41 h 690"/>
                <a:gd name="T2" fmla="*/ 115 w 1089"/>
                <a:gd name="T3" fmla="*/ 41 h 690"/>
                <a:gd name="T4" fmla="*/ 116 w 1089"/>
                <a:gd name="T5" fmla="*/ 41 h 690"/>
                <a:gd name="T6" fmla="*/ 118 w 1089"/>
                <a:gd name="T7" fmla="*/ 40 h 690"/>
                <a:gd name="T8" fmla="*/ 119 w 1089"/>
                <a:gd name="T9" fmla="*/ 40 h 690"/>
                <a:gd name="T10" fmla="*/ 120 w 1089"/>
                <a:gd name="T11" fmla="*/ 39 h 690"/>
                <a:gd name="T12" fmla="*/ 120 w 1089"/>
                <a:gd name="T13" fmla="*/ 38 h 690"/>
                <a:gd name="T14" fmla="*/ 121 w 1089"/>
                <a:gd name="T15" fmla="*/ 38 h 690"/>
                <a:gd name="T16" fmla="*/ 121 w 1089"/>
                <a:gd name="T17" fmla="*/ 37 h 690"/>
                <a:gd name="T18" fmla="*/ 121 w 1089"/>
                <a:gd name="T19" fmla="*/ 4 h 690"/>
                <a:gd name="T20" fmla="*/ 121 w 1089"/>
                <a:gd name="T21" fmla="*/ 3 h 690"/>
                <a:gd name="T22" fmla="*/ 120 w 1089"/>
                <a:gd name="T23" fmla="*/ 2 h 690"/>
                <a:gd name="T24" fmla="*/ 120 w 1089"/>
                <a:gd name="T25" fmla="*/ 2 h 690"/>
                <a:gd name="T26" fmla="*/ 119 w 1089"/>
                <a:gd name="T27" fmla="*/ 1 h 690"/>
                <a:gd name="T28" fmla="*/ 118 w 1089"/>
                <a:gd name="T29" fmla="*/ 1 h 690"/>
                <a:gd name="T30" fmla="*/ 116 w 1089"/>
                <a:gd name="T31" fmla="*/ 0 h 690"/>
                <a:gd name="T32" fmla="*/ 115 w 1089"/>
                <a:gd name="T33" fmla="*/ 0 h 690"/>
                <a:gd name="T34" fmla="*/ 113 w 1089"/>
                <a:gd name="T35" fmla="*/ 0 h 690"/>
                <a:gd name="T36" fmla="*/ 7 w 1089"/>
                <a:gd name="T37" fmla="*/ 0 h 690"/>
                <a:gd name="T38" fmla="*/ 5 w 1089"/>
                <a:gd name="T39" fmla="*/ 0 h 690"/>
                <a:gd name="T40" fmla="*/ 4 w 1089"/>
                <a:gd name="T41" fmla="*/ 0 h 690"/>
                <a:gd name="T42" fmla="*/ 3 w 1089"/>
                <a:gd name="T43" fmla="*/ 1 h 690"/>
                <a:gd name="T44" fmla="*/ 2 w 1089"/>
                <a:gd name="T45" fmla="*/ 1 h 690"/>
                <a:gd name="T46" fmla="*/ 1 w 1089"/>
                <a:gd name="T47" fmla="*/ 2 h 690"/>
                <a:gd name="T48" fmla="*/ 0 w 1089"/>
                <a:gd name="T49" fmla="*/ 3 h 690"/>
                <a:gd name="T50" fmla="*/ 0 w 1089"/>
                <a:gd name="T51" fmla="*/ 4 h 690"/>
                <a:gd name="T52" fmla="*/ 0 w 1089"/>
                <a:gd name="T53" fmla="*/ 37 h 690"/>
                <a:gd name="T54" fmla="*/ 0 w 1089"/>
                <a:gd name="T55" fmla="*/ 38 h 690"/>
                <a:gd name="T56" fmla="*/ 1 w 1089"/>
                <a:gd name="T57" fmla="*/ 38 h 690"/>
                <a:gd name="T58" fmla="*/ 1 w 1089"/>
                <a:gd name="T59" fmla="*/ 39 h 690"/>
                <a:gd name="T60" fmla="*/ 2 w 1089"/>
                <a:gd name="T61" fmla="*/ 40 h 690"/>
                <a:gd name="T62" fmla="*/ 3 w 1089"/>
                <a:gd name="T63" fmla="*/ 40 h 690"/>
                <a:gd name="T64" fmla="*/ 5 w 1089"/>
                <a:gd name="T65" fmla="*/ 41 h 690"/>
                <a:gd name="T66" fmla="*/ 6 w 1089"/>
                <a:gd name="T67" fmla="*/ 41 h 690"/>
                <a:gd name="T68" fmla="*/ 8 w 1089"/>
                <a:gd name="T69" fmla="*/ 41 h 6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90"/>
                <a:gd name="T107" fmla="*/ 1089 w 1089"/>
                <a:gd name="T108" fmla="*/ 690 h 6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90">
                  <a:moveTo>
                    <a:pt x="68" y="690"/>
                  </a:moveTo>
                  <a:lnTo>
                    <a:pt x="1021" y="690"/>
                  </a:lnTo>
                  <a:lnTo>
                    <a:pt x="1028" y="688"/>
                  </a:lnTo>
                  <a:lnTo>
                    <a:pt x="1035" y="687"/>
                  </a:lnTo>
                  <a:lnTo>
                    <a:pt x="1041" y="686"/>
                  </a:lnTo>
                  <a:lnTo>
                    <a:pt x="1047" y="684"/>
                  </a:lnTo>
                  <a:lnTo>
                    <a:pt x="1054" y="680"/>
                  </a:lnTo>
                  <a:lnTo>
                    <a:pt x="1059" y="677"/>
                  </a:lnTo>
                  <a:lnTo>
                    <a:pt x="1064" y="674"/>
                  </a:lnTo>
                  <a:lnTo>
                    <a:pt x="1068" y="669"/>
                  </a:lnTo>
                  <a:lnTo>
                    <a:pt x="1073" y="665"/>
                  </a:lnTo>
                  <a:lnTo>
                    <a:pt x="1078" y="659"/>
                  </a:lnTo>
                  <a:lnTo>
                    <a:pt x="1081" y="653"/>
                  </a:lnTo>
                  <a:lnTo>
                    <a:pt x="1083" y="648"/>
                  </a:lnTo>
                  <a:lnTo>
                    <a:pt x="1085" y="641"/>
                  </a:lnTo>
                  <a:lnTo>
                    <a:pt x="1088" y="635"/>
                  </a:lnTo>
                  <a:lnTo>
                    <a:pt x="1089" y="628"/>
                  </a:lnTo>
                  <a:lnTo>
                    <a:pt x="1089" y="622"/>
                  </a:lnTo>
                  <a:lnTo>
                    <a:pt x="1089" y="68"/>
                  </a:lnTo>
                  <a:lnTo>
                    <a:pt x="1089" y="61"/>
                  </a:lnTo>
                  <a:lnTo>
                    <a:pt x="1088" y="54"/>
                  </a:lnTo>
                  <a:lnTo>
                    <a:pt x="1085" y="47"/>
                  </a:lnTo>
                  <a:lnTo>
                    <a:pt x="1083" y="42"/>
                  </a:lnTo>
                  <a:lnTo>
                    <a:pt x="1081" y="35"/>
                  </a:lnTo>
                  <a:lnTo>
                    <a:pt x="1078" y="31"/>
                  </a:lnTo>
                  <a:lnTo>
                    <a:pt x="1073" y="25"/>
                  </a:lnTo>
                  <a:lnTo>
                    <a:pt x="1068" y="20"/>
                  </a:lnTo>
                  <a:lnTo>
                    <a:pt x="1064" y="16"/>
                  </a:lnTo>
                  <a:lnTo>
                    <a:pt x="1059" y="11"/>
                  </a:lnTo>
                  <a:lnTo>
                    <a:pt x="1054" y="8"/>
                  </a:lnTo>
                  <a:lnTo>
                    <a:pt x="1047" y="6"/>
                  </a:lnTo>
                  <a:lnTo>
                    <a:pt x="1041" y="3"/>
                  </a:lnTo>
                  <a:lnTo>
                    <a:pt x="1035" y="1"/>
                  </a:lnTo>
                  <a:lnTo>
                    <a:pt x="1028" y="0"/>
                  </a:lnTo>
                  <a:lnTo>
                    <a:pt x="1021" y="0"/>
                  </a:lnTo>
                  <a:lnTo>
                    <a:pt x="68" y="0"/>
                  </a:lnTo>
                  <a:lnTo>
                    <a:pt x="62" y="0"/>
                  </a:lnTo>
                  <a:lnTo>
                    <a:pt x="55" y="1"/>
                  </a:lnTo>
                  <a:lnTo>
                    <a:pt x="48" y="3"/>
                  </a:lnTo>
                  <a:lnTo>
                    <a:pt x="42" y="6"/>
                  </a:lnTo>
                  <a:lnTo>
                    <a:pt x="36" y="8"/>
                  </a:lnTo>
                  <a:lnTo>
                    <a:pt x="30" y="11"/>
                  </a:lnTo>
                  <a:lnTo>
                    <a:pt x="25" y="16"/>
                  </a:lnTo>
                  <a:lnTo>
                    <a:pt x="20" y="20"/>
                  </a:lnTo>
                  <a:lnTo>
                    <a:pt x="16" y="25"/>
                  </a:lnTo>
                  <a:lnTo>
                    <a:pt x="12" y="31"/>
                  </a:lnTo>
                  <a:lnTo>
                    <a:pt x="8" y="35"/>
                  </a:lnTo>
                  <a:lnTo>
                    <a:pt x="6" y="42"/>
                  </a:lnTo>
                  <a:lnTo>
                    <a:pt x="4" y="47"/>
                  </a:lnTo>
                  <a:lnTo>
                    <a:pt x="2" y="54"/>
                  </a:lnTo>
                  <a:lnTo>
                    <a:pt x="0" y="61"/>
                  </a:lnTo>
                  <a:lnTo>
                    <a:pt x="0" y="68"/>
                  </a:lnTo>
                  <a:lnTo>
                    <a:pt x="0" y="622"/>
                  </a:lnTo>
                  <a:lnTo>
                    <a:pt x="0" y="628"/>
                  </a:lnTo>
                  <a:lnTo>
                    <a:pt x="2" y="635"/>
                  </a:lnTo>
                  <a:lnTo>
                    <a:pt x="4" y="641"/>
                  </a:lnTo>
                  <a:lnTo>
                    <a:pt x="6" y="648"/>
                  </a:lnTo>
                  <a:lnTo>
                    <a:pt x="8" y="653"/>
                  </a:lnTo>
                  <a:lnTo>
                    <a:pt x="12" y="659"/>
                  </a:lnTo>
                  <a:lnTo>
                    <a:pt x="16" y="665"/>
                  </a:lnTo>
                  <a:lnTo>
                    <a:pt x="20" y="669"/>
                  </a:lnTo>
                  <a:lnTo>
                    <a:pt x="25" y="674"/>
                  </a:lnTo>
                  <a:lnTo>
                    <a:pt x="30" y="677"/>
                  </a:lnTo>
                  <a:lnTo>
                    <a:pt x="36" y="680"/>
                  </a:lnTo>
                  <a:lnTo>
                    <a:pt x="42" y="684"/>
                  </a:lnTo>
                  <a:lnTo>
                    <a:pt x="48" y="686"/>
                  </a:lnTo>
                  <a:lnTo>
                    <a:pt x="55" y="687"/>
                  </a:lnTo>
                  <a:lnTo>
                    <a:pt x="62" y="688"/>
                  </a:lnTo>
                  <a:lnTo>
                    <a:pt x="68" y="690"/>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54" name="Rectangle 1015"/>
            <p:cNvSpPr>
              <a:spLocks noChangeArrowheads="1"/>
            </p:cNvSpPr>
            <p:nvPr/>
          </p:nvSpPr>
          <p:spPr bwMode="auto">
            <a:xfrm>
              <a:off x="4194" y="3539"/>
              <a:ext cx="20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Un</a:t>
              </a:r>
              <a:endParaRPr lang="en-US" sz="1800" b="0" kern="0" baseline="0">
                <a:solidFill>
                  <a:sysClr val="windowText" lastClr="000000"/>
                </a:solidFill>
                <a:latin typeface="Arial" charset="0"/>
                <a:ea typeface="ＭＳ Ｐゴシック"/>
                <a:cs typeface="ＭＳ Ｐゴシック"/>
              </a:endParaRPr>
            </a:p>
          </p:txBody>
        </p:sp>
        <p:sp>
          <p:nvSpPr>
            <p:cNvPr id="455" name="Rectangle 1016"/>
            <p:cNvSpPr>
              <a:spLocks noChangeArrowheads="1"/>
            </p:cNvSpPr>
            <p:nvPr/>
          </p:nvSpPr>
          <p:spPr bwMode="auto">
            <a:xfrm>
              <a:off x="4402" y="3539"/>
              <a:ext cx="1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456" name="Rectangle 1017"/>
            <p:cNvSpPr>
              <a:spLocks noChangeArrowheads="1"/>
            </p:cNvSpPr>
            <p:nvPr/>
          </p:nvSpPr>
          <p:spPr bwMode="auto">
            <a:xfrm>
              <a:off x="4164" y="3574"/>
              <a:ext cx="27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lanned Events</a:t>
              </a:r>
              <a:endParaRPr lang="en-US" sz="1800" b="0" kern="0" baseline="0">
                <a:solidFill>
                  <a:sysClr val="windowText" lastClr="000000"/>
                </a:solidFill>
                <a:latin typeface="Arial" charset="0"/>
                <a:ea typeface="ＭＳ Ｐゴシック"/>
                <a:cs typeface="ＭＳ Ｐゴシック"/>
              </a:endParaRPr>
            </a:p>
          </p:txBody>
        </p:sp>
        <p:sp>
          <p:nvSpPr>
            <p:cNvPr id="457" name="Freeform 1018"/>
            <p:cNvSpPr>
              <a:spLocks/>
            </p:cNvSpPr>
            <p:nvPr/>
          </p:nvSpPr>
          <p:spPr bwMode="auto">
            <a:xfrm>
              <a:off x="989" y="3800"/>
              <a:ext cx="403" cy="127"/>
            </a:xfrm>
            <a:custGeom>
              <a:avLst/>
              <a:gdLst>
                <a:gd name="T0" fmla="*/ 127 w 1209"/>
                <a:gd name="T1" fmla="*/ 31 h 524"/>
                <a:gd name="T2" fmla="*/ 128 w 1209"/>
                <a:gd name="T3" fmla="*/ 31 h 524"/>
                <a:gd name="T4" fmla="*/ 130 w 1209"/>
                <a:gd name="T5" fmla="*/ 31 h 524"/>
                <a:gd name="T6" fmla="*/ 131 w 1209"/>
                <a:gd name="T7" fmla="*/ 30 h 524"/>
                <a:gd name="T8" fmla="*/ 132 w 1209"/>
                <a:gd name="T9" fmla="*/ 30 h 524"/>
                <a:gd name="T10" fmla="*/ 133 w 1209"/>
                <a:gd name="T11" fmla="*/ 29 h 524"/>
                <a:gd name="T12" fmla="*/ 134 w 1209"/>
                <a:gd name="T13" fmla="*/ 28 h 524"/>
                <a:gd name="T14" fmla="*/ 134 w 1209"/>
                <a:gd name="T15" fmla="*/ 28 h 524"/>
                <a:gd name="T16" fmla="*/ 134 w 1209"/>
                <a:gd name="T17" fmla="*/ 27 h 524"/>
                <a:gd name="T18" fmla="*/ 134 w 1209"/>
                <a:gd name="T19" fmla="*/ 4 h 524"/>
                <a:gd name="T20" fmla="*/ 134 w 1209"/>
                <a:gd name="T21" fmla="*/ 3 h 524"/>
                <a:gd name="T22" fmla="*/ 134 w 1209"/>
                <a:gd name="T23" fmla="*/ 2 h 524"/>
                <a:gd name="T24" fmla="*/ 133 w 1209"/>
                <a:gd name="T25" fmla="*/ 2 h 524"/>
                <a:gd name="T26" fmla="*/ 132 w 1209"/>
                <a:gd name="T27" fmla="*/ 1 h 524"/>
                <a:gd name="T28" fmla="*/ 131 w 1209"/>
                <a:gd name="T29" fmla="*/ 1 h 524"/>
                <a:gd name="T30" fmla="*/ 130 w 1209"/>
                <a:gd name="T31" fmla="*/ 0 h 524"/>
                <a:gd name="T32" fmla="*/ 128 w 1209"/>
                <a:gd name="T33" fmla="*/ 0 h 524"/>
                <a:gd name="T34" fmla="*/ 127 w 1209"/>
                <a:gd name="T35" fmla="*/ 0 h 524"/>
                <a:gd name="T36" fmla="*/ 7 w 1209"/>
                <a:gd name="T37" fmla="*/ 0 h 524"/>
                <a:gd name="T38" fmla="*/ 5 w 1209"/>
                <a:gd name="T39" fmla="*/ 0 h 524"/>
                <a:gd name="T40" fmla="*/ 4 w 1209"/>
                <a:gd name="T41" fmla="*/ 0 h 524"/>
                <a:gd name="T42" fmla="*/ 3 w 1209"/>
                <a:gd name="T43" fmla="*/ 1 h 524"/>
                <a:gd name="T44" fmla="*/ 2 w 1209"/>
                <a:gd name="T45" fmla="*/ 1 h 524"/>
                <a:gd name="T46" fmla="*/ 1 w 1209"/>
                <a:gd name="T47" fmla="*/ 2 h 524"/>
                <a:gd name="T48" fmla="*/ 0 w 1209"/>
                <a:gd name="T49" fmla="*/ 3 h 524"/>
                <a:gd name="T50" fmla="*/ 0 w 1209"/>
                <a:gd name="T51" fmla="*/ 4 h 524"/>
                <a:gd name="T52" fmla="*/ 0 w 1209"/>
                <a:gd name="T53" fmla="*/ 27 h 524"/>
                <a:gd name="T54" fmla="*/ 0 w 1209"/>
                <a:gd name="T55" fmla="*/ 28 h 524"/>
                <a:gd name="T56" fmla="*/ 0 w 1209"/>
                <a:gd name="T57" fmla="*/ 28 h 524"/>
                <a:gd name="T58" fmla="*/ 1 w 1209"/>
                <a:gd name="T59" fmla="*/ 29 h 524"/>
                <a:gd name="T60" fmla="*/ 2 w 1209"/>
                <a:gd name="T61" fmla="*/ 30 h 524"/>
                <a:gd name="T62" fmla="*/ 3 w 1209"/>
                <a:gd name="T63" fmla="*/ 30 h 524"/>
                <a:gd name="T64" fmla="*/ 4 w 1209"/>
                <a:gd name="T65" fmla="*/ 31 h 524"/>
                <a:gd name="T66" fmla="*/ 6 w 1209"/>
                <a:gd name="T67" fmla="*/ 31 h 524"/>
                <a:gd name="T68" fmla="*/ 8 w 1209"/>
                <a:gd name="T69" fmla="*/ 31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524"/>
                <a:gd name="T107" fmla="*/ 1209 w 1209"/>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524">
                  <a:moveTo>
                    <a:pt x="68" y="524"/>
                  </a:moveTo>
                  <a:lnTo>
                    <a:pt x="1141" y="524"/>
                  </a:lnTo>
                  <a:lnTo>
                    <a:pt x="1148" y="524"/>
                  </a:lnTo>
                  <a:lnTo>
                    <a:pt x="1155" y="523"/>
                  </a:lnTo>
                  <a:lnTo>
                    <a:pt x="1162" y="520"/>
                  </a:lnTo>
                  <a:lnTo>
                    <a:pt x="1168" y="518"/>
                  </a:lnTo>
                  <a:lnTo>
                    <a:pt x="1174" y="516"/>
                  </a:lnTo>
                  <a:lnTo>
                    <a:pt x="1180" y="512"/>
                  </a:lnTo>
                  <a:lnTo>
                    <a:pt x="1184" y="508"/>
                  </a:lnTo>
                  <a:lnTo>
                    <a:pt x="1190" y="503"/>
                  </a:lnTo>
                  <a:lnTo>
                    <a:pt x="1193" y="499"/>
                  </a:lnTo>
                  <a:lnTo>
                    <a:pt x="1198" y="494"/>
                  </a:lnTo>
                  <a:lnTo>
                    <a:pt x="1201" y="489"/>
                  </a:lnTo>
                  <a:lnTo>
                    <a:pt x="1203" y="482"/>
                  </a:lnTo>
                  <a:lnTo>
                    <a:pt x="1206" y="476"/>
                  </a:lnTo>
                  <a:lnTo>
                    <a:pt x="1208" y="469"/>
                  </a:lnTo>
                  <a:lnTo>
                    <a:pt x="1209" y="463"/>
                  </a:lnTo>
                  <a:lnTo>
                    <a:pt x="1209" y="456"/>
                  </a:lnTo>
                  <a:lnTo>
                    <a:pt x="1209" y="68"/>
                  </a:lnTo>
                  <a:lnTo>
                    <a:pt x="1209" y="60"/>
                  </a:lnTo>
                  <a:lnTo>
                    <a:pt x="1208" y="53"/>
                  </a:lnTo>
                  <a:lnTo>
                    <a:pt x="1206" y="48"/>
                  </a:lnTo>
                  <a:lnTo>
                    <a:pt x="1203" y="41"/>
                  </a:lnTo>
                  <a:lnTo>
                    <a:pt x="1201" y="35"/>
                  </a:lnTo>
                  <a:lnTo>
                    <a:pt x="1198" y="30"/>
                  </a:lnTo>
                  <a:lnTo>
                    <a:pt x="1193" y="24"/>
                  </a:lnTo>
                  <a:lnTo>
                    <a:pt x="1190" y="20"/>
                  </a:lnTo>
                  <a:lnTo>
                    <a:pt x="1184" y="15"/>
                  </a:lnTo>
                  <a:lnTo>
                    <a:pt x="1180" y="12"/>
                  </a:lnTo>
                  <a:lnTo>
                    <a:pt x="1174" y="8"/>
                  </a:lnTo>
                  <a:lnTo>
                    <a:pt x="1168" y="5"/>
                  </a:lnTo>
                  <a:lnTo>
                    <a:pt x="1162" y="3"/>
                  </a:lnTo>
                  <a:lnTo>
                    <a:pt x="1155" y="1"/>
                  </a:lnTo>
                  <a:lnTo>
                    <a:pt x="1148" y="0"/>
                  </a:lnTo>
                  <a:lnTo>
                    <a:pt x="1141" y="0"/>
                  </a:lnTo>
                  <a:lnTo>
                    <a:pt x="68" y="0"/>
                  </a:lnTo>
                  <a:lnTo>
                    <a:pt x="60" y="0"/>
                  </a:lnTo>
                  <a:lnTo>
                    <a:pt x="53" y="1"/>
                  </a:lnTo>
                  <a:lnTo>
                    <a:pt x="47" y="3"/>
                  </a:lnTo>
                  <a:lnTo>
                    <a:pt x="40" y="5"/>
                  </a:lnTo>
                  <a:lnTo>
                    <a:pt x="35" y="8"/>
                  </a:lnTo>
                  <a:lnTo>
                    <a:pt x="29" y="12"/>
                  </a:lnTo>
                  <a:lnTo>
                    <a:pt x="24" y="15"/>
                  </a:lnTo>
                  <a:lnTo>
                    <a:pt x="19" y="20"/>
                  </a:lnTo>
                  <a:lnTo>
                    <a:pt x="14" y="24"/>
                  </a:lnTo>
                  <a:lnTo>
                    <a:pt x="11" y="30"/>
                  </a:lnTo>
                  <a:lnTo>
                    <a:pt x="8" y="35"/>
                  </a:lnTo>
                  <a:lnTo>
                    <a:pt x="4" y="41"/>
                  </a:lnTo>
                  <a:lnTo>
                    <a:pt x="2" y="48"/>
                  </a:lnTo>
                  <a:lnTo>
                    <a:pt x="1" y="53"/>
                  </a:lnTo>
                  <a:lnTo>
                    <a:pt x="0" y="60"/>
                  </a:lnTo>
                  <a:lnTo>
                    <a:pt x="0" y="68"/>
                  </a:lnTo>
                  <a:lnTo>
                    <a:pt x="0" y="456"/>
                  </a:lnTo>
                  <a:lnTo>
                    <a:pt x="0" y="463"/>
                  </a:lnTo>
                  <a:lnTo>
                    <a:pt x="1" y="469"/>
                  </a:lnTo>
                  <a:lnTo>
                    <a:pt x="2" y="476"/>
                  </a:lnTo>
                  <a:lnTo>
                    <a:pt x="4" y="482"/>
                  </a:lnTo>
                  <a:lnTo>
                    <a:pt x="8" y="489"/>
                  </a:lnTo>
                  <a:lnTo>
                    <a:pt x="11" y="494"/>
                  </a:lnTo>
                  <a:lnTo>
                    <a:pt x="14" y="499"/>
                  </a:lnTo>
                  <a:lnTo>
                    <a:pt x="19" y="503"/>
                  </a:lnTo>
                  <a:lnTo>
                    <a:pt x="24" y="508"/>
                  </a:lnTo>
                  <a:lnTo>
                    <a:pt x="29" y="512"/>
                  </a:lnTo>
                  <a:lnTo>
                    <a:pt x="35" y="516"/>
                  </a:lnTo>
                  <a:lnTo>
                    <a:pt x="40" y="518"/>
                  </a:lnTo>
                  <a:lnTo>
                    <a:pt x="47" y="520"/>
                  </a:lnTo>
                  <a:lnTo>
                    <a:pt x="53" y="523"/>
                  </a:lnTo>
                  <a:lnTo>
                    <a:pt x="60" y="524"/>
                  </a:lnTo>
                  <a:lnTo>
                    <a:pt x="68" y="524"/>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58" name="Freeform 1019"/>
            <p:cNvSpPr>
              <a:spLocks/>
            </p:cNvSpPr>
            <p:nvPr/>
          </p:nvSpPr>
          <p:spPr bwMode="auto">
            <a:xfrm>
              <a:off x="989" y="3800"/>
              <a:ext cx="403" cy="127"/>
            </a:xfrm>
            <a:custGeom>
              <a:avLst/>
              <a:gdLst>
                <a:gd name="T0" fmla="*/ 127 w 1209"/>
                <a:gd name="T1" fmla="*/ 31 h 524"/>
                <a:gd name="T2" fmla="*/ 128 w 1209"/>
                <a:gd name="T3" fmla="*/ 31 h 524"/>
                <a:gd name="T4" fmla="*/ 130 w 1209"/>
                <a:gd name="T5" fmla="*/ 31 h 524"/>
                <a:gd name="T6" fmla="*/ 131 w 1209"/>
                <a:gd name="T7" fmla="*/ 30 h 524"/>
                <a:gd name="T8" fmla="*/ 132 w 1209"/>
                <a:gd name="T9" fmla="*/ 30 h 524"/>
                <a:gd name="T10" fmla="*/ 133 w 1209"/>
                <a:gd name="T11" fmla="*/ 29 h 524"/>
                <a:gd name="T12" fmla="*/ 134 w 1209"/>
                <a:gd name="T13" fmla="*/ 28 h 524"/>
                <a:gd name="T14" fmla="*/ 134 w 1209"/>
                <a:gd name="T15" fmla="*/ 28 h 524"/>
                <a:gd name="T16" fmla="*/ 134 w 1209"/>
                <a:gd name="T17" fmla="*/ 27 h 524"/>
                <a:gd name="T18" fmla="*/ 134 w 1209"/>
                <a:gd name="T19" fmla="*/ 4 h 524"/>
                <a:gd name="T20" fmla="*/ 134 w 1209"/>
                <a:gd name="T21" fmla="*/ 3 h 524"/>
                <a:gd name="T22" fmla="*/ 134 w 1209"/>
                <a:gd name="T23" fmla="*/ 2 h 524"/>
                <a:gd name="T24" fmla="*/ 133 w 1209"/>
                <a:gd name="T25" fmla="*/ 2 h 524"/>
                <a:gd name="T26" fmla="*/ 132 w 1209"/>
                <a:gd name="T27" fmla="*/ 1 h 524"/>
                <a:gd name="T28" fmla="*/ 131 w 1209"/>
                <a:gd name="T29" fmla="*/ 1 h 524"/>
                <a:gd name="T30" fmla="*/ 130 w 1209"/>
                <a:gd name="T31" fmla="*/ 0 h 524"/>
                <a:gd name="T32" fmla="*/ 128 w 1209"/>
                <a:gd name="T33" fmla="*/ 0 h 524"/>
                <a:gd name="T34" fmla="*/ 127 w 1209"/>
                <a:gd name="T35" fmla="*/ 0 h 524"/>
                <a:gd name="T36" fmla="*/ 7 w 1209"/>
                <a:gd name="T37" fmla="*/ 0 h 524"/>
                <a:gd name="T38" fmla="*/ 5 w 1209"/>
                <a:gd name="T39" fmla="*/ 0 h 524"/>
                <a:gd name="T40" fmla="*/ 4 w 1209"/>
                <a:gd name="T41" fmla="*/ 0 h 524"/>
                <a:gd name="T42" fmla="*/ 3 w 1209"/>
                <a:gd name="T43" fmla="*/ 1 h 524"/>
                <a:gd name="T44" fmla="*/ 2 w 1209"/>
                <a:gd name="T45" fmla="*/ 1 h 524"/>
                <a:gd name="T46" fmla="*/ 1 w 1209"/>
                <a:gd name="T47" fmla="*/ 2 h 524"/>
                <a:gd name="T48" fmla="*/ 0 w 1209"/>
                <a:gd name="T49" fmla="*/ 3 h 524"/>
                <a:gd name="T50" fmla="*/ 0 w 1209"/>
                <a:gd name="T51" fmla="*/ 4 h 524"/>
                <a:gd name="T52" fmla="*/ 0 w 1209"/>
                <a:gd name="T53" fmla="*/ 27 h 524"/>
                <a:gd name="T54" fmla="*/ 0 w 1209"/>
                <a:gd name="T55" fmla="*/ 28 h 524"/>
                <a:gd name="T56" fmla="*/ 0 w 1209"/>
                <a:gd name="T57" fmla="*/ 28 h 524"/>
                <a:gd name="T58" fmla="*/ 1 w 1209"/>
                <a:gd name="T59" fmla="*/ 29 h 524"/>
                <a:gd name="T60" fmla="*/ 2 w 1209"/>
                <a:gd name="T61" fmla="*/ 30 h 524"/>
                <a:gd name="T62" fmla="*/ 3 w 1209"/>
                <a:gd name="T63" fmla="*/ 30 h 524"/>
                <a:gd name="T64" fmla="*/ 4 w 1209"/>
                <a:gd name="T65" fmla="*/ 31 h 524"/>
                <a:gd name="T66" fmla="*/ 6 w 1209"/>
                <a:gd name="T67" fmla="*/ 31 h 524"/>
                <a:gd name="T68" fmla="*/ 8 w 1209"/>
                <a:gd name="T69" fmla="*/ 31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524"/>
                <a:gd name="T107" fmla="*/ 1209 w 1209"/>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524">
                  <a:moveTo>
                    <a:pt x="68" y="524"/>
                  </a:moveTo>
                  <a:lnTo>
                    <a:pt x="1141" y="524"/>
                  </a:lnTo>
                  <a:lnTo>
                    <a:pt x="1148" y="524"/>
                  </a:lnTo>
                  <a:lnTo>
                    <a:pt x="1155" y="523"/>
                  </a:lnTo>
                  <a:lnTo>
                    <a:pt x="1162" y="520"/>
                  </a:lnTo>
                  <a:lnTo>
                    <a:pt x="1168" y="518"/>
                  </a:lnTo>
                  <a:lnTo>
                    <a:pt x="1174" y="516"/>
                  </a:lnTo>
                  <a:lnTo>
                    <a:pt x="1180" y="512"/>
                  </a:lnTo>
                  <a:lnTo>
                    <a:pt x="1184" y="508"/>
                  </a:lnTo>
                  <a:lnTo>
                    <a:pt x="1190" y="503"/>
                  </a:lnTo>
                  <a:lnTo>
                    <a:pt x="1193" y="499"/>
                  </a:lnTo>
                  <a:lnTo>
                    <a:pt x="1198" y="494"/>
                  </a:lnTo>
                  <a:lnTo>
                    <a:pt x="1201" y="489"/>
                  </a:lnTo>
                  <a:lnTo>
                    <a:pt x="1203" y="482"/>
                  </a:lnTo>
                  <a:lnTo>
                    <a:pt x="1206" y="476"/>
                  </a:lnTo>
                  <a:lnTo>
                    <a:pt x="1208" y="469"/>
                  </a:lnTo>
                  <a:lnTo>
                    <a:pt x="1209" y="463"/>
                  </a:lnTo>
                  <a:lnTo>
                    <a:pt x="1209" y="456"/>
                  </a:lnTo>
                  <a:lnTo>
                    <a:pt x="1209" y="68"/>
                  </a:lnTo>
                  <a:lnTo>
                    <a:pt x="1209" y="60"/>
                  </a:lnTo>
                  <a:lnTo>
                    <a:pt x="1208" y="53"/>
                  </a:lnTo>
                  <a:lnTo>
                    <a:pt x="1206" y="48"/>
                  </a:lnTo>
                  <a:lnTo>
                    <a:pt x="1203" y="41"/>
                  </a:lnTo>
                  <a:lnTo>
                    <a:pt x="1201" y="35"/>
                  </a:lnTo>
                  <a:lnTo>
                    <a:pt x="1198" y="30"/>
                  </a:lnTo>
                  <a:lnTo>
                    <a:pt x="1193" y="24"/>
                  </a:lnTo>
                  <a:lnTo>
                    <a:pt x="1190" y="20"/>
                  </a:lnTo>
                  <a:lnTo>
                    <a:pt x="1184" y="15"/>
                  </a:lnTo>
                  <a:lnTo>
                    <a:pt x="1180" y="12"/>
                  </a:lnTo>
                  <a:lnTo>
                    <a:pt x="1174" y="8"/>
                  </a:lnTo>
                  <a:lnTo>
                    <a:pt x="1168" y="5"/>
                  </a:lnTo>
                  <a:lnTo>
                    <a:pt x="1162" y="3"/>
                  </a:lnTo>
                  <a:lnTo>
                    <a:pt x="1155" y="1"/>
                  </a:lnTo>
                  <a:lnTo>
                    <a:pt x="1148" y="0"/>
                  </a:lnTo>
                  <a:lnTo>
                    <a:pt x="1141" y="0"/>
                  </a:lnTo>
                  <a:lnTo>
                    <a:pt x="68" y="0"/>
                  </a:lnTo>
                  <a:lnTo>
                    <a:pt x="60" y="0"/>
                  </a:lnTo>
                  <a:lnTo>
                    <a:pt x="53" y="1"/>
                  </a:lnTo>
                  <a:lnTo>
                    <a:pt x="47" y="3"/>
                  </a:lnTo>
                  <a:lnTo>
                    <a:pt x="40" y="5"/>
                  </a:lnTo>
                  <a:lnTo>
                    <a:pt x="35" y="8"/>
                  </a:lnTo>
                  <a:lnTo>
                    <a:pt x="29" y="12"/>
                  </a:lnTo>
                  <a:lnTo>
                    <a:pt x="24" y="15"/>
                  </a:lnTo>
                  <a:lnTo>
                    <a:pt x="19" y="20"/>
                  </a:lnTo>
                  <a:lnTo>
                    <a:pt x="14" y="24"/>
                  </a:lnTo>
                  <a:lnTo>
                    <a:pt x="11" y="30"/>
                  </a:lnTo>
                  <a:lnTo>
                    <a:pt x="8" y="35"/>
                  </a:lnTo>
                  <a:lnTo>
                    <a:pt x="4" y="41"/>
                  </a:lnTo>
                  <a:lnTo>
                    <a:pt x="2" y="48"/>
                  </a:lnTo>
                  <a:lnTo>
                    <a:pt x="1" y="53"/>
                  </a:lnTo>
                  <a:lnTo>
                    <a:pt x="0" y="60"/>
                  </a:lnTo>
                  <a:lnTo>
                    <a:pt x="0" y="68"/>
                  </a:lnTo>
                  <a:lnTo>
                    <a:pt x="0" y="456"/>
                  </a:lnTo>
                  <a:lnTo>
                    <a:pt x="0" y="463"/>
                  </a:lnTo>
                  <a:lnTo>
                    <a:pt x="1" y="469"/>
                  </a:lnTo>
                  <a:lnTo>
                    <a:pt x="2" y="476"/>
                  </a:lnTo>
                  <a:lnTo>
                    <a:pt x="4" y="482"/>
                  </a:lnTo>
                  <a:lnTo>
                    <a:pt x="8" y="489"/>
                  </a:lnTo>
                  <a:lnTo>
                    <a:pt x="11" y="494"/>
                  </a:lnTo>
                  <a:lnTo>
                    <a:pt x="14" y="499"/>
                  </a:lnTo>
                  <a:lnTo>
                    <a:pt x="19" y="503"/>
                  </a:lnTo>
                  <a:lnTo>
                    <a:pt x="24" y="508"/>
                  </a:lnTo>
                  <a:lnTo>
                    <a:pt x="29" y="512"/>
                  </a:lnTo>
                  <a:lnTo>
                    <a:pt x="35" y="516"/>
                  </a:lnTo>
                  <a:lnTo>
                    <a:pt x="40" y="518"/>
                  </a:lnTo>
                  <a:lnTo>
                    <a:pt x="47" y="520"/>
                  </a:lnTo>
                  <a:lnTo>
                    <a:pt x="53" y="523"/>
                  </a:lnTo>
                  <a:lnTo>
                    <a:pt x="60" y="524"/>
                  </a:lnTo>
                  <a:lnTo>
                    <a:pt x="68" y="52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59" name="Rectangle 1020"/>
            <p:cNvSpPr>
              <a:spLocks noChangeArrowheads="1"/>
            </p:cNvSpPr>
            <p:nvPr/>
          </p:nvSpPr>
          <p:spPr bwMode="auto">
            <a:xfrm>
              <a:off x="1066" y="3829"/>
              <a:ext cx="25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ovide Meter </a:t>
              </a:r>
              <a:endParaRPr lang="en-US" sz="1800" b="0" kern="0" baseline="0">
                <a:solidFill>
                  <a:sysClr val="windowText" lastClr="000000"/>
                </a:solidFill>
                <a:latin typeface="Arial" charset="0"/>
                <a:ea typeface="ＭＳ Ｐゴシック"/>
                <a:cs typeface="ＭＳ Ｐゴシック"/>
              </a:endParaRPr>
            </a:p>
          </p:txBody>
        </p:sp>
        <p:sp>
          <p:nvSpPr>
            <p:cNvPr id="460" name="Rectangle 1021"/>
            <p:cNvSpPr>
              <a:spLocks noChangeArrowheads="1"/>
            </p:cNvSpPr>
            <p:nvPr/>
          </p:nvSpPr>
          <p:spPr bwMode="auto">
            <a:xfrm>
              <a:off x="1131" y="3864"/>
              <a:ext cx="12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ssets</a:t>
              </a:r>
              <a:endParaRPr lang="en-US" sz="1800" b="0" kern="0" baseline="0">
                <a:solidFill>
                  <a:sysClr val="windowText" lastClr="000000"/>
                </a:solidFill>
                <a:latin typeface="Arial" charset="0"/>
                <a:ea typeface="ＭＳ Ｐゴシック"/>
                <a:cs typeface="ＭＳ Ｐゴシック"/>
              </a:endParaRPr>
            </a:p>
          </p:txBody>
        </p:sp>
        <p:sp>
          <p:nvSpPr>
            <p:cNvPr id="461" name="Freeform 1022"/>
            <p:cNvSpPr>
              <a:spLocks/>
            </p:cNvSpPr>
            <p:nvPr/>
          </p:nvSpPr>
          <p:spPr bwMode="auto">
            <a:xfrm>
              <a:off x="993" y="3939"/>
              <a:ext cx="403" cy="126"/>
            </a:xfrm>
            <a:custGeom>
              <a:avLst/>
              <a:gdLst>
                <a:gd name="T0" fmla="*/ 127 w 1209"/>
                <a:gd name="T1" fmla="*/ 30 h 524"/>
                <a:gd name="T2" fmla="*/ 128 w 1209"/>
                <a:gd name="T3" fmla="*/ 30 h 524"/>
                <a:gd name="T4" fmla="*/ 130 w 1209"/>
                <a:gd name="T5" fmla="*/ 30 h 524"/>
                <a:gd name="T6" fmla="*/ 131 w 1209"/>
                <a:gd name="T7" fmla="*/ 30 h 524"/>
                <a:gd name="T8" fmla="*/ 132 w 1209"/>
                <a:gd name="T9" fmla="*/ 29 h 524"/>
                <a:gd name="T10" fmla="*/ 133 w 1209"/>
                <a:gd name="T11" fmla="*/ 29 h 524"/>
                <a:gd name="T12" fmla="*/ 134 w 1209"/>
                <a:gd name="T13" fmla="*/ 28 h 524"/>
                <a:gd name="T14" fmla="*/ 134 w 1209"/>
                <a:gd name="T15" fmla="*/ 27 h 524"/>
                <a:gd name="T16" fmla="*/ 134 w 1209"/>
                <a:gd name="T17" fmla="*/ 26 h 524"/>
                <a:gd name="T18" fmla="*/ 134 w 1209"/>
                <a:gd name="T19" fmla="*/ 4 h 524"/>
                <a:gd name="T20" fmla="*/ 134 w 1209"/>
                <a:gd name="T21" fmla="*/ 3 h 524"/>
                <a:gd name="T22" fmla="*/ 134 w 1209"/>
                <a:gd name="T23" fmla="*/ 2 h 524"/>
                <a:gd name="T24" fmla="*/ 133 w 1209"/>
                <a:gd name="T25" fmla="*/ 2 h 524"/>
                <a:gd name="T26" fmla="*/ 132 w 1209"/>
                <a:gd name="T27" fmla="*/ 1 h 524"/>
                <a:gd name="T28" fmla="*/ 131 w 1209"/>
                <a:gd name="T29" fmla="*/ 1 h 524"/>
                <a:gd name="T30" fmla="*/ 130 w 1209"/>
                <a:gd name="T31" fmla="*/ 0 h 524"/>
                <a:gd name="T32" fmla="*/ 128 w 1209"/>
                <a:gd name="T33" fmla="*/ 0 h 524"/>
                <a:gd name="T34" fmla="*/ 127 w 1209"/>
                <a:gd name="T35" fmla="*/ 0 h 524"/>
                <a:gd name="T36" fmla="*/ 7 w 1209"/>
                <a:gd name="T37" fmla="*/ 0 h 524"/>
                <a:gd name="T38" fmla="*/ 5 w 1209"/>
                <a:gd name="T39" fmla="*/ 0 h 524"/>
                <a:gd name="T40" fmla="*/ 4 w 1209"/>
                <a:gd name="T41" fmla="*/ 0 h 524"/>
                <a:gd name="T42" fmla="*/ 3 w 1209"/>
                <a:gd name="T43" fmla="*/ 1 h 524"/>
                <a:gd name="T44" fmla="*/ 2 w 1209"/>
                <a:gd name="T45" fmla="*/ 1 h 524"/>
                <a:gd name="T46" fmla="*/ 1 w 1209"/>
                <a:gd name="T47" fmla="*/ 2 h 524"/>
                <a:gd name="T48" fmla="*/ 0 w 1209"/>
                <a:gd name="T49" fmla="*/ 3 h 524"/>
                <a:gd name="T50" fmla="*/ 0 w 1209"/>
                <a:gd name="T51" fmla="*/ 4 h 524"/>
                <a:gd name="T52" fmla="*/ 0 w 1209"/>
                <a:gd name="T53" fmla="*/ 26 h 524"/>
                <a:gd name="T54" fmla="*/ 0 w 1209"/>
                <a:gd name="T55" fmla="*/ 27 h 524"/>
                <a:gd name="T56" fmla="*/ 1 w 1209"/>
                <a:gd name="T57" fmla="*/ 28 h 524"/>
                <a:gd name="T58" fmla="*/ 1 w 1209"/>
                <a:gd name="T59" fmla="*/ 29 h 524"/>
                <a:gd name="T60" fmla="*/ 2 w 1209"/>
                <a:gd name="T61" fmla="*/ 29 h 524"/>
                <a:gd name="T62" fmla="*/ 3 w 1209"/>
                <a:gd name="T63" fmla="*/ 30 h 524"/>
                <a:gd name="T64" fmla="*/ 5 w 1209"/>
                <a:gd name="T65" fmla="*/ 30 h 524"/>
                <a:gd name="T66" fmla="*/ 6 w 1209"/>
                <a:gd name="T67" fmla="*/ 30 h 524"/>
                <a:gd name="T68" fmla="*/ 8 w 1209"/>
                <a:gd name="T69" fmla="*/ 30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524"/>
                <a:gd name="T107" fmla="*/ 1209 w 1209"/>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524">
                  <a:moveTo>
                    <a:pt x="68" y="524"/>
                  </a:moveTo>
                  <a:lnTo>
                    <a:pt x="1142" y="524"/>
                  </a:lnTo>
                  <a:lnTo>
                    <a:pt x="1148" y="523"/>
                  </a:lnTo>
                  <a:lnTo>
                    <a:pt x="1155" y="522"/>
                  </a:lnTo>
                  <a:lnTo>
                    <a:pt x="1162" y="521"/>
                  </a:lnTo>
                  <a:lnTo>
                    <a:pt x="1168" y="519"/>
                  </a:lnTo>
                  <a:lnTo>
                    <a:pt x="1174" y="515"/>
                  </a:lnTo>
                  <a:lnTo>
                    <a:pt x="1180" y="512"/>
                  </a:lnTo>
                  <a:lnTo>
                    <a:pt x="1184" y="509"/>
                  </a:lnTo>
                  <a:lnTo>
                    <a:pt x="1189" y="504"/>
                  </a:lnTo>
                  <a:lnTo>
                    <a:pt x="1194" y="500"/>
                  </a:lnTo>
                  <a:lnTo>
                    <a:pt x="1198" y="494"/>
                  </a:lnTo>
                  <a:lnTo>
                    <a:pt x="1201" y="488"/>
                  </a:lnTo>
                  <a:lnTo>
                    <a:pt x="1204" y="483"/>
                  </a:lnTo>
                  <a:lnTo>
                    <a:pt x="1206" y="476"/>
                  </a:lnTo>
                  <a:lnTo>
                    <a:pt x="1208" y="470"/>
                  </a:lnTo>
                  <a:lnTo>
                    <a:pt x="1209" y="463"/>
                  </a:lnTo>
                  <a:lnTo>
                    <a:pt x="1209" y="457"/>
                  </a:lnTo>
                  <a:lnTo>
                    <a:pt x="1209" y="68"/>
                  </a:lnTo>
                  <a:lnTo>
                    <a:pt x="1209" y="61"/>
                  </a:lnTo>
                  <a:lnTo>
                    <a:pt x="1208" y="54"/>
                  </a:lnTo>
                  <a:lnTo>
                    <a:pt x="1206" y="47"/>
                  </a:lnTo>
                  <a:lnTo>
                    <a:pt x="1204" y="42"/>
                  </a:lnTo>
                  <a:lnTo>
                    <a:pt x="1201" y="35"/>
                  </a:lnTo>
                  <a:lnTo>
                    <a:pt x="1198" y="30"/>
                  </a:lnTo>
                  <a:lnTo>
                    <a:pt x="1194" y="25"/>
                  </a:lnTo>
                  <a:lnTo>
                    <a:pt x="1189" y="20"/>
                  </a:lnTo>
                  <a:lnTo>
                    <a:pt x="1184" y="16"/>
                  </a:lnTo>
                  <a:lnTo>
                    <a:pt x="1180" y="11"/>
                  </a:lnTo>
                  <a:lnTo>
                    <a:pt x="1174" y="8"/>
                  </a:lnTo>
                  <a:lnTo>
                    <a:pt x="1168" y="6"/>
                  </a:lnTo>
                  <a:lnTo>
                    <a:pt x="1162" y="3"/>
                  </a:lnTo>
                  <a:lnTo>
                    <a:pt x="1155" y="1"/>
                  </a:lnTo>
                  <a:lnTo>
                    <a:pt x="1148" y="0"/>
                  </a:lnTo>
                  <a:lnTo>
                    <a:pt x="1142" y="0"/>
                  </a:lnTo>
                  <a:lnTo>
                    <a:pt x="68" y="0"/>
                  </a:lnTo>
                  <a:lnTo>
                    <a:pt x="60" y="0"/>
                  </a:lnTo>
                  <a:lnTo>
                    <a:pt x="53" y="1"/>
                  </a:lnTo>
                  <a:lnTo>
                    <a:pt x="48" y="3"/>
                  </a:lnTo>
                  <a:lnTo>
                    <a:pt x="41" y="6"/>
                  </a:lnTo>
                  <a:lnTo>
                    <a:pt x="35" y="8"/>
                  </a:lnTo>
                  <a:lnTo>
                    <a:pt x="29" y="11"/>
                  </a:lnTo>
                  <a:lnTo>
                    <a:pt x="24" y="16"/>
                  </a:lnTo>
                  <a:lnTo>
                    <a:pt x="19" y="20"/>
                  </a:lnTo>
                  <a:lnTo>
                    <a:pt x="15" y="25"/>
                  </a:lnTo>
                  <a:lnTo>
                    <a:pt x="11" y="30"/>
                  </a:lnTo>
                  <a:lnTo>
                    <a:pt x="8" y="35"/>
                  </a:lnTo>
                  <a:lnTo>
                    <a:pt x="5" y="42"/>
                  </a:lnTo>
                  <a:lnTo>
                    <a:pt x="2" y="47"/>
                  </a:lnTo>
                  <a:lnTo>
                    <a:pt x="1" y="54"/>
                  </a:lnTo>
                  <a:lnTo>
                    <a:pt x="0" y="61"/>
                  </a:lnTo>
                  <a:lnTo>
                    <a:pt x="0" y="68"/>
                  </a:lnTo>
                  <a:lnTo>
                    <a:pt x="0" y="457"/>
                  </a:lnTo>
                  <a:lnTo>
                    <a:pt x="0" y="463"/>
                  </a:lnTo>
                  <a:lnTo>
                    <a:pt x="1" y="470"/>
                  </a:lnTo>
                  <a:lnTo>
                    <a:pt x="2" y="476"/>
                  </a:lnTo>
                  <a:lnTo>
                    <a:pt x="5" y="483"/>
                  </a:lnTo>
                  <a:lnTo>
                    <a:pt x="8" y="488"/>
                  </a:lnTo>
                  <a:lnTo>
                    <a:pt x="11" y="494"/>
                  </a:lnTo>
                  <a:lnTo>
                    <a:pt x="15" y="500"/>
                  </a:lnTo>
                  <a:lnTo>
                    <a:pt x="19" y="504"/>
                  </a:lnTo>
                  <a:lnTo>
                    <a:pt x="24" y="509"/>
                  </a:lnTo>
                  <a:lnTo>
                    <a:pt x="29" y="512"/>
                  </a:lnTo>
                  <a:lnTo>
                    <a:pt x="35" y="515"/>
                  </a:lnTo>
                  <a:lnTo>
                    <a:pt x="41" y="519"/>
                  </a:lnTo>
                  <a:lnTo>
                    <a:pt x="48" y="521"/>
                  </a:lnTo>
                  <a:lnTo>
                    <a:pt x="53" y="522"/>
                  </a:lnTo>
                  <a:lnTo>
                    <a:pt x="60" y="523"/>
                  </a:lnTo>
                  <a:lnTo>
                    <a:pt x="68" y="524"/>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62" name="Freeform 1023"/>
            <p:cNvSpPr>
              <a:spLocks/>
            </p:cNvSpPr>
            <p:nvPr/>
          </p:nvSpPr>
          <p:spPr bwMode="auto">
            <a:xfrm>
              <a:off x="993" y="3939"/>
              <a:ext cx="403" cy="126"/>
            </a:xfrm>
            <a:custGeom>
              <a:avLst/>
              <a:gdLst>
                <a:gd name="T0" fmla="*/ 127 w 1209"/>
                <a:gd name="T1" fmla="*/ 30 h 524"/>
                <a:gd name="T2" fmla="*/ 128 w 1209"/>
                <a:gd name="T3" fmla="*/ 30 h 524"/>
                <a:gd name="T4" fmla="*/ 130 w 1209"/>
                <a:gd name="T5" fmla="*/ 30 h 524"/>
                <a:gd name="T6" fmla="*/ 131 w 1209"/>
                <a:gd name="T7" fmla="*/ 30 h 524"/>
                <a:gd name="T8" fmla="*/ 132 w 1209"/>
                <a:gd name="T9" fmla="*/ 29 h 524"/>
                <a:gd name="T10" fmla="*/ 133 w 1209"/>
                <a:gd name="T11" fmla="*/ 29 h 524"/>
                <a:gd name="T12" fmla="*/ 134 w 1209"/>
                <a:gd name="T13" fmla="*/ 28 h 524"/>
                <a:gd name="T14" fmla="*/ 134 w 1209"/>
                <a:gd name="T15" fmla="*/ 27 h 524"/>
                <a:gd name="T16" fmla="*/ 134 w 1209"/>
                <a:gd name="T17" fmla="*/ 26 h 524"/>
                <a:gd name="T18" fmla="*/ 134 w 1209"/>
                <a:gd name="T19" fmla="*/ 4 h 524"/>
                <a:gd name="T20" fmla="*/ 134 w 1209"/>
                <a:gd name="T21" fmla="*/ 3 h 524"/>
                <a:gd name="T22" fmla="*/ 134 w 1209"/>
                <a:gd name="T23" fmla="*/ 2 h 524"/>
                <a:gd name="T24" fmla="*/ 133 w 1209"/>
                <a:gd name="T25" fmla="*/ 2 h 524"/>
                <a:gd name="T26" fmla="*/ 132 w 1209"/>
                <a:gd name="T27" fmla="*/ 1 h 524"/>
                <a:gd name="T28" fmla="*/ 131 w 1209"/>
                <a:gd name="T29" fmla="*/ 1 h 524"/>
                <a:gd name="T30" fmla="*/ 130 w 1209"/>
                <a:gd name="T31" fmla="*/ 0 h 524"/>
                <a:gd name="T32" fmla="*/ 128 w 1209"/>
                <a:gd name="T33" fmla="*/ 0 h 524"/>
                <a:gd name="T34" fmla="*/ 127 w 1209"/>
                <a:gd name="T35" fmla="*/ 0 h 524"/>
                <a:gd name="T36" fmla="*/ 7 w 1209"/>
                <a:gd name="T37" fmla="*/ 0 h 524"/>
                <a:gd name="T38" fmla="*/ 5 w 1209"/>
                <a:gd name="T39" fmla="*/ 0 h 524"/>
                <a:gd name="T40" fmla="*/ 4 w 1209"/>
                <a:gd name="T41" fmla="*/ 0 h 524"/>
                <a:gd name="T42" fmla="*/ 3 w 1209"/>
                <a:gd name="T43" fmla="*/ 1 h 524"/>
                <a:gd name="T44" fmla="*/ 2 w 1209"/>
                <a:gd name="T45" fmla="*/ 1 h 524"/>
                <a:gd name="T46" fmla="*/ 1 w 1209"/>
                <a:gd name="T47" fmla="*/ 2 h 524"/>
                <a:gd name="T48" fmla="*/ 0 w 1209"/>
                <a:gd name="T49" fmla="*/ 3 h 524"/>
                <a:gd name="T50" fmla="*/ 0 w 1209"/>
                <a:gd name="T51" fmla="*/ 4 h 524"/>
                <a:gd name="T52" fmla="*/ 0 w 1209"/>
                <a:gd name="T53" fmla="*/ 26 h 524"/>
                <a:gd name="T54" fmla="*/ 0 w 1209"/>
                <a:gd name="T55" fmla="*/ 27 h 524"/>
                <a:gd name="T56" fmla="*/ 1 w 1209"/>
                <a:gd name="T57" fmla="*/ 28 h 524"/>
                <a:gd name="T58" fmla="*/ 1 w 1209"/>
                <a:gd name="T59" fmla="*/ 29 h 524"/>
                <a:gd name="T60" fmla="*/ 2 w 1209"/>
                <a:gd name="T61" fmla="*/ 29 h 524"/>
                <a:gd name="T62" fmla="*/ 3 w 1209"/>
                <a:gd name="T63" fmla="*/ 30 h 524"/>
                <a:gd name="T64" fmla="*/ 5 w 1209"/>
                <a:gd name="T65" fmla="*/ 30 h 524"/>
                <a:gd name="T66" fmla="*/ 6 w 1209"/>
                <a:gd name="T67" fmla="*/ 30 h 524"/>
                <a:gd name="T68" fmla="*/ 8 w 1209"/>
                <a:gd name="T69" fmla="*/ 30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524"/>
                <a:gd name="T107" fmla="*/ 1209 w 1209"/>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524">
                  <a:moveTo>
                    <a:pt x="68" y="524"/>
                  </a:moveTo>
                  <a:lnTo>
                    <a:pt x="1142" y="524"/>
                  </a:lnTo>
                  <a:lnTo>
                    <a:pt x="1148" y="523"/>
                  </a:lnTo>
                  <a:lnTo>
                    <a:pt x="1155" y="522"/>
                  </a:lnTo>
                  <a:lnTo>
                    <a:pt x="1162" y="521"/>
                  </a:lnTo>
                  <a:lnTo>
                    <a:pt x="1168" y="519"/>
                  </a:lnTo>
                  <a:lnTo>
                    <a:pt x="1174" y="515"/>
                  </a:lnTo>
                  <a:lnTo>
                    <a:pt x="1180" y="512"/>
                  </a:lnTo>
                  <a:lnTo>
                    <a:pt x="1184" y="509"/>
                  </a:lnTo>
                  <a:lnTo>
                    <a:pt x="1189" y="504"/>
                  </a:lnTo>
                  <a:lnTo>
                    <a:pt x="1194" y="500"/>
                  </a:lnTo>
                  <a:lnTo>
                    <a:pt x="1198" y="494"/>
                  </a:lnTo>
                  <a:lnTo>
                    <a:pt x="1201" y="488"/>
                  </a:lnTo>
                  <a:lnTo>
                    <a:pt x="1204" y="483"/>
                  </a:lnTo>
                  <a:lnTo>
                    <a:pt x="1206" y="476"/>
                  </a:lnTo>
                  <a:lnTo>
                    <a:pt x="1208" y="470"/>
                  </a:lnTo>
                  <a:lnTo>
                    <a:pt x="1209" y="463"/>
                  </a:lnTo>
                  <a:lnTo>
                    <a:pt x="1209" y="457"/>
                  </a:lnTo>
                  <a:lnTo>
                    <a:pt x="1209" y="68"/>
                  </a:lnTo>
                  <a:lnTo>
                    <a:pt x="1209" y="61"/>
                  </a:lnTo>
                  <a:lnTo>
                    <a:pt x="1208" y="54"/>
                  </a:lnTo>
                  <a:lnTo>
                    <a:pt x="1206" y="47"/>
                  </a:lnTo>
                  <a:lnTo>
                    <a:pt x="1204" y="42"/>
                  </a:lnTo>
                  <a:lnTo>
                    <a:pt x="1201" y="35"/>
                  </a:lnTo>
                  <a:lnTo>
                    <a:pt x="1198" y="30"/>
                  </a:lnTo>
                  <a:lnTo>
                    <a:pt x="1194" y="25"/>
                  </a:lnTo>
                  <a:lnTo>
                    <a:pt x="1189" y="20"/>
                  </a:lnTo>
                  <a:lnTo>
                    <a:pt x="1184" y="16"/>
                  </a:lnTo>
                  <a:lnTo>
                    <a:pt x="1180" y="11"/>
                  </a:lnTo>
                  <a:lnTo>
                    <a:pt x="1174" y="8"/>
                  </a:lnTo>
                  <a:lnTo>
                    <a:pt x="1168" y="6"/>
                  </a:lnTo>
                  <a:lnTo>
                    <a:pt x="1162" y="3"/>
                  </a:lnTo>
                  <a:lnTo>
                    <a:pt x="1155" y="1"/>
                  </a:lnTo>
                  <a:lnTo>
                    <a:pt x="1148" y="0"/>
                  </a:lnTo>
                  <a:lnTo>
                    <a:pt x="1142" y="0"/>
                  </a:lnTo>
                  <a:lnTo>
                    <a:pt x="68" y="0"/>
                  </a:lnTo>
                  <a:lnTo>
                    <a:pt x="60" y="0"/>
                  </a:lnTo>
                  <a:lnTo>
                    <a:pt x="53" y="1"/>
                  </a:lnTo>
                  <a:lnTo>
                    <a:pt x="48" y="3"/>
                  </a:lnTo>
                  <a:lnTo>
                    <a:pt x="41" y="6"/>
                  </a:lnTo>
                  <a:lnTo>
                    <a:pt x="35" y="8"/>
                  </a:lnTo>
                  <a:lnTo>
                    <a:pt x="29" y="11"/>
                  </a:lnTo>
                  <a:lnTo>
                    <a:pt x="24" y="16"/>
                  </a:lnTo>
                  <a:lnTo>
                    <a:pt x="19" y="20"/>
                  </a:lnTo>
                  <a:lnTo>
                    <a:pt x="15" y="25"/>
                  </a:lnTo>
                  <a:lnTo>
                    <a:pt x="11" y="30"/>
                  </a:lnTo>
                  <a:lnTo>
                    <a:pt x="8" y="35"/>
                  </a:lnTo>
                  <a:lnTo>
                    <a:pt x="5" y="42"/>
                  </a:lnTo>
                  <a:lnTo>
                    <a:pt x="2" y="47"/>
                  </a:lnTo>
                  <a:lnTo>
                    <a:pt x="1" y="54"/>
                  </a:lnTo>
                  <a:lnTo>
                    <a:pt x="0" y="61"/>
                  </a:lnTo>
                  <a:lnTo>
                    <a:pt x="0" y="68"/>
                  </a:lnTo>
                  <a:lnTo>
                    <a:pt x="0" y="457"/>
                  </a:lnTo>
                  <a:lnTo>
                    <a:pt x="0" y="463"/>
                  </a:lnTo>
                  <a:lnTo>
                    <a:pt x="1" y="470"/>
                  </a:lnTo>
                  <a:lnTo>
                    <a:pt x="2" y="476"/>
                  </a:lnTo>
                  <a:lnTo>
                    <a:pt x="5" y="483"/>
                  </a:lnTo>
                  <a:lnTo>
                    <a:pt x="8" y="488"/>
                  </a:lnTo>
                  <a:lnTo>
                    <a:pt x="11" y="494"/>
                  </a:lnTo>
                  <a:lnTo>
                    <a:pt x="15" y="500"/>
                  </a:lnTo>
                  <a:lnTo>
                    <a:pt x="19" y="504"/>
                  </a:lnTo>
                  <a:lnTo>
                    <a:pt x="24" y="509"/>
                  </a:lnTo>
                  <a:lnTo>
                    <a:pt x="29" y="512"/>
                  </a:lnTo>
                  <a:lnTo>
                    <a:pt x="35" y="515"/>
                  </a:lnTo>
                  <a:lnTo>
                    <a:pt x="41" y="519"/>
                  </a:lnTo>
                  <a:lnTo>
                    <a:pt x="48" y="521"/>
                  </a:lnTo>
                  <a:lnTo>
                    <a:pt x="53" y="522"/>
                  </a:lnTo>
                  <a:lnTo>
                    <a:pt x="60" y="523"/>
                  </a:lnTo>
                  <a:lnTo>
                    <a:pt x="68" y="52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63" name="Rectangle 1024"/>
            <p:cNvSpPr>
              <a:spLocks noChangeArrowheads="1"/>
            </p:cNvSpPr>
            <p:nvPr/>
          </p:nvSpPr>
          <p:spPr bwMode="auto">
            <a:xfrm>
              <a:off x="1065" y="3967"/>
              <a:ext cx="26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Meter </a:t>
              </a:r>
              <a:endParaRPr lang="en-US" sz="1800" b="0" kern="0" baseline="0">
                <a:solidFill>
                  <a:sysClr val="windowText" lastClr="000000"/>
                </a:solidFill>
                <a:latin typeface="Arial" charset="0"/>
                <a:ea typeface="ＭＳ Ｐゴシック"/>
                <a:cs typeface="ＭＳ Ｐゴシック"/>
              </a:endParaRPr>
            </a:p>
          </p:txBody>
        </p:sp>
        <p:sp>
          <p:nvSpPr>
            <p:cNvPr id="464" name="Rectangle 1025"/>
            <p:cNvSpPr>
              <a:spLocks noChangeArrowheads="1"/>
            </p:cNvSpPr>
            <p:nvPr/>
          </p:nvSpPr>
          <p:spPr bwMode="auto">
            <a:xfrm>
              <a:off x="1134" y="4002"/>
              <a:ext cx="120"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ssets</a:t>
              </a:r>
              <a:endParaRPr lang="en-US" sz="1800" b="0" kern="0" baseline="0">
                <a:solidFill>
                  <a:sysClr val="windowText" lastClr="000000"/>
                </a:solidFill>
                <a:latin typeface="Arial" charset="0"/>
                <a:ea typeface="ＭＳ Ｐゴシック"/>
                <a:cs typeface="ＭＳ Ｐゴシック"/>
              </a:endParaRPr>
            </a:p>
          </p:txBody>
        </p:sp>
        <p:sp>
          <p:nvSpPr>
            <p:cNvPr id="465" name="Freeform 1026"/>
            <p:cNvSpPr>
              <a:spLocks/>
            </p:cNvSpPr>
            <p:nvPr/>
          </p:nvSpPr>
          <p:spPr bwMode="auto">
            <a:xfrm>
              <a:off x="1435" y="3800"/>
              <a:ext cx="403" cy="127"/>
            </a:xfrm>
            <a:custGeom>
              <a:avLst/>
              <a:gdLst>
                <a:gd name="T0" fmla="*/ 127 w 1209"/>
                <a:gd name="T1" fmla="*/ 31 h 524"/>
                <a:gd name="T2" fmla="*/ 128 w 1209"/>
                <a:gd name="T3" fmla="*/ 31 h 524"/>
                <a:gd name="T4" fmla="*/ 130 w 1209"/>
                <a:gd name="T5" fmla="*/ 31 h 524"/>
                <a:gd name="T6" fmla="*/ 131 w 1209"/>
                <a:gd name="T7" fmla="*/ 30 h 524"/>
                <a:gd name="T8" fmla="*/ 132 w 1209"/>
                <a:gd name="T9" fmla="*/ 30 h 524"/>
                <a:gd name="T10" fmla="*/ 133 w 1209"/>
                <a:gd name="T11" fmla="*/ 29 h 524"/>
                <a:gd name="T12" fmla="*/ 134 w 1209"/>
                <a:gd name="T13" fmla="*/ 28 h 524"/>
                <a:gd name="T14" fmla="*/ 134 w 1209"/>
                <a:gd name="T15" fmla="*/ 28 h 524"/>
                <a:gd name="T16" fmla="*/ 134 w 1209"/>
                <a:gd name="T17" fmla="*/ 27 h 524"/>
                <a:gd name="T18" fmla="*/ 134 w 1209"/>
                <a:gd name="T19" fmla="*/ 4 h 524"/>
                <a:gd name="T20" fmla="*/ 134 w 1209"/>
                <a:gd name="T21" fmla="*/ 3 h 524"/>
                <a:gd name="T22" fmla="*/ 134 w 1209"/>
                <a:gd name="T23" fmla="*/ 2 h 524"/>
                <a:gd name="T24" fmla="*/ 133 w 1209"/>
                <a:gd name="T25" fmla="*/ 2 h 524"/>
                <a:gd name="T26" fmla="*/ 132 w 1209"/>
                <a:gd name="T27" fmla="*/ 1 h 524"/>
                <a:gd name="T28" fmla="*/ 131 w 1209"/>
                <a:gd name="T29" fmla="*/ 1 h 524"/>
                <a:gd name="T30" fmla="*/ 130 w 1209"/>
                <a:gd name="T31" fmla="*/ 0 h 524"/>
                <a:gd name="T32" fmla="*/ 128 w 1209"/>
                <a:gd name="T33" fmla="*/ 0 h 524"/>
                <a:gd name="T34" fmla="*/ 127 w 1209"/>
                <a:gd name="T35" fmla="*/ 0 h 524"/>
                <a:gd name="T36" fmla="*/ 7 w 1209"/>
                <a:gd name="T37" fmla="*/ 0 h 524"/>
                <a:gd name="T38" fmla="*/ 5 w 1209"/>
                <a:gd name="T39" fmla="*/ 0 h 524"/>
                <a:gd name="T40" fmla="*/ 4 w 1209"/>
                <a:gd name="T41" fmla="*/ 0 h 524"/>
                <a:gd name="T42" fmla="*/ 3 w 1209"/>
                <a:gd name="T43" fmla="*/ 1 h 524"/>
                <a:gd name="T44" fmla="*/ 2 w 1209"/>
                <a:gd name="T45" fmla="*/ 1 h 524"/>
                <a:gd name="T46" fmla="*/ 1 w 1209"/>
                <a:gd name="T47" fmla="*/ 2 h 524"/>
                <a:gd name="T48" fmla="*/ 0 w 1209"/>
                <a:gd name="T49" fmla="*/ 3 h 524"/>
                <a:gd name="T50" fmla="*/ 0 w 1209"/>
                <a:gd name="T51" fmla="*/ 4 h 524"/>
                <a:gd name="T52" fmla="*/ 0 w 1209"/>
                <a:gd name="T53" fmla="*/ 27 h 524"/>
                <a:gd name="T54" fmla="*/ 0 w 1209"/>
                <a:gd name="T55" fmla="*/ 28 h 524"/>
                <a:gd name="T56" fmla="*/ 0 w 1209"/>
                <a:gd name="T57" fmla="*/ 28 h 524"/>
                <a:gd name="T58" fmla="*/ 1 w 1209"/>
                <a:gd name="T59" fmla="*/ 29 h 524"/>
                <a:gd name="T60" fmla="*/ 2 w 1209"/>
                <a:gd name="T61" fmla="*/ 30 h 524"/>
                <a:gd name="T62" fmla="*/ 3 w 1209"/>
                <a:gd name="T63" fmla="*/ 30 h 524"/>
                <a:gd name="T64" fmla="*/ 4 w 1209"/>
                <a:gd name="T65" fmla="*/ 31 h 524"/>
                <a:gd name="T66" fmla="*/ 6 w 1209"/>
                <a:gd name="T67" fmla="*/ 31 h 524"/>
                <a:gd name="T68" fmla="*/ 8 w 1209"/>
                <a:gd name="T69" fmla="*/ 31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524"/>
                <a:gd name="T107" fmla="*/ 1209 w 1209"/>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524">
                  <a:moveTo>
                    <a:pt x="68" y="524"/>
                  </a:moveTo>
                  <a:lnTo>
                    <a:pt x="1141" y="524"/>
                  </a:lnTo>
                  <a:lnTo>
                    <a:pt x="1148" y="524"/>
                  </a:lnTo>
                  <a:lnTo>
                    <a:pt x="1155" y="523"/>
                  </a:lnTo>
                  <a:lnTo>
                    <a:pt x="1162" y="520"/>
                  </a:lnTo>
                  <a:lnTo>
                    <a:pt x="1167" y="518"/>
                  </a:lnTo>
                  <a:lnTo>
                    <a:pt x="1174" y="516"/>
                  </a:lnTo>
                  <a:lnTo>
                    <a:pt x="1180" y="512"/>
                  </a:lnTo>
                  <a:lnTo>
                    <a:pt x="1184" y="508"/>
                  </a:lnTo>
                  <a:lnTo>
                    <a:pt x="1189" y="503"/>
                  </a:lnTo>
                  <a:lnTo>
                    <a:pt x="1193" y="499"/>
                  </a:lnTo>
                  <a:lnTo>
                    <a:pt x="1198" y="494"/>
                  </a:lnTo>
                  <a:lnTo>
                    <a:pt x="1201" y="489"/>
                  </a:lnTo>
                  <a:lnTo>
                    <a:pt x="1203" y="482"/>
                  </a:lnTo>
                  <a:lnTo>
                    <a:pt x="1206" y="476"/>
                  </a:lnTo>
                  <a:lnTo>
                    <a:pt x="1208" y="469"/>
                  </a:lnTo>
                  <a:lnTo>
                    <a:pt x="1209" y="463"/>
                  </a:lnTo>
                  <a:lnTo>
                    <a:pt x="1209" y="456"/>
                  </a:lnTo>
                  <a:lnTo>
                    <a:pt x="1209" y="68"/>
                  </a:lnTo>
                  <a:lnTo>
                    <a:pt x="1209" y="60"/>
                  </a:lnTo>
                  <a:lnTo>
                    <a:pt x="1208" y="53"/>
                  </a:lnTo>
                  <a:lnTo>
                    <a:pt x="1206" y="48"/>
                  </a:lnTo>
                  <a:lnTo>
                    <a:pt x="1203" y="41"/>
                  </a:lnTo>
                  <a:lnTo>
                    <a:pt x="1201" y="35"/>
                  </a:lnTo>
                  <a:lnTo>
                    <a:pt x="1198" y="30"/>
                  </a:lnTo>
                  <a:lnTo>
                    <a:pt x="1193" y="24"/>
                  </a:lnTo>
                  <a:lnTo>
                    <a:pt x="1189" y="20"/>
                  </a:lnTo>
                  <a:lnTo>
                    <a:pt x="1184" y="15"/>
                  </a:lnTo>
                  <a:lnTo>
                    <a:pt x="1180" y="12"/>
                  </a:lnTo>
                  <a:lnTo>
                    <a:pt x="1174" y="8"/>
                  </a:lnTo>
                  <a:lnTo>
                    <a:pt x="1167" y="5"/>
                  </a:lnTo>
                  <a:lnTo>
                    <a:pt x="1162" y="3"/>
                  </a:lnTo>
                  <a:lnTo>
                    <a:pt x="1155" y="1"/>
                  </a:lnTo>
                  <a:lnTo>
                    <a:pt x="1148" y="0"/>
                  </a:lnTo>
                  <a:lnTo>
                    <a:pt x="1141" y="0"/>
                  </a:lnTo>
                  <a:lnTo>
                    <a:pt x="68" y="0"/>
                  </a:lnTo>
                  <a:lnTo>
                    <a:pt x="60" y="0"/>
                  </a:lnTo>
                  <a:lnTo>
                    <a:pt x="53" y="1"/>
                  </a:lnTo>
                  <a:lnTo>
                    <a:pt x="47" y="3"/>
                  </a:lnTo>
                  <a:lnTo>
                    <a:pt x="40" y="5"/>
                  </a:lnTo>
                  <a:lnTo>
                    <a:pt x="35" y="8"/>
                  </a:lnTo>
                  <a:lnTo>
                    <a:pt x="29" y="12"/>
                  </a:lnTo>
                  <a:lnTo>
                    <a:pt x="23" y="15"/>
                  </a:lnTo>
                  <a:lnTo>
                    <a:pt x="19" y="20"/>
                  </a:lnTo>
                  <a:lnTo>
                    <a:pt x="14" y="24"/>
                  </a:lnTo>
                  <a:lnTo>
                    <a:pt x="11" y="30"/>
                  </a:lnTo>
                  <a:lnTo>
                    <a:pt x="8" y="35"/>
                  </a:lnTo>
                  <a:lnTo>
                    <a:pt x="4" y="41"/>
                  </a:lnTo>
                  <a:lnTo>
                    <a:pt x="2" y="48"/>
                  </a:lnTo>
                  <a:lnTo>
                    <a:pt x="1" y="53"/>
                  </a:lnTo>
                  <a:lnTo>
                    <a:pt x="0" y="60"/>
                  </a:lnTo>
                  <a:lnTo>
                    <a:pt x="0" y="68"/>
                  </a:lnTo>
                  <a:lnTo>
                    <a:pt x="0" y="456"/>
                  </a:lnTo>
                  <a:lnTo>
                    <a:pt x="0" y="463"/>
                  </a:lnTo>
                  <a:lnTo>
                    <a:pt x="1" y="469"/>
                  </a:lnTo>
                  <a:lnTo>
                    <a:pt x="2" y="476"/>
                  </a:lnTo>
                  <a:lnTo>
                    <a:pt x="4" y="482"/>
                  </a:lnTo>
                  <a:lnTo>
                    <a:pt x="8" y="489"/>
                  </a:lnTo>
                  <a:lnTo>
                    <a:pt x="11" y="494"/>
                  </a:lnTo>
                  <a:lnTo>
                    <a:pt x="14" y="499"/>
                  </a:lnTo>
                  <a:lnTo>
                    <a:pt x="19" y="503"/>
                  </a:lnTo>
                  <a:lnTo>
                    <a:pt x="23" y="508"/>
                  </a:lnTo>
                  <a:lnTo>
                    <a:pt x="29" y="512"/>
                  </a:lnTo>
                  <a:lnTo>
                    <a:pt x="35" y="516"/>
                  </a:lnTo>
                  <a:lnTo>
                    <a:pt x="40" y="518"/>
                  </a:lnTo>
                  <a:lnTo>
                    <a:pt x="47" y="520"/>
                  </a:lnTo>
                  <a:lnTo>
                    <a:pt x="53" y="523"/>
                  </a:lnTo>
                  <a:lnTo>
                    <a:pt x="60" y="524"/>
                  </a:lnTo>
                  <a:lnTo>
                    <a:pt x="68" y="524"/>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66" name="Freeform 1027"/>
            <p:cNvSpPr>
              <a:spLocks/>
            </p:cNvSpPr>
            <p:nvPr/>
          </p:nvSpPr>
          <p:spPr bwMode="auto">
            <a:xfrm>
              <a:off x="1435" y="3800"/>
              <a:ext cx="403" cy="127"/>
            </a:xfrm>
            <a:custGeom>
              <a:avLst/>
              <a:gdLst>
                <a:gd name="T0" fmla="*/ 127 w 1209"/>
                <a:gd name="T1" fmla="*/ 31 h 524"/>
                <a:gd name="T2" fmla="*/ 128 w 1209"/>
                <a:gd name="T3" fmla="*/ 31 h 524"/>
                <a:gd name="T4" fmla="*/ 130 w 1209"/>
                <a:gd name="T5" fmla="*/ 31 h 524"/>
                <a:gd name="T6" fmla="*/ 131 w 1209"/>
                <a:gd name="T7" fmla="*/ 30 h 524"/>
                <a:gd name="T8" fmla="*/ 132 w 1209"/>
                <a:gd name="T9" fmla="*/ 30 h 524"/>
                <a:gd name="T10" fmla="*/ 133 w 1209"/>
                <a:gd name="T11" fmla="*/ 29 h 524"/>
                <a:gd name="T12" fmla="*/ 134 w 1209"/>
                <a:gd name="T13" fmla="*/ 28 h 524"/>
                <a:gd name="T14" fmla="*/ 134 w 1209"/>
                <a:gd name="T15" fmla="*/ 28 h 524"/>
                <a:gd name="T16" fmla="*/ 134 w 1209"/>
                <a:gd name="T17" fmla="*/ 27 h 524"/>
                <a:gd name="T18" fmla="*/ 134 w 1209"/>
                <a:gd name="T19" fmla="*/ 4 h 524"/>
                <a:gd name="T20" fmla="*/ 134 w 1209"/>
                <a:gd name="T21" fmla="*/ 3 h 524"/>
                <a:gd name="T22" fmla="*/ 134 w 1209"/>
                <a:gd name="T23" fmla="*/ 2 h 524"/>
                <a:gd name="T24" fmla="*/ 133 w 1209"/>
                <a:gd name="T25" fmla="*/ 2 h 524"/>
                <a:gd name="T26" fmla="*/ 132 w 1209"/>
                <a:gd name="T27" fmla="*/ 1 h 524"/>
                <a:gd name="T28" fmla="*/ 131 w 1209"/>
                <a:gd name="T29" fmla="*/ 1 h 524"/>
                <a:gd name="T30" fmla="*/ 130 w 1209"/>
                <a:gd name="T31" fmla="*/ 0 h 524"/>
                <a:gd name="T32" fmla="*/ 128 w 1209"/>
                <a:gd name="T33" fmla="*/ 0 h 524"/>
                <a:gd name="T34" fmla="*/ 127 w 1209"/>
                <a:gd name="T35" fmla="*/ 0 h 524"/>
                <a:gd name="T36" fmla="*/ 7 w 1209"/>
                <a:gd name="T37" fmla="*/ 0 h 524"/>
                <a:gd name="T38" fmla="*/ 5 w 1209"/>
                <a:gd name="T39" fmla="*/ 0 h 524"/>
                <a:gd name="T40" fmla="*/ 4 w 1209"/>
                <a:gd name="T41" fmla="*/ 0 h 524"/>
                <a:gd name="T42" fmla="*/ 3 w 1209"/>
                <a:gd name="T43" fmla="*/ 1 h 524"/>
                <a:gd name="T44" fmla="*/ 2 w 1209"/>
                <a:gd name="T45" fmla="*/ 1 h 524"/>
                <a:gd name="T46" fmla="*/ 1 w 1209"/>
                <a:gd name="T47" fmla="*/ 2 h 524"/>
                <a:gd name="T48" fmla="*/ 0 w 1209"/>
                <a:gd name="T49" fmla="*/ 3 h 524"/>
                <a:gd name="T50" fmla="*/ 0 w 1209"/>
                <a:gd name="T51" fmla="*/ 4 h 524"/>
                <a:gd name="T52" fmla="*/ 0 w 1209"/>
                <a:gd name="T53" fmla="*/ 27 h 524"/>
                <a:gd name="T54" fmla="*/ 0 w 1209"/>
                <a:gd name="T55" fmla="*/ 28 h 524"/>
                <a:gd name="T56" fmla="*/ 0 w 1209"/>
                <a:gd name="T57" fmla="*/ 28 h 524"/>
                <a:gd name="T58" fmla="*/ 1 w 1209"/>
                <a:gd name="T59" fmla="*/ 29 h 524"/>
                <a:gd name="T60" fmla="*/ 2 w 1209"/>
                <a:gd name="T61" fmla="*/ 30 h 524"/>
                <a:gd name="T62" fmla="*/ 3 w 1209"/>
                <a:gd name="T63" fmla="*/ 30 h 524"/>
                <a:gd name="T64" fmla="*/ 4 w 1209"/>
                <a:gd name="T65" fmla="*/ 31 h 524"/>
                <a:gd name="T66" fmla="*/ 6 w 1209"/>
                <a:gd name="T67" fmla="*/ 31 h 524"/>
                <a:gd name="T68" fmla="*/ 8 w 1209"/>
                <a:gd name="T69" fmla="*/ 31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524"/>
                <a:gd name="T107" fmla="*/ 1209 w 1209"/>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524">
                  <a:moveTo>
                    <a:pt x="68" y="524"/>
                  </a:moveTo>
                  <a:lnTo>
                    <a:pt x="1141" y="524"/>
                  </a:lnTo>
                  <a:lnTo>
                    <a:pt x="1148" y="524"/>
                  </a:lnTo>
                  <a:lnTo>
                    <a:pt x="1155" y="523"/>
                  </a:lnTo>
                  <a:lnTo>
                    <a:pt x="1162" y="520"/>
                  </a:lnTo>
                  <a:lnTo>
                    <a:pt x="1167" y="518"/>
                  </a:lnTo>
                  <a:lnTo>
                    <a:pt x="1174" y="516"/>
                  </a:lnTo>
                  <a:lnTo>
                    <a:pt x="1180" y="512"/>
                  </a:lnTo>
                  <a:lnTo>
                    <a:pt x="1184" y="508"/>
                  </a:lnTo>
                  <a:lnTo>
                    <a:pt x="1189" y="503"/>
                  </a:lnTo>
                  <a:lnTo>
                    <a:pt x="1193" y="499"/>
                  </a:lnTo>
                  <a:lnTo>
                    <a:pt x="1198" y="494"/>
                  </a:lnTo>
                  <a:lnTo>
                    <a:pt x="1201" y="489"/>
                  </a:lnTo>
                  <a:lnTo>
                    <a:pt x="1203" y="482"/>
                  </a:lnTo>
                  <a:lnTo>
                    <a:pt x="1206" y="476"/>
                  </a:lnTo>
                  <a:lnTo>
                    <a:pt x="1208" y="469"/>
                  </a:lnTo>
                  <a:lnTo>
                    <a:pt x="1209" y="463"/>
                  </a:lnTo>
                  <a:lnTo>
                    <a:pt x="1209" y="456"/>
                  </a:lnTo>
                  <a:lnTo>
                    <a:pt x="1209" y="68"/>
                  </a:lnTo>
                  <a:lnTo>
                    <a:pt x="1209" y="60"/>
                  </a:lnTo>
                  <a:lnTo>
                    <a:pt x="1208" y="53"/>
                  </a:lnTo>
                  <a:lnTo>
                    <a:pt x="1206" y="48"/>
                  </a:lnTo>
                  <a:lnTo>
                    <a:pt x="1203" y="41"/>
                  </a:lnTo>
                  <a:lnTo>
                    <a:pt x="1201" y="35"/>
                  </a:lnTo>
                  <a:lnTo>
                    <a:pt x="1198" y="30"/>
                  </a:lnTo>
                  <a:lnTo>
                    <a:pt x="1193" y="24"/>
                  </a:lnTo>
                  <a:lnTo>
                    <a:pt x="1189" y="20"/>
                  </a:lnTo>
                  <a:lnTo>
                    <a:pt x="1184" y="15"/>
                  </a:lnTo>
                  <a:lnTo>
                    <a:pt x="1180" y="12"/>
                  </a:lnTo>
                  <a:lnTo>
                    <a:pt x="1174" y="8"/>
                  </a:lnTo>
                  <a:lnTo>
                    <a:pt x="1167" y="5"/>
                  </a:lnTo>
                  <a:lnTo>
                    <a:pt x="1162" y="3"/>
                  </a:lnTo>
                  <a:lnTo>
                    <a:pt x="1155" y="1"/>
                  </a:lnTo>
                  <a:lnTo>
                    <a:pt x="1148" y="0"/>
                  </a:lnTo>
                  <a:lnTo>
                    <a:pt x="1141" y="0"/>
                  </a:lnTo>
                  <a:lnTo>
                    <a:pt x="68" y="0"/>
                  </a:lnTo>
                  <a:lnTo>
                    <a:pt x="60" y="0"/>
                  </a:lnTo>
                  <a:lnTo>
                    <a:pt x="53" y="1"/>
                  </a:lnTo>
                  <a:lnTo>
                    <a:pt x="47" y="3"/>
                  </a:lnTo>
                  <a:lnTo>
                    <a:pt x="40" y="5"/>
                  </a:lnTo>
                  <a:lnTo>
                    <a:pt x="35" y="8"/>
                  </a:lnTo>
                  <a:lnTo>
                    <a:pt x="29" y="12"/>
                  </a:lnTo>
                  <a:lnTo>
                    <a:pt x="23" y="15"/>
                  </a:lnTo>
                  <a:lnTo>
                    <a:pt x="19" y="20"/>
                  </a:lnTo>
                  <a:lnTo>
                    <a:pt x="14" y="24"/>
                  </a:lnTo>
                  <a:lnTo>
                    <a:pt x="11" y="30"/>
                  </a:lnTo>
                  <a:lnTo>
                    <a:pt x="8" y="35"/>
                  </a:lnTo>
                  <a:lnTo>
                    <a:pt x="4" y="41"/>
                  </a:lnTo>
                  <a:lnTo>
                    <a:pt x="2" y="48"/>
                  </a:lnTo>
                  <a:lnTo>
                    <a:pt x="1" y="53"/>
                  </a:lnTo>
                  <a:lnTo>
                    <a:pt x="0" y="60"/>
                  </a:lnTo>
                  <a:lnTo>
                    <a:pt x="0" y="68"/>
                  </a:lnTo>
                  <a:lnTo>
                    <a:pt x="0" y="456"/>
                  </a:lnTo>
                  <a:lnTo>
                    <a:pt x="0" y="463"/>
                  </a:lnTo>
                  <a:lnTo>
                    <a:pt x="1" y="469"/>
                  </a:lnTo>
                  <a:lnTo>
                    <a:pt x="2" y="476"/>
                  </a:lnTo>
                  <a:lnTo>
                    <a:pt x="4" y="482"/>
                  </a:lnTo>
                  <a:lnTo>
                    <a:pt x="8" y="489"/>
                  </a:lnTo>
                  <a:lnTo>
                    <a:pt x="11" y="494"/>
                  </a:lnTo>
                  <a:lnTo>
                    <a:pt x="14" y="499"/>
                  </a:lnTo>
                  <a:lnTo>
                    <a:pt x="19" y="503"/>
                  </a:lnTo>
                  <a:lnTo>
                    <a:pt x="23" y="508"/>
                  </a:lnTo>
                  <a:lnTo>
                    <a:pt x="29" y="512"/>
                  </a:lnTo>
                  <a:lnTo>
                    <a:pt x="35" y="516"/>
                  </a:lnTo>
                  <a:lnTo>
                    <a:pt x="40" y="518"/>
                  </a:lnTo>
                  <a:lnTo>
                    <a:pt x="47" y="520"/>
                  </a:lnTo>
                  <a:lnTo>
                    <a:pt x="53" y="523"/>
                  </a:lnTo>
                  <a:lnTo>
                    <a:pt x="60" y="524"/>
                  </a:lnTo>
                  <a:lnTo>
                    <a:pt x="68" y="52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67" name="Rectangle 1028"/>
            <p:cNvSpPr>
              <a:spLocks noChangeArrowheads="1"/>
            </p:cNvSpPr>
            <p:nvPr/>
          </p:nvSpPr>
          <p:spPr bwMode="auto">
            <a:xfrm>
              <a:off x="1484" y="3829"/>
              <a:ext cx="31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dminister Meter </a:t>
              </a:r>
              <a:endParaRPr lang="en-US" sz="1800" b="0" kern="0" baseline="0">
                <a:solidFill>
                  <a:sysClr val="windowText" lastClr="000000"/>
                </a:solidFill>
                <a:latin typeface="Arial" charset="0"/>
                <a:ea typeface="ＭＳ Ｐゴシック"/>
                <a:cs typeface="ＭＳ Ｐゴシック"/>
              </a:endParaRPr>
            </a:p>
          </p:txBody>
        </p:sp>
        <p:sp>
          <p:nvSpPr>
            <p:cNvPr id="468" name="Rectangle 1029"/>
            <p:cNvSpPr>
              <a:spLocks noChangeArrowheads="1"/>
            </p:cNvSpPr>
            <p:nvPr/>
          </p:nvSpPr>
          <p:spPr bwMode="auto">
            <a:xfrm>
              <a:off x="1590" y="3864"/>
              <a:ext cx="9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oint</a:t>
              </a:r>
              <a:endParaRPr lang="en-US" sz="1800" b="0" kern="0" baseline="0">
                <a:solidFill>
                  <a:sysClr val="windowText" lastClr="000000"/>
                </a:solidFill>
                <a:latin typeface="Arial" charset="0"/>
                <a:ea typeface="ＭＳ Ｐゴシック"/>
                <a:cs typeface="ＭＳ Ｐゴシック"/>
              </a:endParaRPr>
            </a:p>
          </p:txBody>
        </p:sp>
        <p:sp>
          <p:nvSpPr>
            <p:cNvPr id="469" name="Freeform 1030"/>
            <p:cNvSpPr>
              <a:spLocks/>
            </p:cNvSpPr>
            <p:nvPr/>
          </p:nvSpPr>
          <p:spPr bwMode="auto">
            <a:xfrm>
              <a:off x="1439" y="3939"/>
              <a:ext cx="403" cy="126"/>
            </a:xfrm>
            <a:custGeom>
              <a:avLst/>
              <a:gdLst>
                <a:gd name="T0" fmla="*/ 127 w 1209"/>
                <a:gd name="T1" fmla="*/ 30 h 524"/>
                <a:gd name="T2" fmla="*/ 128 w 1209"/>
                <a:gd name="T3" fmla="*/ 30 h 524"/>
                <a:gd name="T4" fmla="*/ 130 w 1209"/>
                <a:gd name="T5" fmla="*/ 30 h 524"/>
                <a:gd name="T6" fmla="*/ 131 w 1209"/>
                <a:gd name="T7" fmla="*/ 30 h 524"/>
                <a:gd name="T8" fmla="*/ 132 w 1209"/>
                <a:gd name="T9" fmla="*/ 29 h 524"/>
                <a:gd name="T10" fmla="*/ 133 w 1209"/>
                <a:gd name="T11" fmla="*/ 29 h 524"/>
                <a:gd name="T12" fmla="*/ 134 w 1209"/>
                <a:gd name="T13" fmla="*/ 28 h 524"/>
                <a:gd name="T14" fmla="*/ 134 w 1209"/>
                <a:gd name="T15" fmla="*/ 27 h 524"/>
                <a:gd name="T16" fmla="*/ 134 w 1209"/>
                <a:gd name="T17" fmla="*/ 26 h 524"/>
                <a:gd name="T18" fmla="*/ 134 w 1209"/>
                <a:gd name="T19" fmla="*/ 4 h 524"/>
                <a:gd name="T20" fmla="*/ 134 w 1209"/>
                <a:gd name="T21" fmla="*/ 3 h 524"/>
                <a:gd name="T22" fmla="*/ 134 w 1209"/>
                <a:gd name="T23" fmla="*/ 2 h 524"/>
                <a:gd name="T24" fmla="*/ 133 w 1209"/>
                <a:gd name="T25" fmla="*/ 2 h 524"/>
                <a:gd name="T26" fmla="*/ 132 w 1209"/>
                <a:gd name="T27" fmla="*/ 1 h 524"/>
                <a:gd name="T28" fmla="*/ 131 w 1209"/>
                <a:gd name="T29" fmla="*/ 1 h 524"/>
                <a:gd name="T30" fmla="*/ 130 w 1209"/>
                <a:gd name="T31" fmla="*/ 0 h 524"/>
                <a:gd name="T32" fmla="*/ 128 w 1209"/>
                <a:gd name="T33" fmla="*/ 0 h 524"/>
                <a:gd name="T34" fmla="*/ 127 w 1209"/>
                <a:gd name="T35" fmla="*/ 0 h 524"/>
                <a:gd name="T36" fmla="*/ 7 w 1209"/>
                <a:gd name="T37" fmla="*/ 0 h 524"/>
                <a:gd name="T38" fmla="*/ 5 w 1209"/>
                <a:gd name="T39" fmla="*/ 0 h 524"/>
                <a:gd name="T40" fmla="*/ 4 w 1209"/>
                <a:gd name="T41" fmla="*/ 0 h 524"/>
                <a:gd name="T42" fmla="*/ 3 w 1209"/>
                <a:gd name="T43" fmla="*/ 1 h 524"/>
                <a:gd name="T44" fmla="*/ 2 w 1209"/>
                <a:gd name="T45" fmla="*/ 1 h 524"/>
                <a:gd name="T46" fmla="*/ 1 w 1209"/>
                <a:gd name="T47" fmla="*/ 2 h 524"/>
                <a:gd name="T48" fmla="*/ 0 w 1209"/>
                <a:gd name="T49" fmla="*/ 3 h 524"/>
                <a:gd name="T50" fmla="*/ 0 w 1209"/>
                <a:gd name="T51" fmla="*/ 4 h 524"/>
                <a:gd name="T52" fmla="*/ 0 w 1209"/>
                <a:gd name="T53" fmla="*/ 26 h 524"/>
                <a:gd name="T54" fmla="*/ 0 w 1209"/>
                <a:gd name="T55" fmla="*/ 27 h 524"/>
                <a:gd name="T56" fmla="*/ 1 w 1209"/>
                <a:gd name="T57" fmla="*/ 28 h 524"/>
                <a:gd name="T58" fmla="*/ 1 w 1209"/>
                <a:gd name="T59" fmla="*/ 29 h 524"/>
                <a:gd name="T60" fmla="*/ 2 w 1209"/>
                <a:gd name="T61" fmla="*/ 29 h 524"/>
                <a:gd name="T62" fmla="*/ 3 w 1209"/>
                <a:gd name="T63" fmla="*/ 30 h 524"/>
                <a:gd name="T64" fmla="*/ 5 w 1209"/>
                <a:gd name="T65" fmla="*/ 30 h 524"/>
                <a:gd name="T66" fmla="*/ 6 w 1209"/>
                <a:gd name="T67" fmla="*/ 30 h 524"/>
                <a:gd name="T68" fmla="*/ 8 w 1209"/>
                <a:gd name="T69" fmla="*/ 30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524"/>
                <a:gd name="T107" fmla="*/ 1209 w 1209"/>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524">
                  <a:moveTo>
                    <a:pt x="68" y="524"/>
                  </a:moveTo>
                  <a:lnTo>
                    <a:pt x="1141" y="524"/>
                  </a:lnTo>
                  <a:lnTo>
                    <a:pt x="1148" y="523"/>
                  </a:lnTo>
                  <a:lnTo>
                    <a:pt x="1155" y="522"/>
                  </a:lnTo>
                  <a:lnTo>
                    <a:pt x="1162" y="521"/>
                  </a:lnTo>
                  <a:lnTo>
                    <a:pt x="1167" y="519"/>
                  </a:lnTo>
                  <a:lnTo>
                    <a:pt x="1174" y="515"/>
                  </a:lnTo>
                  <a:lnTo>
                    <a:pt x="1180" y="512"/>
                  </a:lnTo>
                  <a:lnTo>
                    <a:pt x="1184" y="509"/>
                  </a:lnTo>
                  <a:lnTo>
                    <a:pt x="1189" y="504"/>
                  </a:lnTo>
                  <a:lnTo>
                    <a:pt x="1193" y="500"/>
                  </a:lnTo>
                  <a:lnTo>
                    <a:pt x="1198" y="494"/>
                  </a:lnTo>
                  <a:lnTo>
                    <a:pt x="1201" y="488"/>
                  </a:lnTo>
                  <a:lnTo>
                    <a:pt x="1204" y="483"/>
                  </a:lnTo>
                  <a:lnTo>
                    <a:pt x="1206" y="476"/>
                  </a:lnTo>
                  <a:lnTo>
                    <a:pt x="1208" y="470"/>
                  </a:lnTo>
                  <a:lnTo>
                    <a:pt x="1209" y="463"/>
                  </a:lnTo>
                  <a:lnTo>
                    <a:pt x="1209" y="457"/>
                  </a:lnTo>
                  <a:lnTo>
                    <a:pt x="1209" y="68"/>
                  </a:lnTo>
                  <a:lnTo>
                    <a:pt x="1209" y="61"/>
                  </a:lnTo>
                  <a:lnTo>
                    <a:pt x="1208" y="54"/>
                  </a:lnTo>
                  <a:lnTo>
                    <a:pt x="1206" y="47"/>
                  </a:lnTo>
                  <a:lnTo>
                    <a:pt x="1204" y="42"/>
                  </a:lnTo>
                  <a:lnTo>
                    <a:pt x="1201" y="35"/>
                  </a:lnTo>
                  <a:lnTo>
                    <a:pt x="1198" y="30"/>
                  </a:lnTo>
                  <a:lnTo>
                    <a:pt x="1193" y="25"/>
                  </a:lnTo>
                  <a:lnTo>
                    <a:pt x="1189" y="20"/>
                  </a:lnTo>
                  <a:lnTo>
                    <a:pt x="1184" y="16"/>
                  </a:lnTo>
                  <a:lnTo>
                    <a:pt x="1180" y="11"/>
                  </a:lnTo>
                  <a:lnTo>
                    <a:pt x="1174" y="8"/>
                  </a:lnTo>
                  <a:lnTo>
                    <a:pt x="1167" y="6"/>
                  </a:lnTo>
                  <a:lnTo>
                    <a:pt x="1162" y="3"/>
                  </a:lnTo>
                  <a:lnTo>
                    <a:pt x="1155" y="1"/>
                  </a:lnTo>
                  <a:lnTo>
                    <a:pt x="1148" y="0"/>
                  </a:lnTo>
                  <a:lnTo>
                    <a:pt x="1141" y="0"/>
                  </a:lnTo>
                  <a:lnTo>
                    <a:pt x="68" y="0"/>
                  </a:lnTo>
                  <a:lnTo>
                    <a:pt x="60" y="0"/>
                  </a:lnTo>
                  <a:lnTo>
                    <a:pt x="53" y="1"/>
                  </a:lnTo>
                  <a:lnTo>
                    <a:pt x="48" y="3"/>
                  </a:lnTo>
                  <a:lnTo>
                    <a:pt x="41" y="6"/>
                  </a:lnTo>
                  <a:lnTo>
                    <a:pt x="35" y="8"/>
                  </a:lnTo>
                  <a:lnTo>
                    <a:pt x="29" y="11"/>
                  </a:lnTo>
                  <a:lnTo>
                    <a:pt x="24" y="16"/>
                  </a:lnTo>
                  <a:lnTo>
                    <a:pt x="19" y="20"/>
                  </a:lnTo>
                  <a:lnTo>
                    <a:pt x="15" y="25"/>
                  </a:lnTo>
                  <a:lnTo>
                    <a:pt x="11" y="30"/>
                  </a:lnTo>
                  <a:lnTo>
                    <a:pt x="8" y="35"/>
                  </a:lnTo>
                  <a:lnTo>
                    <a:pt x="5" y="42"/>
                  </a:lnTo>
                  <a:lnTo>
                    <a:pt x="2" y="47"/>
                  </a:lnTo>
                  <a:lnTo>
                    <a:pt x="1" y="54"/>
                  </a:lnTo>
                  <a:lnTo>
                    <a:pt x="0" y="61"/>
                  </a:lnTo>
                  <a:lnTo>
                    <a:pt x="0" y="68"/>
                  </a:lnTo>
                  <a:lnTo>
                    <a:pt x="0" y="457"/>
                  </a:lnTo>
                  <a:lnTo>
                    <a:pt x="0" y="463"/>
                  </a:lnTo>
                  <a:lnTo>
                    <a:pt x="1" y="470"/>
                  </a:lnTo>
                  <a:lnTo>
                    <a:pt x="2" y="476"/>
                  </a:lnTo>
                  <a:lnTo>
                    <a:pt x="5" y="483"/>
                  </a:lnTo>
                  <a:lnTo>
                    <a:pt x="8" y="488"/>
                  </a:lnTo>
                  <a:lnTo>
                    <a:pt x="11" y="494"/>
                  </a:lnTo>
                  <a:lnTo>
                    <a:pt x="15" y="500"/>
                  </a:lnTo>
                  <a:lnTo>
                    <a:pt x="19" y="504"/>
                  </a:lnTo>
                  <a:lnTo>
                    <a:pt x="24" y="509"/>
                  </a:lnTo>
                  <a:lnTo>
                    <a:pt x="29" y="512"/>
                  </a:lnTo>
                  <a:lnTo>
                    <a:pt x="35" y="515"/>
                  </a:lnTo>
                  <a:lnTo>
                    <a:pt x="41" y="519"/>
                  </a:lnTo>
                  <a:lnTo>
                    <a:pt x="48" y="521"/>
                  </a:lnTo>
                  <a:lnTo>
                    <a:pt x="53" y="522"/>
                  </a:lnTo>
                  <a:lnTo>
                    <a:pt x="60" y="523"/>
                  </a:lnTo>
                  <a:lnTo>
                    <a:pt x="68" y="524"/>
                  </a:lnTo>
                  <a:close/>
                </a:path>
              </a:pathLst>
            </a:custGeom>
            <a:solidFill>
              <a:srgbClr val="FFFFFF"/>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70" name="Freeform 1031"/>
            <p:cNvSpPr>
              <a:spLocks/>
            </p:cNvSpPr>
            <p:nvPr/>
          </p:nvSpPr>
          <p:spPr bwMode="auto">
            <a:xfrm>
              <a:off x="1439" y="3939"/>
              <a:ext cx="403" cy="126"/>
            </a:xfrm>
            <a:custGeom>
              <a:avLst/>
              <a:gdLst>
                <a:gd name="T0" fmla="*/ 127 w 1209"/>
                <a:gd name="T1" fmla="*/ 30 h 524"/>
                <a:gd name="T2" fmla="*/ 128 w 1209"/>
                <a:gd name="T3" fmla="*/ 30 h 524"/>
                <a:gd name="T4" fmla="*/ 130 w 1209"/>
                <a:gd name="T5" fmla="*/ 30 h 524"/>
                <a:gd name="T6" fmla="*/ 131 w 1209"/>
                <a:gd name="T7" fmla="*/ 30 h 524"/>
                <a:gd name="T8" fmla="*/ 132 w 1209"/>
                <a:gd name="T9" fmla="*/ 29 h 524"/>
                <a:gd name="T10" fmla="*/ 133 w 1209"/>
                <a:gd name="T11" fmla="*/ 29 h 524"/>
                <a:gd name="T12" fmla="*/ 134 w 1209"/>
                <a:gd name="T13" fmla="*/ 28 h 524"/>
                <a:gd name="T14" fmla="*/ 134 w 1209"/>
                <a:gd name="T15" fmla="*/ 27 h 524"/>
                <a:gd name="T16" fmla="*/ 134 w 1209"/>
                <a:gd name="T17" fmla="*/ 26 h 524"/>
                <a:gd name="T18" fmla="*/ 134 w 1209"/>
                <a:gd name="T19" fmla="*/ 4 h 524"/>
                <a:gd name="T20" fmla="*/ 134 w 1209"/>
                <a:gd name="T21" fmla="*/ 3 h 524"/>
                <a:gd name="T22" fmla="*/ 134 w 1209"/>
                <a:gd name="T23" fmla="*/ 2 h 524"/>
                <a:gd name="T24" fmla="*/ 133 w 1209"/>
                <a:gd name="T25" fmla="*/ 2 h 524"/>
                <a:gd name="T26" fmla="*/ 132 w 1209"/>
                <a:gd name="T27" fmla="*/ 1 h 524"/>
                <a:gd name="T28" fmla="*/ 131 w 1209"/>
                <a:gd name="T29" fmla="*/ 1 h 524"/>
                <a:gd name="T30" fmla="*/ 130 w 1209"/>
                <a:gd name="T31" fmla="*/ 0 h 524"/>
                <a:gd name="T32" fmla="*/ 128 w 1209"/>
                <a:gd name="T33" fmla="*/ 0 h 524"/>
                <a:gd name="T34" fmla="*/ 127 w 1209"/>
                <a:gd name="T35" fmla="*/ 0 h 524"/>
                <a:gd name="T36" fmla="*/ 7 w 1209"/>
                <a:gd name="T37" fmla="*/ 0 h 524"/>
                <a:gd name="T38" fmla="*/ 5 w 1209"/>
                <a:gd name="T39" fmla="*/ 0 h 524"/>
                <a:gd name="T40" fmla="*/ 4 w 1209"/>
                <a:gd name="T41" fmla="*/ 0 h 524"/>
                <a:gd name="T42" fmla="*/ 3 w 1209"/>
                <a:gd name="T43" fmla="*/ 1 h 524"/>
                <a:gd name="T44" fmla="*/ 2 w 1209"/>
                <a:gd name="T45" fmla="*/ 1 h 524"/>
                <a:gd name="T46" fmla="*/ 1 w 1209"/>
                <a:gd name="T47" fmla="*/ 2 h 524"/>
                <a:gd name="T48" fmla="*/ 0 w 1209"/>
                <a:gd name="T49" fmla="*/ 3 h 524"/>
                <a:gd name="T50" fmla="*/ 0 w 1209"/>
                <a:gd name="T51" fmla="*/ 4 h 524"/>
                <a:gd name="T52" fmla="*/ 0 w 1209"/>
                <a:gd name="T53" fmla="*/ 26 h 524"/>
                <a:gd name="T54" fmla="*/ 0 w 1209"/>
                <a:gd name="T55" fmla="*/ 27 h 524"/>
                <a:gd name="T56" fmla="*/ 1 w 1209"/>
                <a:gd name="T57" fmla="*/ 28 h 524"/>
                <a:gd name="T58" fmla="*/ 1 w 1209"/>
                <a:gd name="T59" fmla="*/ 29 h 524"/>
                <a:gd name="T60" fmla="*/ 2 w 1209"/>
                <a:gd name="T61" fmla="*/ 29 h 524"/>
                <a:gd name="T62" fmla="*/ 3 w 1209"/>
                <a:gd name="T63" fmla="*/ 30 h 524"/>
                <a:gd name="T64" fmla="*/ 5 w 1209"/>
                <a:gd name="T65" fmla="*/ 30 h 524"/>
                <a:gd name="T66" fmla="*/ 6 w 1209"/>
                <a:gd name="T67" fmla="*/ 30 h 524"/>
                <a:gd name="T68" fmla="*/ 8 w 1209"/>
                <a:gd name="T69" fmla="*/ 30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524"/>
                <a:gd name="T107" fmla="*/ 1209 w 1209"/>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524">
                  <a:moveTo>
                    <a:pt x="68" y="524"/>
                  </a:moveTo>
                  <a:lnTo>
                    <a:pt x="1141" y="524"/>
                  </a:lnTo>
                  <a:lnTo>
                    <a:pt x="1148" y="523"/>
                  </a:lnTo>
                  <a:lnTo>
                    <a:pt x="1155" y="522"/>
                  </a:lnTo>
                  <a:lnTo>
                    <a:pt x="1162" y="521"/>
                  </a:lnTo>
                  <a:lnTo>
                    <a:pt x="1167" y="519"/>
                  </a:lnTo>
                  <a:lnTo>
                    <a:pt x="1174" y="515"/>
                  </a:lnTo>
                  <a:lnTo>
                    <a:pt x="1180" y="512"/>
                  </a:lnTo>
                  <a:lnTo>
                    <a:pt x="1184" y="509"/>
                  </a:lnTo>
                  <a:lnTo>
                    <a:pt x="1189" y="504"/>
                  </a:lnTo>
                  <a:lnTo>
                    <a:pt x="1193" y="500"/>
                  </a:lnTo>
                  <a:lnTo>
                    <a:pt x="1198" y="494"/>
                  </a:lnTo>
                  <a:lnTo>
                    <a:pt x="1201" y="488"/>
                  </a:lnTo>
                  <a:lnTo>
                    <a:pt x="1204" y="483"/>
                  </a:lnTo>
                  <a:lnTo>
                    <a:pt x="1206" y="476"/>
                  </a:lnTo>
                  <a:lnTo>
                    <a:pt x="1208" y="470"/>
                  </a:lnTo>
                  <a:lnTo>
                    <a:pt x="1209" y="463"/>
                  </a:lnTo>
                  <a:lnTo>
                    <a:pt x="1209" y="457"/>
                  </a:lnTo>
                  <a:lnTo>
                    <a:pt x="1209" y="68"/>
                  </a:lnTo>
                  <a:lnTo>
                    <a:pt x="1209" y="61"/>
                  </a:lnTo>
                  <a:lnTo>
                    <a:pt x="1208" y="54"/>
                  </a:lnTo>
                  <a:lnTo>
                    <a:pt x="1206" y="47"/>
                  </a:lnTo>
                  <a:lnTo>
                    <a:pt x="1204" y="42"/>
                  </a:lnTo>
                  <a:lnTo>
                    <a:pt x="1201" y="35"/>
                  </a:lnTo>
                  <a:lnTo>
                    <a:pt x="1198" y="30"/>
                  </a:lnTo>
                  <a:lnTo>
                    <a:pt x="1193" y="25"/>
                  </a:lnTo>
                  <a:lnTo>
                    <a:pt x="1189" y="20"/>
                  </a:lnTo>
                  <a:lnTo>
                    <a:pt x="1184" y="16"/>
                  </a:lnTo>
                  <a:lnTo>
                    <a:pt x="1180" y="11"/>
                  </a:lnTo>
                  <a:lnTo>
                    <a:pt x="1174" y="8"/>
                  </a:lnTo>
                  <a:lnTo>
                    <a:pt x="1167" y="6"/>
                  </a:lnTo>
                  <a:lnTo>
                    <a:pt x="1162" y="3"/>
                  </a:lnTo>
                  <a:lnTo>
                    <a:pt x="1155" y="1"/>
                  </a:lnTo>
                  <a:lnTo>
                    <a:pt x="1148" y="0"/>
                  </a:lnTo>
                  <a:lnTo>
                    <a:pt x="1141" y="0"/>
                  </a:lnTo>
                  <a:lnTo>
                    <a:pt x="68" y="0"/>
                  </a:lnTo>
                  <a:lnTo>
                    <a:pt x="60" y="0"/>
                  </a:lnTo>
                  <a:lnTo>
                    <a:pt x="53" y="1"/>
                  </a:lnTo>
                  <a:lnTo>
                    <a:pt x="48" y="3"/>
                  </a:lnTo>
                  <a:lnTo>
                    <a:pt x="41" y="6"/>
                  </a:lnTo>
                  <a:lnTo>
                    <a:pt x="35" y="8"/>
                  </a:lnTo>
                  <a:lnTo>
                    <a:pt x="29" y="11"/>
                  </a:lnTo>
                  <a:lnTo>
                    <a:pt x="24" y="16"/>
                  </a:lnTo>
                  <a:lnTo>
                    <a:pt x="19" y="20"/>
                  </a:lnTo>
                  <a:lnTo>
                    <a:pt x="15" y="25"/>
                  </a:lnTo>
                  <a:lnTo>
                    <a:pt x="11" y="30"/>
                  </a:lnTo>
                  <a:lnTo>
                    <a:pt x="8" y="35"/>
                  </a:lnTo>
                  <a:lnTo>
                    <a:pt x="5" y="42"/>
                  </a:lnTo>
                  <a:lnTo>
                    <a:pt x="2" y="47"/>
                  </a:lnTo>
                  <a:lnTo>
                    <a:pt x="1" y="54"/>
                  </a:lnTo>
                  <a:lnTo>
                    <a:pt x="0" y="61"/>
                  </a:lnTo>
                  <a:lnTo>
                    <a:pt x="0" y="68"/>
                  </a:lnTo>
                  <a:lnTo>
                    <a:pt x="0" y="457"/>
                  </a:lnTo>
                  <a:lnTo>
                    <a:pt x="0" y="463"/>
                  </a:lnTo>
                  <a:lnTo>
                    <a:pt x="1" y="470"/>
                  </a:lnTo>
                  <a:lnTo>
                    <a:pt x="2" y="476"/>
                  </a:lnTo>
                  <a:lnTo>
                    <a:pt x="5" y="483"/>
                  </a:lnTo>
                  <a:lnTo>
                    <a:pt x="8" y="488"/>
                  </a:lnTo>
                  <a:lnTo>
                    <a:pt x="11" y="494"/>
                  </a:lnTo>
                  <a:lnTo>
                    <a:pt x="15" y="500"/>
                  </a:lnTo>
                  <a:lnTo>
                    <a:pt x="19" y="504"/>
                  </a:lnTo>
                  <a:lnTo>
                    <a:pt x="24" y="509"/>
                  </a:lnTo>
                  <a:lnTo>
                    <a:pt x="29" y="512"/>
                  </a:lnTo>
                  <a:lnTo>
                    <a:pt x="35" y="515"/>
                  </a:lnTo>
                  <a:lnTo>
                    <a:pt x="41" y="519"/>
                  </a:lnTo>
                  <a:lnTo>
                    <a:pt x="48" y="521"/>
                  </a:lnTo>
                  <a:lnTo>
                    <a:pt x="53" y="522"/>
                  </a:lnTo>
                  <a:lnTo>
                    <a:pt x="60" y="523"/>
                  </a:lnTo>
                  <a:lnTo>
                    <a:pt x="68" y="52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71" name="Rectangle 1032"/>
            <p:cNvSpPr>
              <a:spLocks noChangeArrowheads="1"/>
            </p:cNvSpPr>
            <p:nvPr/>
          </p:nvSpPr>
          <p:spPr bwMode="auto">
            <a:xfrm>
              <a:off x="1511" y="3967"/>
              <a:ext cx="26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Meter </a:t>
              </a:r>
              <a:endParaRPr lang="en-US" sz="1800" b="0" kern="0" baseline="0">
                <a:solidFill>
                  <a:sysClr val="windowText" lastClr="000000"/>
                </a:solidFill>
                <a:latin typeface="Arial" charset="0"/>
                <a:ea typeface="ＭＳ Ｐゴシック"/>
                <a:cs typeface="ＭＳ Ｐゴシック"/>
              </a:endParaRPr>
            </a:p>
          </p:txBody>
        </p:sp>
        <p:sp>
          <p:nvSpPr>
            <p:cNvPr id="472" name="Rectangle 1033"/>
            <p:cNvSpPr>
              <a:spLocks noChangeArrowheads="1"/>
            </p:cNvSpPr>
            <p:nvPr/>
          </p:nvSpPr>
          <p:spPr bwMode="auto">
            <a:xfrm>
              <a:off x="1565" y="4002"/>
              <a:ext cx="14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ading</a:t>
              </a:r>
              <a:endParaRPr lang="en-US" sz="1800" b="0" kern="0" baseline="0">
                <a:solidFill>
                  <a:sysClr val="windowText" lastClr="000000"/>
                </a:solidFill>
                <a:latin typeface="Arial" charset="0"/>
                <a:ea typeface="ＭＳ Ｐゴシック"/>
                <a:cs typeface="ＭＳ Ｐゴシック"/>
              </a:endParaRPr>
            </a:p>
          </p:txBody>
        </p:sp>
        <p:sp>
          <p:nvSpPr>
            <p:cNvPr id="473" name="Freeform 1034"/>
            <p:cNvSpPr>
              <a:spLocks/>
            </p:cNvSpPr>
            <p:nvPr/>
          </p:nvSpPr>
          <p:spPr bwMode="auto">
            <a:xfrm>
              <a:off x="1880" y="3800"/>
              <a:ext cx="404" cy="127"/>
            </a:xfrm>
            <a:custGeom>
              <a:avLst/>
              <a:gdLst>
                <a:gd name="T0" fmla="*/ 127 w 1210"/>
                <a:gd name="T1" fmla="*/ 31 h 524"/>
                <a:gd name="T2" fmla="*/ 129 w 1210"/>
                <a:gd name="T3" fmla="*/ 31 h 524"/>
                <a:gd name="T4" fmla="*/ 130 w 1210"/>
                <a:gd name="T5" fmla="*/ 31 h 524"/>
                <a:gd name="T6" fmla="*/ 132 w 1210"/>
                <a:gd name="T7" fmla="*/ 30 h 524"/>
                <a:gd name="T8" fmla="*/ 133 w 1210"/>
                <a:gd name="T9" fmla="*/ 30 h 524"/>
                <a:gd name="T10" fmla="*/ 134 w 1210"/>
                <a:gd name="T11" fmla="*/ 29 h 524"/>
                <a:gd name="T12" fmla="*/ 134 w 1210"/>
                <a:gd name="T13" fmla="*/ 28 h 524"/>
                <a:gd name="T14" fmla="*/ 135 w 1210"/>
                <a:gd name="T15" fmla="*/ 28 h 524"/>
                <a:gd name="T16" fmla="*/ 135 w 1210"/>
                <a:gd name="T17" fmla="*/ 27 h 524"/>
                <a:gd name="T18" fmla="*/ 135 w 1210"/>
                <a:gd name="T19" fmla="*/ 4 h 524"/>
                <a:gd name="T20" fmla="*/ 135 w 1210"/>
                <a:gd name="T21" fmla="*/ 3 h 524"/>
                <a:gd name="T22" fmla="*/ 134 w 1210"/>
                <a:gd name="T23" fmla="*/ 2 h 524"/>
                <a:gd name="T24" fmla="*/ 134 w 1210"/>
                <a:gd name="T25" fmla="*/ 2 h 524"/>
                <a:gd name="T26" fmla="*/ 133 w 1210"/>
                <a:gd name="T27" fmla="*/ 1 h 524"/>
                <a:gd name="T28" fmla="*/ 132 w 1210"/>
                <a:gd name="T29" fmla="*/ 1 h 524"/>
                <a:gd name="T30" fmla="*/ 130 w 1210"/>
                <a:gd name="T31" fmla="*/ 0 h 524"/>
                <a:gd name="T32" fmla="*/ 129 w 1210"/>
                <a:gd name="T33" fmla="*/ 0 h 524"/>
                <a:gd name="T34" fmla="*/ 127 w 1210"/>
                <a:gd name="T35" fmla="*/ 0 h 524"/>
                <a:gd name="T36" fmla="*/ 7 w 1210"/>
                <a:gd name="T37" fmla="*/ 0 h 524"/>
                <a:gd name="T38" fmla="*/ 5 w 1210"/>
                <a:gd name="T39" fmla="*/ 0 h 524"/>
                <a:gd name="T40" fmla="*/ 4 w 1210"/>
                <a:gd name="T41" fmla="*/ 0 h 524"/>
                <a:gd name="T42" fmla="*/ 3 w 1210"/>
                <a:gd name="T43" fmla="*/ 1 h 524"/>
                <a:gd name="T44" fmla="*/ 2 w 1210"/>
                <a:gd name="T45" fmla="*/ 1 h 524"/>
                <a:gd name="T46" fmla="*/ 1 w 1210"/>
                <a:gd name="T47" fmla="*/ 2 h 524"/>
                <a:gd name="T48" fmla="*/ 0 w 1210"/>
                <a:gd name="T49" fmla="*/ 3 h 524"/>
                <a:gd name="T50" fmla="*/ 0 w 1210"/>
                <a:gd name="T51" fmla="*/ 4 h 524"/>
                <a:gd name="T52" fmla="*/ 0 w 1210"/>
                <a:gd name="T53" fmla="*/ 27 h 524"/>
                <a:gd name="T54" fmla="*/ 0 w 1210"/>
                <a:gd name="T55" fmla="*/ 28 h 524"/>
                <a:gd name="T56" fmla="*/ 1 w 1210"/>
                <a:gd name="T57" fmla="*/ 28 h 524"/>
                <a:gd name="T58" fmla="*/ 1 w 1210"/>
                <a:gd name="T59" fmla="*/ 29 h 524"/>
                <a:gd name="T60" fmla="*/ 2 w 1210"/>
                <a:gd name="T61" fmla="*/ 30 h 524"/>
                <a:gd name="T62" fmla="*/ 3 w 1210"/>
                <a:gd name="T63" fmla="*/ 30 h 524"/>
                <a:gd name="T64" fmla="*/ 5 w 1210"/>
                <a:gd name="T65" fmla="*/ 31 h 524"/>
                <a:gd name="T66" fmla="*/ 6 w 1210"/>
                <a:gd name="T67" fmla="*/ 31 h 524"/>
                <a:gd name="T68" fmla="*/ 7 w 1210"/>
                <a:gd name="T69" fmla="*/ 31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10"/>
                <a:gd name="T106" fmla="*/ 0 h 524"/>
                <a:gd name="T107" fmla="*/ 1210 w 1210"/>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10" h="524">
                  <a:moveTo>
                    <a:pt x="67" y="524"/>
                  </a:moveTo>
                  <a:lnTo>
                    <a:pt x="1142" y="524"/>
                  </a:lnTo>
                  <a:lnTo>
                    <a:pt x="1149" y="524"/>
                  </a:lnTo>
                  <a:lnTo>
                    <a:pt x="1156" y="523"/>
                  </a:lnTo>
                  <a:lnTo>
                    <a:pt x="1161" y="520"/>
                  </a:lnTo>
                  <a:lnTo>
                    <a:pt x="1168" y="518"/>
                  </a:lnTo>
                  <a:lnTo>
                    <a:pt x="1174" y="516"/>
                  </a:lnTo>
                  <a:lnTo>
                    <a:pt x="1179" y="512"/>
                  </a:lnTo>
                  <a:lnTo>
                    <a:pt x="1185" y="508"/>
                  </a:lnTo>
                  <a:lnTo>
                    <a:pt x="1190" y="503"/>
                  </a:lnTo>
                  <a:lnTo>
                    <a:pt x="1194" y="499"/>
                  </a:lnTo>
                  <a:lnTo>
                    <a:pt x="1198" y="494"/>
                  </a:lnTo>
                  <a:lnTo>
                    <a:pt x="1201" y="489"/>
                  </a:lnTo>
                  <a:lnTo>
                    <a:pt x="1204" y="482"/>
                  </a:lnTo>
                  <a:lnTo>
                    <a:pt x="1207" y="476"/>
                  </a:lnTo>
                  <a:lnTo>
                    <a:pt x="1208" y="469"/>
                  </a:lnTo>
                  <a:lnTo>
                    <a:pt x="1209" y="463"/>
                  </a:lnTo>
                  <a:lnTo>
                    <a:pt x="1210" y="456"/>
                  </a:lnTo>
                  <a:lnTo>
                    <a:pt x="1210" y="68"/>
                  </a:lnTo>
                  <a:lnTo>
                    <a:pt x="1209" y="60"/>
                  </a:lnTo>
                  <a:lnTo>
                    <a:pt x="1208" y="53"/>
                  </a:lnTo>
                  <a:lnTo>
                    <a:pt x="1207" y="48"/>
                  </a:lnTo>
                  <a:lnTo>
                    <a:pt x="1204" y="41"/>
                  </a:lnTo>
                  <a:lnTo>
                    <a:pt x="1201" y="35"/>
                  </a:lnTo>
                  <a:lnTo>
                    <a:pt x="1198" y="30"/>
                  </a:lnTo>
                  <a:lnTo>
                    <a:pt x="1194" y="24"/>
                  </a:lnTo>
                  <a:lnTo>
                    <a:pt x="1190" y="20"/>
                  </a:lnTo>
                  <a:lnTo>
                    <a:pt x="1185" y="15"/>
                  </a:lnTo>
                  <a:lnTo>
                    <a:pt x="1179" y="12"/>
                  </a:lnTo>
                  <a:lnTo>
                    <a:pt x="1174" y="8"/>
                  </a:lnTo>
                  <a:lnTo>
                    <a:pt x="1168" y="5"/>
                  </a:lnTo>
                  <a:lnTo>
                    <a:pt x="1161" y="3"/>
                  </a:lnTo>
                  <a:lnTo>
                    <a:pt x="1156" y="1"/>
                  </a:lnTo>
                  <a:lnTo>
                    <a:pt x="1149" y="0"/>
                  </a:lnTo>
                  <a:lnTo>
                    <a:pt x="1142" y="0"/>
                  </a:lnTo>
                  <a:lnTo>
                    <a:pt x="67" y="0"/>
                  </a:lnTo>
                  <a:lnTo>
                    <a:pt x="61" y="0"/>
                  </a:lnTo>
                  <a:lnTo>
                    <a:pt x="54" y="1"/>
                  </a:lnTo>
                  <a:lnTo>
                    <a:pt x="47" y="3"/>
                  </a:lnTo>
                  <a:lnTo>
                    <a:pt x="41" y="5"/>
                  </a:lnTo>
                  <a:lnTo>
                    <a:pt x="35" y="8"/>
                  </a:lnTo>
                  <a:lnTo>
                    <a:pt x="30" y="12"/>
                  </a:lnTo>
                  <a:lnTo>
                    <a:pt x="24" y="15"/>
                  </a:lnTo>
                  <a:lnTo>
                    <a:pt x="20" y="20"/>
                  </a:lnTo>
                  <a:lnTo>
                    <a:pt x="15" y="24"/>
                  </a:lnTo>
                  <a:lnTo>
                    <a:pt x="11" y="30"/>
                  </a:lnTo>
                  <a:lnTo>
                    <a:pt x="7" y="35"/>
                  </a:lnTo>
                  <a:lnTo>
                    <a:pt x="5" y="41"/>
                  </a:lnTo>
                  <a:lnTo>
                    <a:pt x="3" y="48"/>
                  </a:lnTo>
                  <a:lnTo>
                    <a:pt x="1" y="53"/>
                  </a:lnTo>
                  <a:lnTo>
                    <a:pt x="0" y="60"/>
                  </a:lnTo>
                  <a:lnTo>
                    <a:pt x="0" y="68"/>
                  </a:lnTo>
                  <a:lnTo>
                    <a:pt x="0" y="456"/>
                  </a:lnTo>
                  <a:lnTo>
                    <a:pt x="0" y="463"/>
                  </a:lnTo>
                  <a:lnTo>
                    <a:pt x="1" y="469"/>
                  </a:lnTo>
                  <a:lnTo>
                    <a:pt x="3" y="476"/>
                  </a:lnTo>
                  <a:lnTo>
                    <a:pt x="5" y="482"/>
                  </a:lnTo>
                  <a:lnTo>
                    <a:pt x="7" y="489"/>
                  </a:lnTo>
                  <a:lnTo>
                    <a:pt x="11" y="494"/>
                  </a:lnTo>
                  <a:lnTo>
                    <a:pt x="15" y="499"/>
                  </a:lnTo>
                  <a:lnTo>
                    <a:pt x="20" y="503"/>
                  </a:lnTo>
                  <a:lnTo>
                    <a:pt x="24" y="508"/>
                  </a:lnTo>
                  <a:lnTo>
                    <a:pt x="30" y="512"/>
                  </a:lnTo>
                  <a:lnTo>
                    <a:pt x="35" y="516"/>
                  </a:lnTo>
                  <a:lnTo>
                    <a:pt x="41" y="518"/>
                  </a:lnTo>
                  <a:lnTo>
                    <a:pt x="47" y="520"/>
                  </a:lnTo>
                  <a:lnTo>
                    <a:pt x="54" y="523"/>
                  </a:lnTo>
                  <a:lnTo>
                    <a:pt x="61" y="524"/>
                  </a:lnTo>
                  <a:lnTo>
                    <a:pt x="67" y="524"/>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74" name="Freeform 1035"/>
            <p:cNvSpPr>
              <a:spLocks/>
            </p:cNvSpPr>
            <p:nvPr/>
          </p:nvSpPr>
          <p:spPr bwMode="auto">
            <a:xfrm>
              <a:off x="1880" y="3800"/>
              <a:ext cx="404" cy="127"/>
            </a:xfrm>
            <a:custGeom>
              <a:avLst/>
              <a:gdLst>
                <a:gd name="T0" fmla="*/ 127 w 1210"/>
                <a:gd name="T1" fmla="*/ 31 h 524"/>
                <a:gd name="T2" fmla="*/ 129 w 1210"/>
                <a:gd name="T3" fmla="*/ 31 h 524"/>
                <a:gd name="T4" fmla="*/ 130 w 1210"/>
                <a:gd name="T5" fmla="*/ 31 h 524"/>
                <a:gd name="T6" fmla="*/ 132 w 1210"/>
                <a:gd name="T7" fmla="*/ 30 h 524"/>
                <a:gd name="T8" fmla="*/ 133 w 1210"/>
                <a:gd name="T9" fmla="*/ 30 h 524"/>
                <a:gd name="T10" fmla="*/ 134 w 1210"/>
                <a:gd name="T11" fmla="*/ 29 h 524"/>
                <a:gd name="T12" fmla="*/ 134 w 1210"/>
                <a:gd name="T13" fmla="*/ 28 h 524"/>
                <a:gd name="T14" fmla="*/ 135 w 1210"/>
                <a:gd name="T15" fmla="*/ 28 h 524"/>
                <a:gd name="T16" fmla="*/ 135 w 1210"/>
                <a:gd name="T17" fmla="*/ 27 h 524"/>
                <a:gd name="T18" fmla="*/ 135 w 1210"/>
                <a:gd name="T19" fmla="*/ 4 h 524"/>
                <a:gd name="T20" fmla="*/ 135 w 1210"/>
                <a:gd name="T21" fmla="*/ 3 h 524"/>
                <a:gd name="T22" fmla="*/ 134 w 1210"/>
                <a:gd name="T23" fmla="*/ 2 h 524"/>
                <a:gd name="T24" fmla="*/ 134 w 1210"/>
                <a:gd name="T25" fmla="*/ 2 h 524"/>
                <a:gd name="T26" fmla="*/ 133 w 1210"/>
                <a:gd name="T27" fmla="*/ 1 h 524"/>
                <a:gd name="T28" fmla="*/ 132 w 1210"/>
                <a:gd name="T29" fmla="*/ 1 h 524"/>
                <a:gd name="T30" fmla="*/ 130 w 1210"/>
                <a:gd name="T31" fmla="*/ 0 h 524"/>
                <a:gd name="T32" fmla="*/ 129 w 1210"/>
                <a:gd name="T33" fmla="*/ 0 h 524"/>
                <a:gd name="T34" fmla="*/ 127 w 1210"/>
                <a:gd name="T35" fmla="*/ 0 h 524"/>
                <a:gd name="T36" fmla="*/ 7 w 1210"/>
                <a:gd name="T37" fmla="*/ 0 h 524"/>
                <a:gd name="T38" fmla="*/ 5 w 1210"/>
                <a:gd name="T39" fmla="*/ 0 h 524"/>
                <a:gd name="T40" fmla="*/ 4 w 1210"/>
                <a:gd name="T41" fmla="*/ 0 h 524"/>
                <a:gd name="T42" fmla="*/ 3 w 1210"/>
                <a:gd name="T43" fmla="*/ 1 h 524"/>
                <a:gd name="T44" fmla="*/ 2 w 1210"/>
                <a:gd name="T45" fmla="*/ 1 h 524"/>
                <a:gd name="T46" fmla="*/ 1 w 1210"/>
                <a:gd name="T47" fmla="*/ 2 h 524"/>
                <a:gd name="T48" fmla="*/ 0 w 1210"/>
                <a:gd name="T49" fmla="*/ 3 h 524"/>
                <a:gd name="T50" fmla="*/ 0 w 1210"/>
                <a:gd name="T51" fmla="*/ 4 h 524"/>
                <a:gd name="T52" fmla="*/ 0 w 1210"/>
                <a:gd name="T53" fmla="*/ 27 h 524"/>
                <a:gd name="T54" fmla="*/ 0 w 1210"/>
                <a:gd name="T55" fmla="*/ 28 h 524"/>
                <a:gd name="T56" fmla="*/ 1 w 1210"/>
                <a:gd name="T57" fmla="*/ 28 h 524"/>
                <a:gd name="T58" fmla="*/ 1 w 1210"/>
                <a:gd name="T59" fmla="*/ 29 h 524"/>
                <a:gd name="T60" fmla="*/ 2 w 1210"/>
                <a:gd name="T61" fmla="*/ 30 h 524"/>
                <a:gd name="T62" fmla="*/ 3 w 1210"/>
                <a:gd name="T63" fmla="*/ 30 h 524"/>
                <a:gd name="T64" fmla="*/ 5 w 1210"/>
                <a:gd name="T65" fmla="*/ 31 h 524"/>
                <a:gd name="T66" fmla="*/ 6 w 1210"/>
                <a:gd name="T67" fmla="*/ 31 h 524"/>
                <a:gd name="T68" fmla="*/ 7 w 1210"/>
                <a:gd name="T69" fmla="*/ 31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10"/>
                <a:gd name="T106" fmla="*/ 0 h 524"/>
                <a:gd name="T107" fmla="*/ 1210 w 1210"/>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10" h="524">
                  <a:moveTo>
                    <a:pt x="67" y="524"/>
                  </a:moveTo>
                  <a:lnTo>
                    <a:pt x="1142" y="524"/>
                  </a:lnTo>
                  <a:lnTo>
                    <a:pt x="1149" y="524"/>
                  </a:lnTo>
                  <a:lnTo>
                    <a:pt x="1156" y="523"/>
                  </a:lnTo>
                  <a:lnTo>
                    <a:pt x="1161" y="520"/>
                  </a:lnTo>
                  <a:lnTo>
                    <a:pt x="1168" y="518"/>
                  </a:lnTo>
                  <a:lnTo>
                    <a:pt x="1174" y="516"/>
                  </a:lnTo>
                  <a:lnTo>
                    <a:pt x="1179" y="512"/>
                  </a:lnTo>
                  <a:lnTo>
                    <a:pt x="1185" y="508"/>
                  </a:lnTo>
                  <a:lnTo>
                    <a:pt x="1190" y="503"/>
                  </a:lnTo>
                  <a:lnTo>
                    <a:pt x="1194" y="499"/>
                  </a:lnTo>
                  <a:lnTo>
                    <a:pt x="1198" y="494"/>
                  </a:lnTo>
                  <a:lnTo>
                    <a:pt x="1201" y="489"/>
                  </a:lnTo>
                  <a:lnTo>
                    <a:pt x="1204" y="482"/>
                  </a:lnTo>
                  <a:lnTo>
                    <a:pt x="1207" y="476"/>
                  </a:lnTo>
                  <a:lnTo>
                    <a:pt x="1208" y="469"/>
                  </a:lnTo>
                  <a:lnTo>
                    <a:pt x="1209" y="463"/>
                  </a:lnTo>
                  <a:lnTo>
                    <a:pt x="1210" y="456"/>
                  </a:lnTo>
                  <a:lnTo>
                    <a:pt x="1210" y="68"/>
                  </a:lnTo>
                  <a:lnTo>
                    <a:pt x="1209" y="60"/>
                  </a:lnTo>
                  <a:lnTo>
                    <a:pt x="1208" y="53"/>
                  </a:lnTo>
                  <a:lnTo>
                    <a:pt x="1207" y="48"/>
                  </a:lnTo>
                  <a:lnTo>
                    <a:pt x="1204" y="41"/>
                  </a:lnTo>
                  <a:lnTo>
                    <a:pt x="1201" y="35"/>
                  </a:lnTo>
                  <a:lnTo>
                    <a:pt x="1198" y="30"/>
                  </a:lnTo>
                  <a:lnTo>
                    <a:pt x="1194" y="24"/>
                  </a:lnTo>
                  <a:lnTo>
                    <a:pt x="1190" y="20"/>
                  </a:lnTo>
                  <a:lnTo>
                    <a:pt x="1185" y="15"/>
                  </a:lnTo>
                  <a:lnTo>
                    <a:pt x="1179" y="12"/>
                  </a:lnTo>
                  <a:lnTo>
                    <a:pt x="1174" y="8"/>
                  </a:lnTo>
                  <a:lnTo>
                    <a:pt x="1168" y="5"/>
                  </a:lnTo>
                  <a:lnTo>
                    <a:pt x="1161" y="3"/>
                  </a:lnTo>
                  <a:lnTo>
                    <a:pt x="1156" y="1"/>
                  </a:lnTo>
                  <a:lnTo>
                    <a:pt x="1149" y="0"/>
                  </a:lnTo>
                  <a:lnTo>
                    <a:pt x="1142" y="0"/>
                  </a:lnTo>
                  <a:lnTo>
                    <a:pt x="67" y="0"/>
                  </a:lnTo>
                  <a:lnTo>
                    <a:pt x="61" y="0"/>
                  </a:lnTo>
                  <a:lnTo>
                    <a:pt x="54" y="1"/>
                  </a:lnTo>
                  <a:lnTo>
                    <a:pt x="47" y="3"/>
                  </a:lnTo>
                  <a:lnTo>
                    <a:pt x="41" y="5"/>
                  </a:lnTo>
                  <a:lnTo>
                    <a:pt x="35" y="8"/>
                  </a:lnTo>
                  <a:lnTo>
                    <a:pt x="30" y="12"/>
                  </a:lnTo>
                  <a:lnTo>
                    <a:pt x="24" y="15"/>
                  </a:lnTo>
                  <a:lnTo>
                    <a:pt x="20" y="20"/>
                  </a:lnTo>
                  <a:lnTo>
                    <a:pt x="15" y="24"/>
                  </a:lnTo>
                  <a:lnTo>
                    <a:pt x="11" y="30"/>
                  </a:lnTo>
                  <a:lnTo>
                    <a:pt x="7" y="35"/>
                  </a:lnTo>
                  <a:lnTo>
                    <a:pt x="5" y="41"/>
                  </a:lnTo>
                  <a:lnTo>
                    <a:pt x="3" y="48"/>
                  </a:lnTo>
                  <a:lnTo>
                    <a:pt x="1" y="53"/>
                  </a:lnTo>
                  <a:lnTo>
                    <a:pt x="0" y="60"/>
                  </a:lnTo>
                  <a:lnTo>
                    <a:pt x="0" y="68"/>
                  </a:lnTo>
                  <a:lnTo>
                    <a:pt x="0" y="456"/>
                  </a:lnTo>
                  <a:lnTo>
                    <a:pt x="0" y="463"/>
                  </a:lnTo>
                  <a:lnTo>
                    <a:pt x="1" y="469"/>
                  </a:lnTo>
                  <a:lnTo>
                    <a:pt x="3" y="476"/>
                  </a:lnTo>
                  <a:lnTo>
                    <a:pt x="5" y="482"/>
                  </a:lnTo>
                  <a:lnTo>
                    <a:pt x="7" y="489"/>
                  </a:lnTo>
                  <a:lnTo>
                    <a:pt x="11" y="494"/>
                  </a:lnTo>
                  <a:lnTo>
                    <a:pt x="15" y="499"/>
                  </a:lnTo>
                  <a:lnTo>
                    <a:pt x="20" y="503"/>
                  </a:lnTo>
                  <a:lnTo>
                    <a:pt x="24" y="508"/>
                  </a:lnTo>
                  <a:lnTo>
                    <a:pt x="30" y="512"/>
                  </a:lnTo>
                  <a:lnTo>
                    <a:pt x="35" y="516"/>
                  </a:lnTo>
                  <a:lnTo>
                    <a:pt x="41" y="518"/>
                  </a:lnTo>
                  <a:lnTo>
                    <a:pt x="47" y="520"/>
                  </a:lnTo>
                  <a:lnTo>
                    <a:pt x="54" y="523"/>
                  </a:lnTo>
                  <a:lnTo>
                    <a:pt x="61" y="524"/>
                  </a:lnTo>
                  <a:lnTo>
                    <a:pt x="67" y="52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75" name="Rectangle 1036"/>
            <p:cNvSpPr>
              <a:spLocks noChangeArrowheads="1"/>
            </p:cNvSpPr>
            <p:nvPr/>
          </p:nvSpPr>
          <p:spPr bwMode="auto">
            <a:xfrm>
              <a:off x="1990" y="3829"/>
              <a:ext cx="15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ocess </a:t>
              </a:r>
              <a:endParaRPr lang="en-US" sz="1800" b="0" kern="0" baseline="0">
                <a:solidFill>
                  <a:sysClr val="windowText" lastClr="000000"/>
                </a:solidFill>
                <a:latin typeface="Arial" charset="0"/>
                <a:ea typeface="ＭＳ Ｐゴシック"/>
                <a:cs typeface="ＭＳ Ｐゴシック"/>
              </a:endParaRPr>
            </a:p>
          </p:txBody>
        </p:sp>
        <p:sp>
          <p:nvSpPr>
            <p:cNvPr id="476" name="Rectangle 1037"/>
            <p:cNvSpPr>
              <a:spLocks noChangeArrowheads="1"/>
            </p:cNvSpPr>
            <p:nvPr/>
          </p:nvSpPr>
          <p:spPr bwMode="auto">
            <a:xfrm>
              <a:off x="2147" y="3829"/>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477" name="Rectangle 1038"/>
            <p:cNvSpPr>
              <a:spLocks noChangeArrowheads="1"/>
            </p:cNvSpPr>
            <p:nvPr/>
          </p:nvSpPr>
          <p:spPr bwMode="auto">
            <a:xfrm>
              <a:off x="1941" y="3864"/>
              <a:ext cx="27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ggregate Data</a:t>
              </a:r>
              <a:endParaRPr lang="en-US" sz="1800" b="0" kern="0" baseline="0">
                <a:solidFill>
                  <a:sysClr val="windowText" lastClr="000000"/>
                </a:solidFill>
                <a:latin typeface="Arial" charset="0"/>
                <a:ea typeface="ＭＳ Ｐゴシック"/>
                <a:cs typeface="ＭＳ Ｐゴシック"/>
              </a:endParaRPr>
            </a:p>
          </p:txBody>
        </p:sp>
        <p:sp>
          <p:nvSpPr>
            <p:cNvPr id="478" name="Freeform 1039"/>
            <p:cNvSpPr>
              <a:spLocks/>
            </p:cNvSpPr>
            <p:nvPr/>
          </p:nvSpPr>
          <p:spPr bwMode="auto">
            <a:xfrm>
              <a:off x="1884" y="3939"/>
              <a:ext cx="403" cy="126"/>
            </a:xfrm>
            <a:custGeom>
              <a:avLst/>
              <a:gdLst>
                <a:gd name="T0" fmla="*/ 127 w 1210"/>
                <a:gd name="T1" fmla="*/ 30 h 524"/>
                <a:gd name="T2" fmla="*/ 128 w 1210"/>
                <a:gd name="T3" fmla="*/ 30 h 524"/>
                <a:gd name="T4" fmla="*/ 130 w 1210"/>
                <a:gd name="T5" fmla="*/ 30 h 524"/>
                <a:gd name="T6" fmla="*/ 131 w 1210"/>
                <a:gd name="T7" fmla="*/ 30 h 524"/>
                <a:gd name="T8" fmla="*/ 132 w 1210"/>
                <a:gd name="T9" fmla="*/ 29 h 524"/>
                <a:gd name="T10" fmla="*/ 133 w 1210"/>
                <a:gd name="T11" fmla="*/ 29 h 524"/>
                <a:gd name="T12" fmla="*/ 134 w 1210"/>
                <a:gd name="T13" fmla="*/ 28 h 524"/>
                <a:gd name="T14" fmla="*/ 134 w 1210"/>
                <a:gd name="T15" fmla="*/ 27 h 524"/>
                <a:gd name="T16" fmla="*/ 134 w 1210"/>
                <a:gd name="T17" fmla="*/ 26 h 524"/>
                <a:gd name="T18" fmla="*/ 134 w 1210"/>
                <a:gd name="T19" fmla="*/ 4 h 524"/>
                <a:gd name="T20" fmla="*/ 134 w 1210"/>
                <a:gd name="T21" fmla="*/ 3 h 524"/>
                <a:gd name="T22" fmla="*/ 134 w 1210"/>
                <a:gd name="T23" fmla="*/ 2 h 524"/>
                <a:gd name="T24" fmla="*/ 133 w 1210"/>
                <a:gd name="T25" fmla="*/ 2 h 524"/>
                <a:gd name="T26" fmla="*/ 132 w 1210"/>
                <a:gd name="T27" fmla="*/ 1 h 524"/>
                <a:gd name="T28" fmla="*/ 131 w 1210"/>
                <a:gd name="T29" fmla="*/ 1 h 524"/>
                <a:gd name="T30" fmla="*/ 130 w 1210"/>
                <a:gd name="T31" fmla="*/ 0 h 524"/>
                <a:gd name="T32" fmla="*/ 128 w 1210"/>
                <a:gd name="T33" fmla="*/ 0 h 524"/>
                <a:gd name="T34" fmla="*/ 127 w 1210"/>
                <a:gd name="T35" fmla="*/ 0 h 524"/>
                <a:gd name="T36" fmla="*/ 7 w 1210"/>
                <a:gd name="T37" fmla="*/ 0 h 524"/>
                <a:gd name="T38" fmla="*/ 5 w 1210"/>
                <a:gd name="T39" fmla="*/ 0 h 524"/>
                <a:gd name="T40" fmla="*/ 4 w 1210"/>
                <a:gd name="T41" fmla="*/ 0 h 524"/>
                <a:gd name="T42" fmla="*/ 3 w 1210"/>
                <a:gd name="T43" fmla="*/ 1 h 524"/>
                <a:gd name="T44" fmla="*/ 2 w 1210"/>
                <a:gd name="T45" fmla="*/ 1 h 524"/>
                <a:gd name="T46" fmla="*/ 1 w 1210"/>
                <a:gd name="T47" fmla="*/ 2 h 524"/>
                <a:gd name="T48" fmla="*/ 0 w 1210"/>
                <a:gd name="T49" fmla="*/ 3 h 524"/>
                <a:gd name="T50" fmla="*/ 0 w 1210"/>
                <a:gd name="T51" fmla="*/ 4 h 524"/>
                <a:gd name="T52" fmla="*/ 0 w 1210"/>
                <a:gd name="T53" fmla="*/ 26 h 524"/>
                <a:gd name="T54" fmla="*/ 0 w 1210"/>
                <a:gd name="T55" fmla="*/ 27 h 524"/>
                <a:gd name="T56" fmla="*/ 1 w 1210"/>
                <a:gd name="T57" fmla="*/ 28 h 524"/>
                <a:gd name="T58" fmla="*/ 1 w 1210"/>
                <a:gd name="T59" fmla="*/ 29 h 524"/>
                <a:gd name="T60" fmla="*/ 2 w 1210"/>
                <a:gd name="T61" fmla="*/ 29 h 524"/>
                <a:gd name="T62" fmla="*/ 3 w 1210"/>
                <a:gd name="T63" fmla="*/ 30 h 524"/>
                <a:gd name="T64" fmla="*/ 5 w 1210"/>
                <a:gd name="T65" fmla="*/ 30 h 524"/>
                <a:gd name="T66" fmla="*/ 6 w 1210"/>
                <a:gd name="T67" fmla="*/ 30 h 524"/>
                <a:gd name="T68" fmla="*/ 8 w 1210"/>
                <a:gd name="T69" fmla="*/ 30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10"/>
                <a:gd name="T106" fmla="*/ 0 h 524"/>
                <a:gd name="T107" fmla="*/ 1210 w 1210"/>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10" h="524">
                  <a:moveTo>
                    <a:pt x="68" y="524"/>
                  </a:moveTo>
                  <a:lnTo>
                    <a:pt x="1142" y="524"/>
                  </a:lnTo>
                  <a:lnTo>
                    <a:pt x="1149" y="523"/>
                  </a:lnTo>
                  <a:lnTo>
                    <a:pt x="1156" y="522"/>
                  </a:lnTo>
                  <a:lnTo>
                    <a:pt x="1162" y="521"/>
                  </a:lnTo>
                  <a:lnTo>
                    <a:pt x="1168" y="519"/>
                  </a:lnTo>
                  <a:lnTo>
                    <a:pt x="1174" y="515"/>
                  </a:lnTo>
                  <a:lnTo>
                    <a:pt x="1180" y="512"/>
                  </a:lnTo>
                  <a:lnTo>
                    <a:pt x="1185" y="509"/>
                  </a:lnTo>
                  <a:lnTo>
                    <a:pt x="1190" y="504"/>
                  </a:lnTo>
                  <a:lnTo>
                    <a:pt x="1194" y="500"/>
                  </a:lnTo>
                  <a:lnTo>
                    <a:pt x="1198" y="494"/>
                  </a:lnTo>
                  <a:lnTo>
                    <a:pt x="1201" y="488"/>
                  </a:lnTo>
                  <a:lnTo>
                    <a:pt x="1205" y="483"/>
                  </a:lnTo>
                  <a:lnTo>
                    <a:pt x="1207" y="476"/>
                  </a:lnTo>
                  <a:lnTo>
                    <a:pt x="1208" y="470"/>
                  </a:lnTo>
                  <a:lnTo>
                    <a:pt x="1209" y="463"/>
                  </a:lnTo>
                  <a:lnTo>
                    <a:pt x="1210" y="457"/>
                  </a:lnTo>
                  <a:lnTo>
                    <a:pt x="1210" y="68"/>
                  </a:lnTo>
                  <a:lnTo>
                    <a:pt x="1209" y="61"/>
                  </a:lnTo>
                  <a:lnTo>
                    <a:pt x="1208" y="54"/>
                  </a:lnTo>
                  <a:lnTo>
                    <a:pt x="1207" y="47"/>
                  </a:lnTo>
                  <a:lnTo>
                    <a:pt x="1205" y="42"/>
                  </a:lnTo>
                  <a:lnTo>
                    <a:pt x="1201" y="35"/>
                  </a:lnTo>
                  <a:lnTo>
                    <a:pt x="1198" y="30"/>
                  </a:lnTo>
                  <a:lnTo>
                    <a:pt x="1194" y="25"/>
                  </a:lnTo>
                  <a:lnTo>
                    <a:pt x="1190" y="20"/>
                  </a:lnTo>
                  <a:lnTo>
                    <a:pt x="1185" y="16"/>
                  </a:lnTo>
                  <a:lnTo>
                    <a:pt x="1180" y="11"/>
                  </a:lnTo>
                  <a:lnTo>
                    <a:pt x="1174" y="8"/>
                  </a:lnTo>
                  <a:lnTo>
                    <a:pt x="1168" y="6"/>
                  </a:lnTo>
                  <a:lnTo>
                    <a:pt x="1162" y="3"/>
                  </a:lnTo>
                  <a:lnTo>
                    <a:pt x="1156" y="1"/>
                  </a:lnTo>
                  <a:lnTo>
                    <a:pt x="1149" y="0"/>
                  </a:lnTo>
                  <a:lnTo>
                    <a:pt x="1142" y="0"/>
                  </a:lnTo>
                  <a:lnTo>
                    <a:pt x="68" y="0"/>
                  </a:lnTo>
                  <a:lnTo>
                    <a:pt x="61" y="0"/>
                  </a:lnTo>
                  <a:lnTo>
                    <a:pt x="54" y="1"/>
                  </a:lnTo>
                  <a:lnTo>
                    <a:pt x="47" y="3"/>
                  </a:lnTo>
                  <a:lnTo>
                    <a:pt x="42" y="6"/>
                  </a:lnTo>
                  <a:lnTo>
                    <a:pt x="35" y="8"/>
                  </a:lnTo>
                  <a:lnTo>
                    <a:pt x="30" y="11"/>
                  </a:lnTo>
                  <a:lnTo>
                    <a:pt x="25" y="16"/>
                  </a:lnTo>
                  <a:lnTo>
                    <a:pt x="20" y="20"/>
                  </a:lnTo>
                  <a:lnTo>
                    <a:pt x="16" y="25"/>
                  </a:lnTo>
                  <a:lnTo>
                    <a:pt x="11" y="30"/>
                  </a:lnTo>
                  <a:lnTo>
                    <a:pt x="8" y="35"/>
                  </a:lnTo>
                  <a:lnTo>
                    <a:pt x="6" y="42"/>
                  </a:lnTo>
                  <a:lnTo>
                    <a:pt x="3" y="47"/>
                  </a:lnTo>
                  <a:lnTo>
                    <a:pt x="1" y="54"/>
                  </a:lnTo>
                  <a:lnTo>
                    <a:pt x="0" y="61"/>
                  </a:lnTo>
                  <a:lnTo>
                    <a:pt x="0" y="68"/>
                  </a:lnTo>
                  <a:lnTo>
                    <a:pt x="0" y="457"/>
                  </a:lnTo>
                  <a:lnTo>
                    <a:pt x="0" y="463"/>
                  </a:lnTo>
                  <a:lnTo>
                    <a:pt x="1" y="470"/>
                  </a:lnTo>
                  <a:lnTo>
                    <a:pt x="3" y="476"/>
                  </a:lnTo>
                  <a:lnTo>
                    <a:pt x="6" y="483"/>
                  </a:lnTo>
                  <a:lnTo>
                    <a:pt x="8" y="488"/>
                  </a:lnTo>
                  <a:lnTo>
                    <a:pt x="11" y="494"/>
                  </a:lnTo>
                  <a:lnTo>
                    <a:pt x="16" y="500"/>
                  </a:lnTo>
                  <a:lnTo>
                    <a:pt x="20" y="504"/>
                  </a:lnTo>
                  <a:lnTo>
                    <a:pt x="25" y="509"/>
                  </a:lnTo>
                  <a:lnTo>
                    <a:pt x="30" y="512"/>
                  </a:lnTo>
                  <a:lnTo>
                    <a:pt x="35" y="515"/>
                  </a:lnTo>
                  <a:lnTo>
                    <a:pt x="42" y="519"/>
                  </a:lnTo>
                  <a:lnTo>
                    <a:pt x="47" y="521"/>
                  </a:lnTo>
                  <a:lnTo>
                    <a:pt x="54" y="522"/>
                  </a:lnTo>
                  <a:lnTo>
                    <a:pt x="61" y="523"/>
                  </a:lnTo>
                  <a:lnTo>
                    <a:pt x="68" y="524"/>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79" name="Freeform 1040"/>
            <p:cNvSpPr>
              <a:spLocks/>
            </p:cNvSpPr>
            <p:nvPr/>
          </p:nvSpPr>
          <p:spPr bwMode="auto">
            <a:xfrm>
              <a:off x="1884" y="3939"/>
              <a:ext cx="403" cy="126"/>
            </a:xfrm>
            <a:custGeom>
              <a:avLst/>
              <a:gdLst>
                <a:gd name="T0" fmla="*/ 127 w 1210"/>
                <a:gd name="T1" fmla="*/ 30 h 524"/>
                <a:gd name="T2" fmla="*/ 128 w 1210"/>
                <a:gd name="T3" fmla="*/ 30 h 524"/>
                <a:gd name="T4" fmla="*/ 130 w 1210"/>
                <a:gd name="T5" fmla="*/ 30 h 524"/>
                <a:gd name="T6" fmla="*/ 131 w 1210"/>
                <a:gd name="T7" fmla="*/ 30 h 524"/>
                <a:gd name="T8" fmla="*/ 132 w 1210"/>
                <a:gd name="T9" fmla="*/ 29 h 524"/>
                <a:gd name="T10" fmla="*/ 133 w 1210"/>
                <a:gd name="T11" fmla="*/ 29 h 524"/>
                <a:gd name="T12" fmla="*/ 134 w 1210"/>
                <a:gd name="T13" fmla="*/ 28 h 524"/>
                <a:gd name="T14" fmla="*/ 134 w 1210"/>
                <a:gd name="T15" fmla="*/ 27 h 524"/>
                <a:gd name="T16" fmla="*/ 134 w 1210"/>
                <a:gd name="T17" fmla="*/ 26 h 524"/>
                <a:gd name="T18" fmla="*/ 134 w 1210"/>
                <a:gd name="T19" fmla="*/ 4 h 524"/>
                <a:gd name="T20" fmla="*/ 134 w 1210"/>
                <a:gd name="T21" fmla="*/ 3 h 524"/>
                <a:gd name="T22" fmla="*/ 134 w 1210"/>
                <a:gd name="T23" fmla="*/ 2 h 524"/>
                <a:gd name="T24" fmla="*/ 133 w 1210"/>
                <a:gd name="T25" fmla="*/ 2 h 524"/>
                <a:gd name="T26" fmla="*/ 132 w 1210"/>
                <a:gd name="T27" fmla="*/ 1 h 524"/>
                <a:gd name="T28" fmla="*/ 131 w 1210"/>
                <a:gd name="T29" fmla="*/ 1 h 524"/>
                <a:gd name="T30" fmla="*/ 130 w 1210"/>
                <a:gd name="T31" fmla="*/ 0 h 524"/>
                <a:gd name="T32" fmla="*/ 128 w 1210"/>
                <a:gd name="T33" fmla="*/ 0 h 524"/>
                <a:gd name="T34" fmla="*/ 127 w 1210"/>
                <a:gd name="T35" fmla="*/ 0 h 524"/>
                <a:gd name="T36" fmla="*/ 7 w 1210"/>
                <a:gd name="T37" fmla="*/ 0 h 524"/>
                <a:gd name="T38" fmla="*/ 5 w 1210"/>
                <a:gd name="T39" fmla="*/ 0 h 524"/>
                <a:gd name="T40" fmla="*/ 4 w 1210"/>
                <a:gd name="T41" fmla="*/ 0 h 524"/>
                <a:gd name="T42" fmla="*/ 3 w 1210"/>
                <a:gd name="T43" fmla="*/ 1 h 524"/>
                <a:gd name="T44" fmla="*/ 2 w 1210"/>
                <a:gd name="T45" fmla="*/ 1 h 524"/>
                <a:gd name="T46" fmla="*/ 1 w 1210"/>
                <a:gd name="T47" fmla="*/ 2 h 524"/>
                <a:gd name="T48" fmla="*/ 0 w 1210"/>
                <a:gd name="T49" fmla="*/ 3 h 524"/>
                <a:gd name="T50" fmla="*/ 0 w 1210"/>
                <a:gd name="T51" fmla="*/ 4 h 524"/>
                <a:gd name="T52" fmla="*/ 0 w 1210"/>
                <a:gd name="T53" fmla="*/ 26 h 524"/>
                <a:gd name="T54" fmla="*/ 0 w 1210"/>
                <a:gd name="T55" fmla="*/ 27 h 524"/>
                <a:gd name="T56" fmla="*/ 1 w 1210"/>
                <a:gd name="T57" fmla="*/ 28 h 524"/>
                <a:gd name="T58" fmla="*/ 1 w 1210"/>
                <a:gd name="T59" fmla="*/ 29 h 524"/>
                <a:gd name="T60" fmla="*/ 2 w 1210"/>
                <a:gd name="T61" fmla="*/ 29 h 524"/>
                <a:gd name="T62" fmla="*/ 3 w 1210"/>
                <a:gd name="T63" fmla="*/ 30 h 524"/>
                <a:gd name="T64" fmla="*/ 5 w 1210"/>
                <a:gd name="T65" fmla="*/ 30 h 524"/>
                <a:gd name="T66" fmla="*/ 6 w 1210"/>
                <a:gd name="T67" fmla="*/ 30 h 524"/>
                <a:gd name="T68" fmla="*/ 8 w 1210"/>
                <a:gd name="T69" fmla="*/ 30 h 5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10"/>
                <a:gd name="T106" fmla="*/ 0 h 524"/>
                <a:gd name="T107" fmla="*/ 1210 w 1210"/>
                <a:gd name="T108" fmla="*/ 524 h 5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10" h="524">
                  <a:moveTo>
                    <a:pt x="68" y="524"/>
                  </a:moveTo>
                  <a:lnTo>
                    <a:pt x="1142" y="524"/>
                  </a:lnTo>
                  <a:lnTo>
                    <a:pt x="1149" y="523"/>
                  </a:lnTo>
                  <a:lnTo>
                    <a:pt x="1156" y="522"/>
                  </a:lnTo>
                  <a:lnTo>
                    <a:pt x="1162" y="521"/>
                  </a:lnTo>
                  <a:lnTo>
                    <a:pt x="1168" y="519"/>
                  </a:lnTo>
                  <a:lnTo>
                    <a:pt x="1174" y="515"/>
                  </a:lnTo>
                  <a:lnTo>
                    <a:pt x="1180" y="512"/>
                  </a:lnTo>
                  <a:lnTo>
                    <a:pt x="1185" y="509"/>
                  </a:lnTo>
                  <a:lnTo>
                    <a:pt x="1190" y="504"/>
                  </a:lnTo>
                  <a:lnTo>
                    <a:pt x="1194" y="500"/>
                  </a:lnTo>
                  <a:lnTo>
                    <a:pt x="1198" y="494"/>
                  </a:lnTo>
                  <a:lnTo>
                    <a:pt x="1201" y="488"/>
                  </a:lnTo>
                  <a:lnTo>
                    <a:pt x="1205" y="483"/>
                  </a:lnTo>
                  <a:lnTo>
                    <a:pt x="1207" y="476"/>
                  </a:lnTo>
                  <a:lnTo>
                    <a:pt x="1208" y="470"/>
                  </a:lnTo>
                  <a:lnTo>
                    <a:pt x="1209" y="463"/>
                  </a:lnTo>
                  <a:lnTo>
                    <a:pt x="1210" y="457"/>
                  </a:lnTo>
                  <a:lnTo>
                    <a:pt x="1210" y="68"/>
                  </a:lnTo>
                  <a:lnTo>
                    <a:pt x="1209" y="61"/>
                  </a:lnTo>
                  <a:lnTo>
                    <a:pt x="1208" y="54"/>
                  </a:lnTo>
                  <a:lnTo>
                    <a:pt x="1207" y="47"/>
                  </a:lnTo>
                  <a:lnTo>
                    <a:pt x="1205" y="42"/>
                  </a:lnTo>
                  <a:lnTo>
                    <a:pt x="1201" y="35"/>
                  </a:lnTo>
                  <a:lnTo>
                    <a:pt x="1198" y="30"/>
                  </a:lnTo>
                  <a:lnTo>
                    <a:pt x="1194" y="25"/>
                  </a:lnTo>
                  <a:lnTo>
                    <a:pt x="1190" y="20"/>
                  </a:lnTo>
                  <a:lnTo>
                    <a:pt x="1185" y="16"/>
                  </a:lnTo>
                  <a:lnTo>
                    <a:pt x="1180" y="11"/>
                  </a:lnTo>
                  <a:lnTo>
                    <a:pt x="1174" y="8"/>
                  </a:lnTo>
                  <a:lnTo>
                    <a:pt x="1168" y="6"/>
                  </a:lnTo>
                  <a:lnTo>
                    <a:pt x="1162" y="3"/>
                  </a:lnTo>
                  <a:lnTo>
                    <a:pt x="1156" y="1"/>
                  </a:lnTo>
                  <a:lnTo>
                    <a:pt x="1149" y="0"/>
                  </a:lnTo>
                  <a:lnTo>
                    <a:pt x="1142" y="0"/>
                  </a:lnTo>
                  <a:lnTo>
                    <a:pt x="68" y="0"/>
                  </a:lnTo>
                  <a:lnTo>
                    <a:pt x="61" y="0"/>
                  </a:lnTo>
                  <a:lnTo>
                    <a:pt x="54" y="1"/>
                  </a:lnTo>
                  <a:lnTo>
                    <a:pt x="47" y="3"/>
                  </a:lnTo>
                  <a:lnTo>
                    <a:pt x="42" y="6"/>
                  </a:lnTo>
                  <a:lnTo>
                    <a:pt x="35" y="8"/>
                  </a:lnTo>
                  <a:lnTo>
                    <a:pt x="30" y="11"/>
                  </a:lnTo>
                  <a:lnTo>
                    <a:pt x="25" y="16"/>
                  </a:lnTo>
                  <a:lnTo>
                    <a:pt x="20" y="20"/>
                  </a:lnTo>
                  <a:lnTo>
                    <a:pt x="16" y="25"/>
                  </a:lnTo>
                  <a:lnTo>
                    <a:pt x="11" y="30"/>
                  </a:lnTo>
                  <a:lnTo>
                    <a:pt x="8" y="35"/>
                  </a:lnTo>
                  <a:lnTo>
                    <a:pt x="6" y="42"/>
                  </a:lnTo>
                  <a:lnTo>
                    <a:pt x="3" y="47"/>
                  </a:lnTo>
                  <a:lnTo>
                    <a:pt x="1" y="54"/>
                  </a:lnTo>
                  <a:lnTo>
                    <a:pt x="0" y="61"/>
                  </a:lnTo>
                  <a:lnTo>
                    <a:pt x="0" y="68"/>
                  </a:lnTo>
                  <a:lnTo>
                    <a:pt x="0" y="457"/>
                  </a:lnTo>
                  <a:lnTo>
                    <a:pt x="0" y="463"/>
                  </a:lnTo>
                  <a:lnTo>
                    <a:pt x="1" y="470"/>
                  </a:lnTo>
                  <a:lnTo>
                    <a:pt x="3" y="476"/>
                  </a:lnTo>
                  <a:lnTo>
                    <a:pt x="6" y="483"/>
                  </a:lnTo>
                  <a:lnTo>
                    <a:pt x="8" y="488"/>
                  </a:lnTo>
                  <a:lnTo>
                    <a:pt x="11" y="494"/>
                  </a:lnTo>
                  <a:lnTo>
                    <a:pt x="16" y="500"/>
                  </a:lnTo>
                  <a:lnTo>
                    <a:pt x="20" y="504"/>
                  </a:lnTo>
                  <a:lnTo>
                    <a:pt x="25" y="509"/>
                  </a:lnTo>
                  <a:lnTo>
                    <a:pt x="30" y="512"/>
                  </a:lnTo>
                  <a:lnTo>
                    <a:pt x="35" y="515"/>
                  </a:lnTo>
                  <a:lnTo>
                    <a:pt x="42" y="519"/>
                  </a:lnTo>
                  <a:lnTo>
                    <a:pt x="47" y="521"/>
                  </a:lnTo>
                  <a:lnTo>
                    <a:pt x="54" y="522"/>
                  </a:lnTo>
                  <a:lnTo>
                    <a:pt x="61" y="523"/>
                  </a:lnTo>
                  <a:lnTo>
                    <a:pt x="68" y="524"/>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80" name="Rectangle 1041"/>
            <p:cNvSpPr>
              <a:spLocks noChangeArrowheads="1"/>
            </p:cNvSpPr>
            <p:nvPr/>
          </p:nvSpPr>
          <p:spPr bwMode="auto">
            <a:xfrm>
              <a:off x="1933" y="3967"/>
              <a:ext cx="29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Comms</a:t>
              </a:r>
              <a:endParaRPr lang="en-US" sz="1800" b="0" kern="0" baseline="0">
                <a:solidFill>
                  <a:sysClr val="windowText" lastClr="000000"/>
                </a:solidFill>
                <a:latin typeface="Arial" charset="0"/>
                <a:ea typeface="ＭＳ Ｐゴシック"/>
                <a:cs typeface="ＭＳ Ｐゴシック"/>
              </a:endParaRPr>
            </a:p>
          </p:txBody>
        </p:sp>
        <p:sp>
          <p:nvSpPr>
            <p:cNvPr id="481" name="Rectangle 1042"/>
            <p:cNvSpPr>
              <a:spLocks noChangeArrowheads="1"/>
            </p:cNvSpPr>
            <p:nvPr/>
          </p:nvSpPr>
          <p:spPr bwMode="auto">
            <a:xfrm>
              <a:off x="2228" y="3967"/>
              <a:ext cx="2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482" name="Rectangle 1043"/>
            <p:cNvSpPr>
              <a:spLocks noChangeArrowheads="1"/>
            </p:cNvSpPr>
            <p:nvPr/>
          </p:nvSpPr>
          <p:spPr bwMode="auto">
            <a:xfrm>
              <a:off x="1973" y="4002"/>
              <a:ext cx="22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Environment</a:t>
              </a:r>
              <a:endParaRPr lang="en-US" sz="1800" b="0" kern="0" baseline="0">
                <a:solidFill>
                  <a:sysClr val="windowText" lastClr="000000"/>
                </a:solidFill>
                <a:latin typeface="Arial" charset="0"/>
                <a:ea typeface="ＭＳ Ｐゴシック"/>
                <a:cs typeface="ＭＳ Ｐゴシック"/>
              </a:endParaRPr>
            </a:p>
          </p:txBody>
        </p:sp>
        <p:sp>
          <p:nvSpPr>
            <p:cNvPr id="483" name="Freeform 1044"/>
            <p:cNvSpPr>
              <a:spLocks/>
            </p:cNvSpPr>
            <p:nvPr/>
          </p:nvSpPr>
          <p:spPr bwMode="auto">
            <a:xfrm>
              <a:off x="4666" y="3489"/>
              <a:ext cx="362" cy="168"/>
            </a:xfrm>
            <a:custGeom>
              <a:avLst/>
              <a:gdLst>
                <a:gd name="T0" fmla="*/ 113 w 1088"/>
                <a:gd name="T1" fmla="*/ 41 h 689"/>
                <a:gd name="T2" fmla="*/ 114 w 1088"/>
                <a:gd name="T3" fmla="*/ 41 h 689"/>
                <a:gd name="T4" fmla="*/ 116 w 1088"/>
                <a:gd name="T5" fmla="*/ 41 h 689"/>
                <a:gd name="T6" fmla="*/ 117 w 1088"/>
                <a:gd name="T7" fmla="*/ 40 h 689"/>
                <a:gd name="T8" fmla="*/ 118 w 1088"/>
                <a:gd name="T9" fmla="*/ 40 h 689"/>
                <a:gd name="T10" fmla="*/ 119 w 1088"/>
                <a:gd name="T11" fmla="*/ 39 h 689"/>
                <a:gd name="T12" fmla="*/ 120 w 1088"/>
                <a:gd name="T13" fmla="*/ 39 h 689"/>
                <a:gd name="T14" fmla="*/ 120 w 1088"/>
                <a:gd name="T15" fmla="*/ 38 h 689"/>
                <a:gd name="T16" fmla="*/ 120 w 1088"/>
                <a:gd name="T17" fmla="*/ 37 h 689"/>
                <a:gd name="T18" fmla="*/ 120 w 1088"/>
                <a:gd name="T19" fmla="*/ 4 h 689"/>
                <a:gd name="T20" fmla="*/ 120 w 1088"/>
                <a:gd name="T21" fmla="*/ 3 h 689"/>
                <a:gd name="T22" fmla="*/ 120 w 1088"/>
                <a:gd name="T23" fmla="*/ 2 h 689"/>
                <a:gd name="T24" fmla="*/ 119 w 1088"/>
                <a:gd name="T25" fmla="*/ 2 h 689"/>
                <a:gd name="T26" fmla="*/ 118 w 1088"/>
                <a:gd name="T27" fmla="*/ 1 h 689"/>
                <a:gd name="T28" fmla="*/ 117 w 1088"/>
                <a:gd name="T29" fmla="*/ 1 h 689"/>
                <a:gd name="T30" fmla="*/ 116 w 1088"/>
                <a:gd name="T31" fmla="*/ 0 h 689"/>
                <a:gd name="T32" fmla="*/ 114 w 1088"/>
                <a:gd name="T33" fmla="*/ 0 h 689"/>
                <a:gd name="T34" fmla="*/ 113 w 1088"/>
                <a:gd name="T35" fmla="*/ 0 h 689"/>
                <a:gd name="T36" fmla="*/ 7 w 1088"/>
                <a:gd name="T37" fmla="*/ 0 h 689"/>
                <a:gd name="T38" fmla="*/ 5 w 1088"/>
                <a:gd name="T39" fmla="*/ 0 h 689"/>
                <a:gd name="T40" fmla="*/ 4 w 1088"/>
                <a:gd name="T41" fmla="*/ 0 h 689"/>
                <a:gd name="T42" fmla="*/ 3 w 1088"/>
                <a:gd name="T43" fmla="*/ 1 h 689"/>
                <a:gd name="T44" fmla="*/ 2 w 1088"/>
                <a:gd name="T45" fmla="*/ 1 h 689"/>
                <a:gd name="T46" fmla="*/ 1 w 1088"/>
                <a:gd name="T47" fmla="*/ 2 h 689"/>
                <a:gd name="T48" fmla="*/ 0 w 1088"/>
                <a:gd name="T49" fmla="*/ 3 h 689"/>
                <a:gd name="T50" fmla="*/ 0 w 1088"/>
                <a:gd name="T51" fmla="*/ 4 h 689"/>
                <a:gd name="T52" fmla="*/ 0 w 1088"/>
                <a:gd name="T53" fmla="*/ 37 h 689"/>
                <a:gd name="T54" fmla="*/ 0 w 1088"/>
                <a:gd name="T55" fmla="*/ 38 h 689"/>
                <a:gd name="T56" fmla="*/ 1 w 1088"/>
                <a:gd name="T57" fmla="*/ 39 h 689"/>
                <a:gd name="T58" fmla="*/ 1 w 1088"/>
                <a:gd name="T59" fmla="*/ 39 h 689"/>
                <a:gd name="T60" fmla="*/ 2 w 1088"/>
                <a:gd name="T61" fmla="*/ 40 h 689"/>
                <a:gd name="T62" fmla="*/ 3 w 1088"/>
                <a:gd name="T63" fmla="*/ 40 h 689"/>
                <a:gd name="T64" fmla="*/ 5 w 1088"/>
                <a:gd name="T65" fmla="*/ 41 h 689"/>
                <a:gd name="T66" fmla="*/ 6 w 1088"/>
                <a:gd name="T67" fmla="*/ 41 h 689"/>
                <a:gd name="T68" fmla="*/ 8 w 1088"/>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9"/>
                <a:gd name="T107" fmla="*/ 1088 w 1088"/>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9">
                  <a:moveTo>
                    <a:pt x="68" y="689"/>
                  </a:moveTo>
                  <a:lnTo>
                    <a:pt x="1020" y="689"/>
                  </a:lnTo>
                  <a:lnTo>
                    <a:pt x="1027" y="688"/>
                  </a:lnTo>
                  <a:lnTo>
                    <a:pt x="1034" y="687"/>
                  </a:lnTo>
                  <a:lnTo>
                    <a:pt x="1041" y="686"/>
                  </a:lnTo>
                  <a:lnTo>
                    <a:pt x="1046" y="683"/>
                  </a:lnTo>
                  <a:lnTo>
                    <a:pt x="1053" y="680"/>
                  </a:lnTo>
                  <a:lnTo>
                    <a:pt x="1059" y="677"/>
                  </a:lnTo>
                  <a:lnTo>
                    <a:pt x="1063" y="673"/>
                  </a:lnTo>
                  <a:lnTo>
                    <a:pt x="1068" y="669"/>
                  </a:lnTo>
                  <a:lnTo>
                    <a:pt x="1072" y="664"/>
                  </a:lnTo>
                  <a:lnTo>
                    <a:pt x="1077" y="659"/>
                  </a:lnTo>
                  <a:lnTo>
                    <a:pt x="1080" y="653"/>
                  </a:lnTo>
                  <a:lnTo>
                    <a:pt x="1083" y="647"/>
                  </a:lnTo>
                  <a:lnTo>
                    <a:pt x="1085" y="641"/>
                  </a:lnTo>
                  <a:lnTo>
                    <a:pt x="1087" y="635"/>
                  </a:lnTo>
                  <a:lnTo>
                    <a:pt x="1088" y="628"/>
                  </a:lnTo>
                  <a:lnTo>
                    <a:pt x="1088" y="621"/>
                  </a:lnTo>
                  <a:lnTo>
                    <a:pt x="1088" y="67"/>
                  </a:lnTo>
                  <a:lnTo>
                    <a:pt x="1088" y="61"/>
                  </a:lnTo>
                  <a:lnTo>
                    <a:pt x="1087" y="54"/>
                  </a:lnTo>
                  <a:lnTo>
                    <a:pt x="1085" y="47"/>
                  </a:lnTo>
                  <a:lnTo>
                    <a:pt x="1083" y="41"/>
                  </a:lnTo>
                  <a:lnTo>
                    <a:pt x="1080" y="35"/>
                  </a:lnTo>
                  <a:lnTo>
                    <a:pt x="1077" y="29"/>
                  </a:lnTo>
                  <a:lnTo>
                    <a:pt x="1072" y="24"/>
                  </a:lnTo>
                  <a:lnTo>
                    <a:pt x="1068" y="19"/>
                  </a:lnTo>
                  <a:lnTo>
                    <a:pt x="1063" y="15"/>
                  </a:lnTo>
                  <a:lnTo>
                    <a:pt x="1059" y="11"/>
                  </a:lnTo>
                  <a:lnTo>
                    <a:pt x="1053" y="8"/>
                  </a:lnTo>
                  <a:lnTo>
                    <a:pt x="1046" y="5"/>
                  </a:lnTo>
                  <a:lnTo>
                    <a:pt x="1041" y="3"/>
                  </a:lnTo>
                  <a:lnTo>
                    <a:pt x="1034" y="1"/>
                  </a:lnTo>
                  <a:lnTo>
                    <a:pt x="1027" y="0"/>
                  </a:lnTo>
                  <a:lnTo>
                    <a:pt x="1020" y="0"/>
                  </a:lnTo>
                  <a:lnTo>
                    <a:pt x="68" y="0"/>
                  </a:lnTo>
                  <a:lnTo>
                    <a:pt x="61" y="0"/>
                  </a:lnTo>
                  <a:lnTo>
                    <a:pt x="54" y="1"/>
                  </a:lnTo>
                  <a:lnTo>
                    <a:pt x="47" y="3"/>
                  </a:lnTo>
                  <a:lnTo>
                    <a:pt x="42" y="5"/>
                  </a:lnTo>
                  <a:lnTo>
                    <a:pt x="35" y="8"/>
                  </a:lnTo>
                  <a:lnTo>
                    <a:pt x="29" y="11"/>
                  </a:lnTo>
                  <a:lnTo>
                    <a:pt x="25" y="15"/>
                  </a:lnTo>
                  <a:lnTo>
                    <a:pt x="19" y="19"/>
                  </a:lnTo>
                  <a:lnTo>
                    <a:pt x="16" y="24"/>
                  </a:lnTo>
                  <a:lnTo>
                    <a:pt x="11" y="29"/>
                  </a:lnTo>
                  <a:lnTo>
                    <a:pt x="8" y="35"/>
                  </a:lnTo>
                  <a:lnTo>
                    <a:pt x="6" y="41"/>
                  </a:lnTo>
                  <a:lnTo>
                    <a:pt x="3" y="47"/>
                  </a:lnTo>
                  <a:lnTo>
                    <a:pt x="1" y="54"/>
                  </a:lnTo>
                  <a:lnTo>
                    <a:pt x="0" y="61"/>
                  </a:lnTo>
                  <a:lnTo>
                    <a:pt x="0" y="67"/>
                  </a:lnTo>
                  <a:lnTo>
                    <a:pt x="0" y="621"/>
                  </a:lnTo>
                  <a:lnTo>
                    <a:pt x="0" y="628"/>
                  </a:lnTo>
                  <a:lnTo>
                    <a:pt x="1" y="635"/>
                  </a:lnTo>
                  <a:lnTo>
                    <a:pt x="3" y="641"/>
                  </a:lnTo>
                  <a:lnTo>
                    <a:pt x="6" y="647"/>
                  </a:lnTo>
                  <a:lnTo>
                    <a:pt x="8" y="653"/>
                  </a:lnTo>
                  <a:lnTo>
                    <a:pt x="11" y="659"/>
                  </a:lnTo>
                  <a:lnTo>
                    <a:pt x="16" y="664"/>
                  </a:lnTo>
                  <a:lnTo>
                    <a:pt x="19" y="669"/>
                  </a:lnTo>
                  <a:lnTo>
                    <a:pt x="25" y="673"/>
                  </a:lnTo>
                  <a:lnTo>
                    <a:pt x="29" y="677"/>
                  </a:lnTo>
                  <a:lnTo>
                    <a:pt x="35" y="680"/>
                  </a:lnTo>
                  <a:lnTo>
                    <a:pt x="42" y="683"/>
                  </a:lnTo>
                  <a:lnTo>
                    <a:pt x="47" y="686"/>
                  </a:lnTo>
                  <a:lnTo>
                    <a:pt x="54" y="687"/>
                  </a:lnTo>
                  <a:lnTo>
                    <a:pt x="61" y="688"/>
                  </a:lnTo>
                  <a:lnTo>
                    <a:pt x="68" y="689"/>
                  </a:lnTo>
                  <a:close/>
                </a:path>
              </a:pathLst>
            </a:custGeom>
            <a:solidFill>
              <a:srgbClr val="00CC00"/>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84" name="Freeform 1045"/>
            <p:cNvSpPr>
              <a:spLocks/>
            </p:cNvSpPr>
            <p:nvPr/>
          </p:nvSpPr>
          <p:spPr bwMode="auto">
            <a:xfrm>
              <a:off x="4666" y="3489"/>
              <a:ext cx="362" cy="168"/>
            </a:xfrm>
            <a:custGeom>
              <a:avLst/>
              <a:gdLst>
                <a:gd name="T0" fmla="*/ 113 w 1088"/>
                <a:gd name="T1" fmla="*/ 41 h 689"/>
                <a:gd name="T2" fmla="*/ 114 w 1088"/>
                <a:gd name="T3" fmla="*/ 41 h 689"/>
                <a:gd name="T4" fmla="*/ 116 w 1088"/>
                <a:gd name="T5" fmla="*/ 41 h 689"/>
                <a:gd name="T6" fmla="*/ 117 w 1088"/>
                <a:gd name="T7" fmla="*/ 40 h 689"/>
                <a:gd name="T8" fmla="*/ 118 w 1088"/>
                <a:gd name="T9" fmla="*/ 40 h 689"/>
                <a:gd name="T10" fmla="*/ 119 w 1088"/>
                <a:gd name="T11" fmla="*/ 39 h 689"/>
                <a:gd name="T12" fmla="*/ 120 w 1088"/>
                <a:gd name="T13" fmla="*/ 39 h 689"/>
                <a:gd name="T14" fmla="*/ 120 w 1088"/>
                <a:gd name="T15" fmla="*/ 38 h 689"/>
                <a:gd name="T16" fmla="*/ 120 w 1088"/>
                <a:gd name="T17" fmla="*/ 37 h 689"/>
                <a:gd name="T18" fmla="*/ 120 w 1088"/>
                <a:gd name="T19" fmla="*/ 4 h 689"/>
                <a:gd name="T20" fmla="*/ 120 w 1088"/>
                <a:gd name="T21" fmla="*/ 3 h 689"/>
                <a:gd name="T22" fmla="*/ 120 w 1088"/>
                <a:gd name="T23" fmla="*/ 2 h 689"/>
                <a:gd name="T24" fmla="*/ 119 w 1088"/>
                <a:gd name="T25" fmla="*/ 2 h 689"/>
                <a:gd name="T26" fmla="*/ 118 w 1088"/>
                <a:gd name="T27" fmla="*/ 1 h 689"/>
                <a:gd name="T28" fmla="*/ 117 w 1088"/>
                <a:gd name="T29" fmla="*/ 1 h 689"/>
                <a:gd name="T30" fmla="*/ 116 w 1088"/>
                <a:gd name="T31" fmla="*/ 0 h 689"/>
                <a:gd name="T32" fmla="*/ 114 w 1088"/>
                <a:gd name="T33" fmla="*/ 0 h 689"/>
                <a:gd name="T34" fmla="*/ 113 w 1088"/>
                <a:gd name="T35" fmla="*/ 0 h 689"/>
                <a:gd name="T36" fmla="*/ 7 w 1088"/>
                <a:gd name="T37" fmla="*/ 0 h 689"/>
                <a:gd name="T38" fmla="*/ 5 w 1088"/>
                <a:gd name="T39" fmla="*/ 0 h 689"/>
                <a:gd name="T40" fmla="*/ 4 w 1088"/>
                <a:gd name="T41" fmla="*/ 0 h 689"/>
                <a:gd name="T42" fmla="*/ 3 w 1088"/>
                <a:gd name="T43" fmla="*/ 1 h 689"/>
                <a:gd name="T44" fmla="*/ 2 w 1088"/>
                <a:gd name="T45" fmla="*/ 1 h 689"/>
                <a:gd name="T46" fmla="*/ 1 w 1088"/>
                <a:gd name="T47" fmla="*/ 2 h 689"/>
                <a:gd name="T48" fmla="*/ 0 w 1088"/>
                <a:gd name="T49" fmla="*/ 3 h 689"/>
                <a:gd name="T50" fmla="*/ 0 w 1088"/>
                <a:gd name="T51" fmla="*/ 4 h 689"/>
                <a:gd name="T52" fmla="*/ 0 w 1088"/>
                <a:gd name="T53" fmla="*/ 37 h 689"/>
                <a:gd name="T54" fmla="*/ 0 w 1088"/>
                <a:gd name="T55" fmla="*/ 38 h 689"/>
                <a:gd name="T56" fmla="*/ 1 w 1088"/>
                <a:gd name="T57" fmla="*/ 39 h 689"/>
                <a:gd name="T58" fmla="*/ 1 w 1088"/>
                <a:gd name="T59" fmla="*/ 39 h 689"/>
                <a:gd name="T60" fmla="*/ 2 w 1088"/>
                <a:gd name="T61" fmla="*/ 40 h 689"/>
                <a:gd name="T62" fmla="*/ 3 w 1088"/>
                <a:gd name="T63" fmla="*/ 40 h 689"/>
                <a:gd name="T64" fmla="*/ 5 w 1088"/>
                <a:gd name="T65" fmla="*/ 41 h 689"/>
                <a:gd name="T66" fmla="*/ 6 w 1088"/>
                <a:gd name="T67" fmla="*/ 41 h 689"/>
                <a:gd name="T68" fmla="*/ 8 w 1088"/>
                <a:gd name="T69" fmla="*/ 41 h 6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9"/>
                <a:gd name="T107" fmla="*/ 1088 w 1088"/>
                <a:gd name="T108" fmla="*/ 689 h 6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9">
                  <a:moveTo>
                    <a:pt x="68" y="689"/>
                  </a:moveTo>
                  <a:lnTo>
                    <a:pt x="1020" y="689"/>
                  </a:lnTo>
                  <a:lnTo>
                    <a:pt x="1027" y="688"/>
                  </a:lnTo>
                  <a:lnTo>
                    <a:pt x="1034" y="687"/>
                  </a:lnTo>
                  <a:lnTo>
                    <a:pt x="1041" y="686"/>
                  </a:lnTo>
                  <a:lnTo>
                    <a:pt x="1046" y="683"/>
                  </a:lnTo>
                  <a:lnTo>
                    <a:pt x="1053" y="680"/>
                  </a:lnTo>
                  <a:lnTo>
                    <a:pt x="1059" y="677"/>
                  </a:lnTo>
                  <a:lnTo>
                    <a:pt x="1063" y="673"/>
                  </a:lnTo>
                  <a:lnTo>
                    <a:pt x="1068" y="669"/>
                  </a:lnTo>
                  <a:lnTo>
                    <a:pt x="1072" y="664"/>
                  </a:lnTo>
                  <a:lnTo>
                    <a:pt x="1077" y="659"/>
                  </a:lnTo>
                  <a:lnTo>
                    <a:pt x="1080" y="653"/>
                  </a:lnTo>
                  <a:lnTo>
                    <a:pt x="1083" y="647"/>
                  </a:lnTo>
                  <a:lnTo>
                    <a:pt x="1085" y="641"/>
                  </a:lnTo>
                  <a:lnTo>
                    <a:pt x="1087" y="635"/>
                  </a:lnTo>
                  <a:lnTo>
                    <a:pt x="1088" y="628"/>
                  </a:lnTo>
                  <a:lnTo>
                    <a:pt x="1088" y="621"/>
                  </a:lnTo>
                  <a:lnTo>
                    <a:pt x="1088" y="67"/>
                  </a:lnTo>
                  <a:lnTo>
                    <a:pt x="1088" y="61"/>
                  </a:lnTo>
                  <a:lnTo>
                    <a:pt x="1087" y="54"/>
                  </a:lnTo>
                  <a:lnTo>
                    <a:pt x="1085" y="47"/>
                  </a:lnTo>
                  <a:lnTo>
                    <a:pt x="1083" y="41"/>
                  </a:lnTo>
                  <a:lnTo>
                    <a:pt x="1080" y="35"/>
                  </a:lnTo>
                  <a:lnTo>
                    <a:pt x="1077" y="29"/>
                  </a:lnTo>
                  <a:lnTo>
                    <a:pt x="1072" y="24"/>
                  </a:lnTo>
                  <a:lnTo>
                    <a:pt x="1068" y="19"/>
                  </a:lnTo>
                  <a:lnTo>
                    <a:pt x="1063" y="15"/>
                  </a:lnTo>
                  <a:lnTo>
                    <a:pt x="1059" y="11"/>
                  </a:lnTo>
                  <a:lnTo>
                    <a:pt x="1053" y="8"/>
                  </a:lnTo>
                  <a:lnTo>
                    <a:pt x="1046" y="5"/>
                  </a:lnTo>
                  <a:lnTo>
                    <a:pt x="1041" y="3"/>
                  </a:lnTo>
                  <a:lnTo>
                    <a:pt x="1034" y="1"/>
                  </a:lnTo>
                  <a:lnTo>
                    <a:pt x="1027" y="0"/>
                  </a:lnTo>
                  <a:lnTo>
                    <a:pt x="1020" y="0"/>
                  </a:lnTo>
                  <a:lnTo>
                    <a:pt x="68" y="0"/>
                  </a:lnTo>
                  <a:lnTo>
                    <a:pt x="61" y="0"/>
                  </a:lnTo>
                  <a:lnTo>
                    <a:pt x="54" y="1"/>
                  </a:lnTo>
                  <a:lnTo>
                    <a:pt x="47" y="3"/>
                  </a:lnTo>
                  <a:lnTo>
                    <a:pt x="42" y="5"/>
                  </a:lnTo>
                  <a:lnTo>
                    <a:pt x="35" y="8"/>
                  </a:lnTo>
                  <a:lnTo>
                    <a:pt x="29" y="11"/>
                  </a:lnTo>
                  <a:lnTo>
                    <a:pt x="25" y="15"/>
                  </a:lnTo>
                  <a:lnTo>
                    <a:pt x="19" y="19"/>
                  </a:lnTo>
                  <a:lnTo>
                    <a:pt x="16" y="24"/>
                  </a:lnTo>
                  <a:lnTo>
                    <a:pt x="11" y="29"/>
                  </a:lnTo>
                  <a:lnTo>
                    <a:pt x="8" y="35"/>
                  </a:lnTo>
                  <a:lnTo>
                    <a:pt x="6" y="41"/>
                  </a:lnTo>
                  <a:lnTo>
                    <a:pt x="3" y="47"/>
                  </a:lnTo>
                  <a:lnTo>
                    <a:pt x="1" y="54"/>
                  </a:lnTo>
                  <a:lnTo>
                    <a:pt x="0" y="61"/>
                  </a:lnTo>
                  <a:lnTo>
                    <a:pt x="0" y="67"/>
                  </a:lnTo>
                  <a:lnTo>
                    <a:pt x="0" y="621"/>
                  </a:lnTo>
                  <a:lnTo>
                    <a:pt x="0" y="628"/>
                  </a:lnTo>
                  <a:lnTo>
                    <a:pt x="1" y="635"/>
                  </a:lnTo>
                  <a:lnTo>
                    <a:pt x="3" y="641"/>
                  </a:lnTo>
                  <a:lnTo>
                    <a:pt x="6" y="647"/>
                  </a:lnTo>
                  <a:lnTo>
                    <a:pt x="8" y="653"/>
                  </a:lnTo>
                  <a:lnTo>
                    <a:pt x="11" y="659"/>
                  </a:lnTo>
                  <a:lnTo>
                    <a:pt x="16" y="664"/>
                  </a:lnTo>
                  <a:lnTo>
                    <a:pt x="19" y="669"/>
                  </a:lnTo>
                  <a:lnTo>
                    <a:pt x="25" y="673"/>
                  </a:lnTo>
                  <a:lnTo>
                    <a:pt x="29" y="677"/>
                  </a:lnTo>
                  <a:lnTo>
                    <a:pt x="35" y="680"/>
                  </a:lnTo>
                  <a:lnTo>
                    <a:pt x="42" y="683"/>
                  </a:lnTo>
                  <a:lnTo>
                    <a:pt x="47" y="686"/>
                  </a:lnTo>
                  <a:lnTo>
                    <a:pt x="54" y="687"/>
                  </a:lnTo>
                  <a:lnTo>
                    <a:pt x="61" y="688"/>
                  </a:lnTo>
                  <a:lnTo>
                    <a:pt x="68" y="689"/>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85" name="Rectangle 1046"/>
            <p:cNvSpPr>
              <a:spLocks noChangeArrowheads="1"/>
            </p:cNvSpPr>
            <p:nvPr/>
          </p:nvSpPr>
          <p:spPr bwMode="auto">
            <a:xfrm>
              <a:off x="4775" y="3537"/>
              <a:ext cx="15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a:t>
              </a:r>
              <a:endParaRPr lang="en-US" sz="1800" b="0" kern="0" baseline="0">
                <a:solidFill>
                  <a:sysClr val="windowText" lastClr="000000"/>
                </a:solidFill>
                <a:latin typeface="Arial" charset="0"/>
                <a:ea typeface="ＭＳ Ｐゴシック"/>
                <a:cs typeface="ＭＳ Ｐゴシック"/>
              </a:endParaRPr>
            </a:p>
          </p:txBody>
        </p:sp>
        <p:sp>
          <p:nvSpPr>
            <p:cNvPr id="486" name="Rectangle 1047"/>
            <p:cNvSpPr>
              <a:spLocks noChangeArrowheads="1"/>
            </p:cNvSpPr>
            <p:nvPr/>
          </p:nvSpPr>
          <p:spPr bwMode="auto">
            <a:xfrm>
              <a:off x="4730" y="3573"/>
              <a:ext cx="23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Emergencies</a:t>
              </a:r>
              <a:endParaRPr lang="en-US" sz="1800" b="0" kern="0" baseline="0">
                <a:solidFill>
                  <a:sysClr val="windowText" lastClr="000000"/>
                </a:solidFill>
                <a:latin typeface="Arial" charset="0"/>
                <a:ea typeface="ＭＳ Ｐゴシック"/>
                <a:cs typeface="ＭＳ Ｐゴシック"/>
              </a:endParaRPr>
            </a:p>
          </p:txBody>
        </p:sp>
        <p:sp>
          <p:nvSpPr>
            <p:cNvPr id="487" name="Freeform 1048"/>
            <p:cNvSpPr>
              <a:spLocks/>
            </p:cNvSpPr>
            <p:nvPr/>
          </p:nvSpPr>
          <p:spPr bwMode="auto">
            <a:xfrm>
              <a:off x="1388" y="3387"/>
              <a:ext cx="543" cy="274"/>
            </a:xfrm>
            <a:custGeom>
              <a:avLst/>
              <a:gdLst>
                <a:gd name="T0" fmla="*/ 31 w 1627"/>
                <a:gd name="T1" fmla="*/ 17 h 1124"/>
                <a:gd name="T2" fmla="*/ 31 w 1627"/>
                <a:gd name="T3" fmla="*/ 0 h 1124"/>
                <a:gd name="T4" fmla="*/ 0 w 1627"/>
                <a:gd name="T5" fmla="*/ 33 h 1124"/>
                <a:gd name="T6" fmla="*/ 31 w 1627"/>
                <a:gd name="T7" fmla="*/ 67 h 1124"/>
                <a:gd name="T8" fmla="*/ 31 w 1627"/>
                <a:gd name="T9" fmla="*/ 50 h 1124"/>
                <a:gd name="T10" fmla="*/ 150 w 1627"/>
                <a:gd name="T11" fmla="*/ 50 h 1124"/>
                <a:gd name="T12" fmla="*/ 150 w 1627"/>
                <a:gd name="T13" fmla="*/ 67 h 1124"/>
                <a:gd name="T14" fmla="*/ 181 w 1627"/>
                <a:gd name="T15" fmla="*/ 33 h 1124"/>
                <a:gd name="T16" fmla="*/ 150 w 1627"/>
                <a:gd name="T17" fmla="*/ 0 h 1124"/>
                <a:gd name="T18" fmla="*/ 150 w 1627"/>
                <a:gd name="T19" fmla="*/ 17 h 1124"/>
                <a:gd name="T20" fmla="*/ 31 w 1627"/>
                <a:gd name="T21" fmla="*/ 17 h 11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27"/>
                <a:gd name="T34" fmla="*/ 0 h 1124"/>
                <a:gd name="T35" fmla="*/ 1627 w 1627"/>
                <a:gd name="T36" fmla="*/ 1124 h 11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27" h="1124">
                  <a:moveTo>
                    <a:pt x="281" y="282"/>
                  </a:moveTo>
                  <a:lnTo>
                    <a:pt x="281" y="0"/>
                  </a:lnTo>
                  <a:lnTo>
                    <a:pt x="0" y="562"/>
                  </a:lnTo>
                  <a:lnTo>
                    <a:pt x="281" y="1124"/>
                  </a:lnTo>
                  <a:lnTo>
                    <a:pt x="281" y="843"/>
                  </a:lnTo>
                  <a:lnTo>
                    <a:pt x="1347" y="843"/>
                  </a:lnTo>
                  <a:lnTo>
                    <a:pt x="1347" y="1124"/>
                  </a:lnTo>
                  <a:lnTo>
                    <a:pt x="1627" y="562"/>
                  </a:lnTo>
                  <a:lnTo>
                    <a:pt x="1347" y="0"/>
                  </a:lnTo>
                  <a:lnTo>
                    <a:pt x="1347" y="282"/>
                  </a:lnTo>
                  <a:lnTo>
                    <a:pt x="281" y="282"/>
                  </a:lnTo>
                  <a:close/>
                </a:path>
              </a:pathLst>
            </a:custGeom>
            <a:solidFill>
              <a:srgbClr val="DDE2CD"/>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88" name="Freeform 1049"/>
            <p:cNvSpPr>
              <a:spLocks/>
            </p:cNvSpPr>
            <p:nvPr/>
          </p:nvSpPr>
          <p:spPr bwMode="auto">
            <a:xfrm>
              <a:off x="1388" y="3387"/>
              <a:ext cx="543" cy="274"/>
            </a:xfrm>
            <a:custGeom>
              <a:avLst/>
              <a:gdLst>
                <a:gd name="T0" fmla="*/ 31 w 1627"/>
                <a:gd name="T1" fmla="*/ 17 h 1124"/>
                <a:gd name="T2" fmla="*/ 31 w 1627"/>
                <a:gd name="T3" fmla="*/ 0 h 1124"/>
                <a:gd name="T4" fmla="*/ 0 w 1627"/>
                <a:gd name="T5" fmla="*/ 33 h 1124"/>
                <a:gd name="T6" fmla="*/ 31 w 1627"/>
                <a:gd name="T7" fmla="*/ 67 h 1124"/>
                <a:gd name="T8" fmla="*/ 31 w 1627"/>
                <a:gd name="T9" fmla="*/ 50 h 1124"/>
                <a:gd name="T10" fmla="*/ 150 w 1627"/>
                <a:gd name="T11" fmla="*/ 50 h 1124"/>
                <a:gd name="T12" fmla="*/ 150 w 1627"/>
                <a:gd name="T13" fmla="*/ 67 h 1124"/>
                <a:gd name="T14" fmla="*/ 181 w 1627"/>
                <a:gd name="T15" fmla="*/ 33 h 1124"/>
                <a:gd name="T16" fmla="*/ 150 w 1627"/>
                <a:gd name="T17" fmla="*/ 0 h 1124"/>
                <a:gd name="T18" fmla="*/ 150 w 1627"/>
                <a:gd name="T19" fmla="*/ 17 h 1124"/>
                <a:gd name="T20" fmla="*/ 31 w 1627"/>
                <a:gd name="T21" fmla="*/ 17 h 11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27"/>
                <a:gd name="T34" fmla="*/ 0 h 1124"/>
                <a:gd name="T35" fmla="*/ 1627 w 1627"/>
                <a:gd name="T36" fmla="*/ 1124 h 11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27" h="1124">
                  <a:moveTo>
                    <a:pt x="281" y="282"/>
                  </a:moveTo>
                  <a:lnTo>
                    <a:pt x="281" y="0"/>
                  </a:lnTo>
                  <a:lnTo>
                    <a:pt x="0" y="562"/>
                  </a:lnTo>
                  <a:lnTo>
                    <a:pt x="281" y="1124"/>
                  </a:lnTo>
                  <a:lnTo>
                    <a:pt x="281" y="843"/>
                  </a:lnTo>
                  <a:lnTo>
                    <a:pt x="1347" y="843"/>
                  </a:lnTo>
                  <a:lnTo>
                    <a:pt x="1347" y="1124"/>
                  </a:lnTo>
                  <a:lnTo>
                    <a:pt x="1627" y="562"/>
                  </a:lnTo>
                  <a:lnTo>
                    <a:pt x="1347" y="0"/>
                  </a:lnTo>
                  <a:lnTo>
                    <a:pt x="1347" y="282"/>
                  </a:lnTo>
                  <a:lnTo>
                    <a:pt x="281" y="282"/>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89" name="Rectangle 1050"/>
            <p:cNvSpPr>
              <a:spLocks noChangeArrowheads="1"/>
            </p:cNvSpPr>
            <p:nvPr/>
          </p:nvSpPr>
          <p:spPr bwMode="auto">
            <a:xfrm>
              <a:off x="1577" y="3480"/>
              <a:ext cx="171"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Outage </a:t>
              </a:r>
              <a:endParaRPr lang="en-US" sz="1800" b="0" kern="0" baseline="0">
                <a:solidFill>
                  <a:sysClr val="windowText" lastClr="000000"/>
                </a:solidFill>
                <a:latin typeface="Arial" charset="0"/>
                <a:ea typeface="ＭＳ Ｐゴシック"/>
                <a:cs typeface="ＭＳ Ｐゴシック"/>
              </a:endParaRPr>
            </a:p>
          </p:txBody>
        </p:sp>
        <p:sp>
          <p:nvSpPr>
            <p:cNvPr id="490" name="Rectangle 1051"/>
            <p:cNvSpPr>
              <a:spLocks noChangeArrowheads="1"/>
            </p:cNvSpPr>
            <p:nvPr/>
          </p:nvSpPr>
          <p:spPr bwMode="auto">
            <a:xfrm>
              <a:off x="1485" y="3524"/>
              <a:ext cx="336" cy="51"/>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Communication</a:t>
              </a:r>
              <a:endParaRPr lang="en-US" sz="1800" b="0" kern="0" baseline="0">
                <a:solidFill>
                  <a:sysClr val="windowText" lastClr="000000"/>
                </a:solidFill>
                <a:latin typeface="Arial" charset="0"/>
                <a:ea typeface="ＭＳ Ｐゴシック"/>
                <a:cs typeface="ＭＳ Ｐゴシック"/>
              </a:endParaRPr>
            </a:p>
          </p:txBody>
        </p:sp>
        <p:sp>
          <p:nvSpPr>
            <p:cNvPr id="491" name="Rectangle 1052"/>
            <p:cNvSpPr>
              <a:spLocks noChangeArrowheads="1"/>
            </p:cNvSpPr>
            <p:nvPr/>
          </p:nvSpPr>
          <p:spPr bwMode="auto">
            <a:xfrm>
              <a:off x="2360" y="3705"/>
              <a:ext cx="3345" cy="375"/>
            </a:xfrm>
            <a:prstGeom prst="rect">
              <a:avLst/>
            </a:prstGeom>
            <a:solidFill>
              <a:srgbClr val="CCCDFF"/>
            </a:solidFill>
            <a:ln w="9525" algn="ctr">
              <a:no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492" name="Rectangle 1053"/>
            <p:cNvSpPr>
              <a:spLocks noChangeArrowheads="1"/>
            </p:cNvSpPr>
            <p:nvPr/>
          </p:nvSpPr>
          <p:spPr bwMode="auto">
            <a:xfrm>
              <a:off x="2360" y="3705"/>
              <a:ext cx="3345" cy="375"/>
            </a:xfrm>
            <a:prstGeom prst="rect">
              <a:avLst/>
            </a:prstGeom>
            <a:solidFill>
              <a:srgbClr val="6A6ACE"/>
            </a:solidFill>
            <a:ln w="9525" algn="ctr">
              <a:solidFill>
                <a:srgbClr val="000000"/>
              </a:solidFill>
              <a:miter lim="800000"/>
              <a:headEnd/>
              <a:tailEnd/>
            </a:ln>
          </p:spPr>
          <p:txBody>
            <a:bodyPr/>
            <a:lstStyle/>
            <a:p>
              <a:pPr fontAlgn="auto">
                <a:lnSpc>
                  <a:spcPct val="80000"/>
                </a:lnSpc>
                <a:spcBef>
                  <a:spcPts val="0"/>
                </a:spcBef>
                <a:spcAft>
                  <a:spcPts val="0"/>
                </a:spcAft>
                <a:defRPr/>
              </a:pPr>
              <a:endParaRPr lang="en-US" sz="3200" kern="0" baseline="0">
                <a:solidFill>
                  <a:sysClr val="windowText" lastClr="000000"/>
                </a:solidFill>
                <a:latin typeface="Arial" charset="0"/>
                <a:ea typeface="ＭＳ Ｐゴシック"/>
                <a:cs typeface="ＭＳ Ｐゴシック"/>
              </a:endParaRPr>
            </a:p>
          </p:txBody>
        </p:sp>
        <p:sp>
          <p:nvSpPr>
            <p:cNvPr id="493" name="Rectangle 1054"/>
            <p:cNvSpPr>
              <a:spLocks noChangeArrowheads="1"/>
            </p:cNvSpPr>
            <p:nvPr/>
          </p:nvSpPr>
          <p:spPr bwMode="auto">
            <a:xfrm>
              <a:off x="3476" y="3729"/>
              <a:ext cx="40" cy="75"/>
            </a:xfrm>
            <a:prstGeom prst="rect">
              <a:avLst/>
            </a:prstGeom>
            <a:noFill/>
            <a:ln w="9525" algn="ctr">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8</a:t>
              </a:r>
            </a:p>
          </p:txBody>
        </p:sp>
        <p:sp>
          <p:nvSpPr>
            <p:cNvPr id="494" name="Rectangle 1055"/>
            <p:cNvSpPr>
              <a:spLocks noChangeArrowheads="1"/>
            </p:cNvSpPr>
            <p:nvPr/>
          </p:nvSpPr>
          <p:spPr bwMode="auto">
            <a:xfrm>
              <a:off x="3515" y="3718"/>
              <a:ext cx="40" cy="75"/>
            </a:xfrm>
            <a:prstGeom prst="rect">
              <a:avLst/>
            </a:prstGeom>
            <a:noFill/>
            <a:ln w="9525" algn="ctr">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 </a:t>
              </a:r>
            </a:p>
          </p:txBody>
        </p:sp>
        <p:sp>
          <p:nvSpPr>
            <p:cNvPr id="495" name="Rectangle 1056"/>
            <p:cNvSpPr>
              <a:spLocks noChangeArrowheads="1"/>
            </p:cNvSpPr>
            <p:nvPr/>
          </p:nvSpPr>
          <p:spPr bwMode="auto">
            <a:xfrm>
              <a:off x="3554" y="3729"/>
              <a:ext cx="1060" cy="75"/>
            </a:xfrm>
            <a:prstGeom prst="rect">
              <a:avLst/>
            </a:prstGeom>
            <a:noFill/>
            <a:ln w="9525" algn="ctr">
              <a:noFill/>
              <a:miter lim="800000"/>
              <a:headEnd/>
              <a:tailEnd/>
            </a:ln>
          </p:spPr>
          <p:txBody>
            <a:bodyPr wrap="none" lIns="0" tIns="0" rIns="0" bIns="0">
              <a:spAutoFit/>
            </a:bodyPr>
            <a:lstStyle/>
            <a:p>
              <a:pPr eaLnBrk="1" fontAlgn="auto" hangingPunct="1">
                <a:spcBef>
                  <a:spcPts val="0"/>
                </a:spcBef>
                <a:spcAft>
                  <a:spcPts val="0"/>
                </a:spcAft>
                <a:defRPr/>
              </a:pPr>
              <a:r>
                <a:rPr lang="en-US" sz="900" kern="0" baseline="0">
                  <a:solidFill>
                    <a:srgbClr val="FFFFFF"/>
                  </a:solidFill>
                  <a:latin typeface="Arial" charset="0"/>
                  <a:ea typeface="ＭＳ Ｐゴシック"/>
                  <a:cs typeface="ＭＳ Ｐゴシック"/>
                </a:rPr>
                <a:t>Manage the Intelligent Network</a:t>
              </a:r>
            </a:p>
          </p:txBody>
        </p:sp>
        <p:sp>
          <p:nvSpPr>
            <p:cNvPr id="496" name="Freeform 1057"/>
            <p:cNvSpPr>
              <a:spLocks/>
            </p:cNvSpPr>
            <p:nvPr/>
          </p:nvSpPr>
          <p:spPr bwMode="auto">
            <a:xfrm>
              <a:off x="2451" y="3835"/>
              <a:ext cx="362" cy="167"/>
            </a:xfrm>
            <a:custGeom>
              <a:avLst/>
              <a:gdLst>
                <a:gd name="T0" fmla="*/ 113 w 1088"/>
                <a:gd name="T1" fmla="*/ 41 h 688"/>
                <a:gd name="T2" fmla="*/ 114 w 1088"/>
                <a:gd name="T3" fmla="*/ 41 h 688"/>
                <a:gd name="T4" fmla="*/ 116 w 1088"/>
                <a:gd name="T5" fmla="*/ 40 h 688"/>
                <a:gd name="T6" fmla="*/ 117 w 1088"/>
                <a:gd name="T7" fmla="*/ 40 h 688"/>
                <a:gd name="T8" fmla="*/ 118 w 1088"/>
                <a:gd name="T9" fmla="*/ 39 h 688"/>
                <a:gd name="T10" fmla="*/ 119 w 1088"/>
                <a:gd name="T11" fmla="*/ 39 h 688"/>
                <a:gd name="T12" fmla="*/ 120 w 1088"/>
                <a:gd name="T13" fmla="*/ 38 h 688"/>
                <a:gd name="T14" fmla="*/ 120 w 1088"/>
                <a:gd name="T15" fmla="*/ 37 h 688"/>
                <a:gd name="T16" fmla="*/ 120 w 1088"/>
                <a:gd name="T17" fmla="*/ 36 h 688"/>
                <a:gd name="T18" fmla="*/ 120 w 1088"/>
                <a:gd name="T19" fmla="*/ 4 h 688"/>
                <a:gd name="T20" fmla="*/ 120 w 1088"/>
                <a:gd name="T21" fmla="*/ 3 h 688"/>
                <a:gd name="T22" fmla="*/ 120 w 1088"/>
                <a:gd name="T23" fmla="*/ 2 h 688"/>
                <a:gd name="T24" fmla="*/ 119 w 1088"/>
                <a:gd name="T25" fmla="*/ 2 h 688"/>
                <a:gd name="T26" fmla="*/ 118 w 1088"/>
                <a:gd name="T27" fmla="*/ 1 h 688"/>
                <a:gd name="T28" fmla="*/ 117 w 1088"/>
                <a:gd name="T29" fmla="*/ 1 h 688"/>
                <a:gd name="T30" fmla="*/ 116 w 1088"/>
                <a:gd name="T31" fmla="*/ 0 h 688"/>
                <a:gd name="T32" fmla="*/ 114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1 w 1088"/>
                <a:gd name="T57" fmla="*/ 38 h 688"/>
                <a:gd name="T58" fmla="*/ 1 w 1088"/>
                <a:gd name="T59" fmla="*/ 39 h 688"/>
                <a:gd name="T60" fmla="*/ 2 w 1088"/>
                <a:gd name="T61" fmla="*/ 39 h 688"/>
                <a:gd name="T62" fmla="*/ 3 w 1088"/>
                <a:gd name="T63" fmla="*/ 40 h 688"/>
                <a:gd name="T64" fmla="*/ 5 w 1088"/>
                <a:gd name="T65" fmla="*/ 40 h 688"/>
                <a:gd name="T66" fmla="*/ 6 w 1088"/>
                <a:gd name="T67" fmla="*/ 41 h 688"/>
                <a:gd name="T68" fmla="*/ 7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7" y="688"/>
                  </a:moveTo>
                  <a:lnTo>
                    <a:pt x="1020" y="688"/>
                  </a:lnTo>
                  <a:lnTo>
                    <a:pt x="1027" y="687"/>
                  </a:lnTo>
                  <a:lnTo>
                    <a:pt x="1034" y="686"/>
                  </a:lnTo>
                  <a:lnTo>
                    <a:pt x="1040" y="685"/>
                  </a:lnTo>
                  <a:lnTo>
                    <a:pt x="1046" y="683"/>
                  </a:lnTo>
                  <a:lnTo>
                    <a:pt x="1053" y="679"/>
                  </a:lnTo>
                  <a:lnTo>
                    <a:pt x="1059" y="676"/>
                  </a:lnTo>
                  <a:lnTo>
                    <a:pt x="1063" y="672"/>
                  </a:lnTo>
                  <a:lnTo>
                    <a:pt x="1068" y="668"/>
                  </a:lnTo>
                  <a:lnTo>
                    <a:pt x="1072" y="663"/>
                  </a:lnTo>
                  <a:lnTo>
                    <a:pt x="1077" y="658"/>
                  </a:lnTo>
                  <a:lnTo>
                    <a:pt x="1080" y="652"/>
                  </a:lnTo>
                  <a:lnTo>
                    <a:pt x="1082" y="646"/>
                  </a:lnTo>
                  <a:lnTo>
                    <a:pt x="1085" y="640"/>
                  </a:lnTo>
                  <a:lnTo>
                    <a:pt x="1087" y="634"/>
                  </a:lnTo>
                  <a:lnTo>
                    <a:pt x="1088" y="627"/>
                  </a:lnTo>
                  <a:lnTo>
                    <a:pt x="1088" y="620"/>
                  </a:lnTo>
                  <a:lnTo>
                    <a:pt x="1088" y="68"/>
                  </a:lnTo>
                  <a:lnTo>
                    <a:pt x="1088" y="60"/>
                  </a:lnTo>
                  <a:lnTo>
                    <a:pt x="1087" y="53"/>
                  </a:lnTo>
                  <a:lnTo>
                    <a:pt x="1085" y="47"/>
                  </a:lnTo>
                  <a:lnTo>
                    <a:pt x="1082" y="41"/>
                  </a:lnTo>
                  <a:lnTo>
                    <a:pt x="1080" y="35"/>
                  </a:lnTo>
                  <a:lnTo>
                    <a:pt x="1077" y="29"/>
                  </a:lnTo>
                  <a:lnTo>
                    <a:pt x="1072" y="24"/>
                  </a:lnTo>
                  <a:lnTo>
                    <a:pt x="1068" y="19"/>
                  </a:lnTo>
                  <a:lnTo>
                    <a:pt x="1063" y="15"/>
                  </a:lnTo>
                  <a:lnTo>
                    <a:pt x="1059" y="11"/>
                  </a:lnTo>
                  <a:lnTo>
                    <a:pt x="1053" y="8"/>
                  </a:lnTo>
                  <a:lnTo>
                    <a:pt x="1046" y="4"/>
                  </a:lnTo>
                  <a:lnTo>
                    <a:pt x="1040" y="2"/>
                  </a:lnTo>
                  <a:lnTo>
                    <a:pt x="1034" y="1"/>
                  </a:lnTo>
                  <a:lnTo>
                    <a:pt x="1027" y="0"/>
                  </a:lnTo>
                  <a:lnTo>
                    <a:pt x="1020" y="0"/>
                  </a:lnTo>
                  <a:lnTo>
                    <a:pt x="67" y="0"/>
                  </a:lnTo>
                  <a:lnTo>
                    <a:pt x="61" y="0"/>
                  </a:lnTo>
                  <a:lnTo>
                    <a:pt x="54" y="1"/>
                  </a:lnTo>
                  <a:lnTo>
                    <a:pt x="47" y="2"/>
                  </a:lnTo>
                  <a:lnTo>
                    <a:pt x="41" y="4"/>
                  </a:lnTo>
                  <a:lnTo>
                    <a:pt x="35" y="8"/>
                  </a:lnTo>
                  <a:lnTo>
                    <a:pt x="29" y="11"/>
                  </a:lnTo>
                  <a:lnTo>
                    <a:pt x="24" y="15"/>
                  </a:lnTo>
                  <a:lnTo>
                    <a:pt x="19" y="19"/>
                  </a:lnTo>
                  <a:lnTo>
                    <a:pt x="15" y="24"/>
                  </a:lnTo>
                  <a:lnTo>
                    <a:pt x="11" y="29"/>
                  </a:lnTo>
                  <a:lnTo>
                    <a:pt x="8" y="35"/>
                  </a:lnTo>
                  <a:lnTo>
                    <a:pt x="5" y="41"/>
                  </a:lnTo>
                  <a:lnTo>
                    <a:pt x="3" y="47"/>
                  </a:lnTo>
                  <a:lnTo>
                    <a:pt x="1" y="53"/>
                  </a:lnTo>
                  <a:lnTo>
                    <a:pt x="0" y="60"/>
                  </a:lnTo>
                  <a:lnTo>
                    <a:pt x="0" y="68"/>
                  </a:lnTo>
                  <a:lnTo>
                    <a:pt x="0" y="620"/>
                  </a:lnTo>
                  <a:lnTo>
                    <a:pt x="0" y="627"/>
                  </a:lnTo>
                  <a:lnTo>
                    <a:pt x="1" y="634"/>
                  </a:lnTo>
                  <a:lnTo>
                    <a:pt x="3" y="640"/>
                  </a:lnTo>
                  <a:lnTo>
                    <a:pt x="5" y="646"/>
                  </a:lnTo>
                  <a:lnTo>
                    <a:pt x="8" y="652"/>
                  </a:lnTo>
                  <a:lnTo>
                    <a:pt x="11" y="658"/>
                  </a:lnTo>
                  <a:lnTo>
                    <a:pt x="15" y="663"/>
                  </a:lnTo>
                  <a:lnTo>
                    <a:pt x="19" y="668"/>
                  </a:lnTo>
                  <a:lnTo>
                    <a:pt x="24" y="672"/>
                  </a:lnTo>
                  <a:lnTo>
                    <a:pt x="29" y="676"/>
                  </a:lnTo>
                  <a:lnTo>
                    <a:pt x="35" y="679"/>
                  </a:lnTo>
                  <a:lnTo>
                    <a:pt x="41" y="683"/>
                  </a:lnTo>
                  <a:lnTo>
                    <a:pt x="47" y="685"/>
                  </a:lnTo>
                  <a:lnTo>
                    <a:pt x="54" y="686"/>
                  </a:lnTo>
                  <a:lnTo>
                    <a:pt x="61" y="687"/>
                  </a:lnTo>
                  <a:lnTo>
                    <a:pt x="67" y="688"/>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97" name="Freeform 1058"/>
            <p:cNvSpPr>
              <a:spLocks/>
            </p:cNvSpPr>
            <p:nvPr/>
          </p:nvSpPr>
          <p:spPr bwMode="auto">
            <a:xfrm>
              <a:off x="2451" y="3835"/>
              <a:ext cx="362" cy="167"/>
            </a:xfrm>
            <a:custGeom>
              <a:avLst/>
              <a:gdLst>
                <a:gd name="T0" fmla="*/ 113 w 1088"/>
                <a:gd name="T1" fmla="*/ 41 h 688"/>
                <a:gd name="T2" fmla="*/ 114 w 1088"/>
                <a:gd name="T3" fmla="*/ 41 h 688"/>
                <a:gd name="T4" fmla="*/ 116 w 1088"/>
                <a:gd name="T5" fmla="*/ 40 h 688"/>
                <a:gd name="T6" fmla="*/ 117 w 1088"/>
                <a:gd name="T7" fmla="*/ 40 h 688"/>
                <a:gd name="T8" fmla="*/ 118 w 1088"/>
                <a:gd name="T9" fmla="*/ 39 h 688"/>
                <a:gd name="T10" fmla="*/ 119 w 1088"/>
                <a:gd name="T11" fmla="*/ 39 h 688"/>
                <a:gd name="T12" fmla="*/ 120 w 1088"/>
                <a:gd name="T13" fmla="*/ 38 h 688"/>
                <a:gd name="T14" fmla="*/ 120 w 1088"/>
                <a:gd name="T15" fmla="*/ 37 h 688"/>
                <a:gd name="T16" fmla="*/ 120 w 1088"/>
                <a:gd name="T17" fmla="*/ 36 h 688"/>
                <a:gd name="T18" fmla="*/ 120 w 1088"/>
                <a:gd name="T19" fmla="*/ 4 h 688"/>
                <a:gd name="T20" fmla="*/ 120 w 1088"/>
                <a:gd name="T21" fmla="*/ 3 h 688"/>
                <a:gd name="T22" fmla="*/ 120 w 1088"/>
                <a:gd name="T23" fmla="*/ 2 h 688"/>
                <a:gd name="T24" fmla="*/ 119 w 1088"/>
                <a:gd name="T25" fmla="*/ 2 h 688"/>
                <a:gd name="T26" fmla="*/ 118 w 1088"/>
                <a:gd name="T27" fmla="*/ 1 h 688"/>
                <a:gd name="T28" fmla="*/ 117 w 1088"/>
                <a:gd name="T29" fmla="*/ 1 h 688"/>
                <a:gd name="T30" fmla="*/ 116 w 1088"/>
                <a:gd name="T31" fmla="*/ 0 h 688"/>
                <a:gd name="T32" fmla="*/ 114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1 w 1088"/>
                <a:gd name="T57" fmla="*/ 38 h 688"/>
                <a:gd name="T58" fmla="*/ 1 w 1088"/>
                <a:gd name="T59" fmla="*/ 39 h 688"/>
                <a:gd name="T60" fmla="*/ 2 w 1088"/>
                <a:gd name="T61" fmla="*/ 39 h 688"/>
                <a:gd name="T62" fmla="*/ 3 w 1088"/>
                <a:gd name="T63" fmla="*/ 40 h 688"/>
                <a:gd name="T64" fmla="*/ 5 w 1088"/>
                <a:gd name="T65" fmla="*/ 40 h 688"/>
                <a:gd name="T66" fmla="*/ 6 w 1088"/>
                <a:gd name="T67" fmla="*/ 41 h 688"/>
                <a:gd name="T68" fmla="*/ 7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7" y="688"/>
                  </a:moveTo>
                  <a:lnTo>
                    <a:pt x="1020" y="688"/>
                  </a:lnTo>
                  <a:lnTo>
                    <a:pt x="1027" y="687"/>
                  </a:lnTo>
                  <a:lnTo>
                    <a:pt x="1034" y="686"/>
                  </a:lnTo>
                  <a:lnTo>
                    <a:pt x="1040" y="685"/>
                  </a:lnTo>
                  <a:lnTo>
                    <a:pt x="1046" y="683"/>
                  </a:lnTo>
                  <a:lnTo>
                    <a:pt x="1053" y="679"/>
                  </a:lnTo>
                  <a:lnTo>
                    <a:pt x="1059" y="676"/>
                  </a:lnTo>
                  <a:lnTo>
                    <a:pt x="1063" y="672"/>
                  </a:lnTo>
                  <a:lnTo>
                    <a:pt x="1068" y="668"/>
                  </a:lnTo>
                  <a:lnTo>
                    <a:pt x="1072" y="663"/>
                  </a:lnTo>
                  <a:lnTo>
                    <a:pt x="1077" y="658"/>
                  </a:lnTo>
                  <a:lnTo>
                    <a:pt x="1080" y="652"/>
                  </a:lnTo>
                  <a:lnTo>
                    <a:pt x="1082" y="646"/>
                  </a:lnTo>
                  <a:lnTo>
                    <a:pt x="1085" y="640"/>
                  </a:lnTo>
                  <a:lnTo>
                    <a:pt x="1087" y="634"/>
                  </a:lnTo>
                  <a:lnTo>
                    <a:pt x="1088" y="627"/>
                  </a:lnTo>
                  <a:lnTo>
                    <a:pt x="1088" y="620"/>
                  </a:lnTo>
                  <a:lnTo>
                    <a:pt x="1088" y="68"/>
                  </a:lnTo>
                  <a:lnTo>
                    <a:pt x="1088" y="60"/>
                  </a:lnTo>
                  <a:lnTo>
                    <a:pt x="1087" y="53"/>
                  </a:lnTo>
                  <a:lnTo>
                    <a:pt x="1085" y="47"/>
                  </a:lnTo>
                  <a:lnTo>
                    <a:pt x="1082" y="41"/>
                  </a:lnTo>
                  <a:lnTo>
                    <a:pt x="1080" y="35"/>
                  </a:lnTo>
                  <a:lnTo>
                    <a:pt x="1077" y="29"/>
                  </a:lnTo>
                  <a:lnTo>
                    <a:pt x="1072" y="24"/>
                  </a:lnTo>
                  <a:lnTo>
                    <a:pt x="1068" y="19"/>
                  </a:lnTo>
                  <a:lnTo>
                    <a:pt x="1063" y="15"/>
                  </a:lnTo>
                  <a:lnTo>
                    <a:pt x="1059" y="11"/>
                  </a:lnTo>
                  <a:lnTo>
                    <a:pt x="1053" y="8"/>
                  </a:lnTo>
                  <a:lnTo>
                    <a:pt x="1046" y="4"/>
                  </a:lnTo>
                  <a:lnTo>
                    <a:pt x="1040" y="2"/>
                  </a:lnTo>
                  <a:lnTo>
                    <a:pt x="1034" y="1"/>
                  </a:lnTo>
                  <a:lnTo>
                    <a:pt x="1027" y="0"/>
                  </a:lnTo>
                  <a:lnTo>
                    <a:pt x="1020" y="0"/>
                  </a:lnTo>
                  <a:lnTo>
                    <a:pt x="67" y="0"/>
                  </a:lnTo>
                  <a:lnTo>
                    <a:pt x="61" y="0"/>
                  </a:lnTo>
                  <a:lnTo>
                    <a:pt x="54" y="1"/>
                  </a:lnTo>
                  <a:lnTo>
                    <a:pt x="47" y="2"/>
                  </a:lnTo>
                  <a:lnTo>
                    <a:pt x="41" y="4"/>
                  </a:lnTo>
                  <a:lnTo>
                    <a:pt x="35" y="8"/>
                  </a:lnTo>
                  <a:lnTo>
                    <a:pt x="29" y="11"/>
                  </a:lnTo>
                  <a:lnTo>
                    <a:pt x="24" y="15"/>
                  </a:lnTo>
                  <a:lnTo>
                    <a:pt x="19" y="19"/>
                  </a:lnTo>
                  <a:lnTo>
                    <a:pt x="15" y="24"/>
                  </a:lnTo>
                  <a:lnTo>
                    <a:pt x="11" y="29"/>
                  </a:lnTo>
                  <a:lnTo>
                    <a:pt x="8" y="35"/>
                  </a:lnTo>
                  <a:lnTo>
                    <a:pt x="5" y="41"/>
                  </a:lnTo>
                  <a:lnTo>
                    <a:pt x="3" y="47"/>
                  </a:lnTo>
                  <a:lnTo>
                    <a:pt x="1" y="53"/>
                  </a:lnTo>
                  <a:lnTo>
                    <a:pt x="0" y="60"/>
                  </a:lnTo>
                  <a:lnTo>
                    <a:pt x="0" y="68"/>
                  </a:lnTo>
                  <a:lnTo>
                    <a:pt x="0" y="620"/>
                  </a:lnTo>
                  <a:lnTo>
                    <a:pt x="0" y="627"/>
                  </a:lnTo>
                  <a:lnTo>
                    <a:pt x="1" y="634"/>
                  </a:lnTo>
                  <a:lnTo>
                    <a:pt x="3" y="640"/>
                  </a:lnTo>
                  <a:lnTo>
                    <a:pt x="5" y="646"/>
                  </a:lnTo>
                  <a:lnTo>
                    <a:pt x="8" y="652"/>
                  </a:lnTo>
                  <a:lnTo>
                    <a:pt x="11" y="658"/>
                  </a:lnTo>
                  <a:lnTo>
                    <a:pt x="15" y="663"/>
                  </a:lnTo>
                  <a:lnTo>
                    <a:pt x="19" y="668"/>
                  </a:lnTo>
                  <a:lnTo>
                    <a:pt x="24" y="672"/>
                  </a:lnTo>
                  <a:lnTo>
                    <a:pt x="29" y="676"/>
                  </a:lnTo>
                  <a:lnTo>
                    <a:pt x="35" y="679"/>
                  </a:lnTo>
                  <a:lnTo>
                    <a:pt x="41" y="683"/>
                  </a:lnTo>
                  <a:lnTo>
                    <a:pt x="47" y="685"/>
                  </a:lnTo>
                  <a:lnTo>
                    <a:pt x="54" y="686"/>
                  </a:lnTo>
                  <a:lnTo>
                    <a:pt x="61" y="687"/>
                  </a:lnTo>
                  <a:lnTo>
                    <a:pt x="67"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498" name="Rectangle 1059"/>
            <p:cNvSpPr>
              <a:spLocks noChangeArrowheads="1"/>
            </p:cNvSpPr>
            <p:nvPr/>
          </p:nvSpPr>
          <p:spPr bwMode="auto">
            <a:xfrm>
              <a:off x="2559" y="3866"/>
              <a:ext cx="15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a:t>
              </a:r>
              <a:endParaRPr lang="en-US" sz="1800" b="0" kern="0" baseline="0">
                <a:solidFill>
                  <a:sysClr val="windowText" lastClr="000000"/>
                </a:solidFill>
                <a:latin typeface="Arial" charset="0"/>
                <a:ea typeface="ＭＳ Ｐゴシック"/>
                <a:cs typeface="ＭＳ Ｐゴシック"/>
              </a:endParaRPr>
            </a:p>
          </p:txBody>
        </p:sp>
        <p:sp>
          <p:nvSpPr>
            <p:cNvPr id="499" name="Rectangle 1060"/>
            <p:cNvSpPr>
              <a:spLocks noChangeArrowheads="1"/>
            </p:cNvSpPr>
            <p:nvPr/>
          </p:nvSpPr>
          <p:spPr bwMode="auto">
            <a:xfrm>
              <a:off x="2536" y="3901"/>
              <a:ext cx="20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Distributed </a:t>
              </a:r>
              <a:endParaRPr lang="en-US" sz="1800" b="0" kern="0" baseline="0">
                <a:solidFill>
                  <a:sysClr val="windowText" lastClr="000000"/>
                </a:solidFill>
                <a:latin typeface="Arial" charset="0"/>
                <a:ea typeface="ＭＳ Ｐゴシック"/>
                <a:cs typeface="ＭＳ Ｐゴシック"/>
              </a:endParaRPr>
            </a:p>
          </p:txBody>
        </p:sp>
        <p:sp>
          <p:nvSpPr>
            <p:cNvPr id="500" name="Rectangle 1061"/>
            <p:cNvSpPr>
              <a:spLocks noChangeArrowheads="1"/>
            </p:cNvSpPr>
            <p:nvPr/>
          </p:nvSpPr>
          <p:spPr bwMode="auto">
            <a:xfrm>
              <a:off x="2532" y="3936"/>
              <a:ext cx="19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Generation</a:t>
              </a:r>
              <a:endParaRPr lang="en-US" sz="1800" b="0" kern="0" baseline="0">
                <a:solidFill>
                  <a:sysClr val="windowText" lastClr="000000"/>
                </a:solidFill>
                <a:latin typeface="Arial" charset="0"/>
                <a:ea typeface="ＭＳ Ｐゴシック"/>
                <a:cs typeface="ＭＳ Ｐゴシック"/>
              </a:endParaRPr>
            </a:p>
          </p:txBody>
        </p:sp>
        <p:sp>
          <p:nvSpPr>
            <p:cNvPr id="501" name="Freeform 1062"/>
            <p:cNvSpPr>
              <a:spLocks/>
            </p:cNvSpPr>
            <p:nvPr/>
          </p:nvSpPr>
          <p:spPr bwMode="auto">
            <a:xfrm>
              <a:off x="2918" y="3835"/>
              <a:ext cx="362" cy="167"/>
            </a:xfrm>
            <a:custGeom>
              <a:avLst/>
              <a:gdLst>
                <a:gd name="T0" fmla="*/ 113 w 1088"/>
                <a:gd name="T1" fmla="*/ 41 h 688"/>
                <a:gd name="T2" fmla="*/ 114 w 1088"/>
                <a:gd name="T3" fmla="*/ 41 h 688"/>
                <a:gd name="T4" fmla="*/ 116 w 1088"/>
                <a:gd name="T5" fmla="*/ 40 h 688"/>
                <a:gd name="T6" fmla="*/ 117 w 1088"/>
                <a:gd name="T7" fmla="*/ 40 h 688"/>
                <a:gd name="T8" fmla="*/ 118 w 1088"/>
                <a:gd name="T9" fmla="*/ 39 h 688"/>
                <a:gd name="T10" fmla="*/ 119 w 1088"/>
                <a:gd name="T11" fmla="*/ 39 h 688"/>
                <a:gd name="T12" fmla="*/ 120 w 1088"/>
                <a:gd name="T13" fmla="*/ 38 h 688"/>
                <a:gd name="T14" fmla="*/ 120 w 1088"/>
                <a:gd name="T15" fmla="*/ 37 h 688"/>
                <a:gd name="T16" fmla="*/ 120 w 1088"/>
                <a:gd name="T17" fmla="*/ 36 h 688"/>
                <a:gd name="T18" fmla="*/ 120 w 1088"/>
                <a:gd name="T19" fmla="*/ 4 h 688"/>
                <a:gd name="T20" fmla="*/ 120 w 1088"/>
                <a:gd name="T21" fmla="*/ 3 h 688"/>
                <a:gd name="T22" fmla="*/ 120 w 1088"/>
                <a:gd name="T23" fmla="*/ 2 h 688"/>
                <a:gd name="T24" fmla="*/ 119 w 1088"/>
                <a:gd name="T25" fmla="*/ 2 h 688"/>
                <a:gd name="T26" fmla="*/ 118 w 1088"/>
                <a:gd name="T27" fmla="*/ 1 h 688"/>
                <a:gd name="T28" fmla="*/ 117 w 1088"/>
                <a:gd name="T29" fmla="*/ 1 h 688"/>
                <a:gd name="T30" fmla="*/ 116 w 1088"/>
                <a:gd name="T31" fmla="*/ 0 h 688"/>
                <a:gd name="T32" fmla="*/ 114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1 w 1088"/>
                <a:gd name="T57" fmla="*/ 38 h 688"/>
                <a:gd name="T58" fmla="*/ 1 w 1088"/>
                <a:gd name="T59" fmla="*/ 39 h 688"/>
                <a:gd name="T60" fmla="*/ 2 w 1088"/>
                <a:gd name="T61" fmla="*/ 39 h 688"/>
                <a:gd name="T62" fmla="*/ 3 w 1088"/>
                <a:gd name="T63" fmla="*/ 40 h 688"/>
                <a:gd name="T64" fmla="*/ 5 w 1088"/>
                <a:gd name="T65" fmla="*/ 40 h 688"/>
                <a:gd name="T66" fmla="*/ 6 w 1088"/>
                <a:gd name="T67" fmla="*/ 41 h 688"/>
                <a:gd name="T68" fmla="*/ 8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8" y="688"/>
                  </a:moveTo>
                  <a:lnTo>
                    <a:pt x="1021" y="688"/>
                  </a:lnTo>
                  <a:lnTo>
                    <a:pt x="1027" y="687"/>
                  </a:lnTo>
                  <a:lnTo>
                    <a:pt x="1034" y="686"/>
                  </a:lnTo>
                  <a:lnTo>
                    <a:pt x="1040" y="685"/>
                  </a:lnTo>
                  <a:lnTo>
                    <a:pt x="1047" y="683"/>
                  </a:lnTo>
                  <a:lnTo>
                    <a:pt x="1052" y="679"/>
                  </a:lnTo>
                  <a:lnTo>
                    <a:pt x="1058" y="676"/>
                  </a:lnTo>
                  <a:lnTo>
                    <a:pt x="1063" y="672"/>
                  </a:lnTo>
                  <a:lnTo>
                    <a:pt x="1068" y="668"/>
                  </a:lnTo>
                  <a:lnTo>
                    <a:pt x="1073" y="663"/>
                  </a:lnTo>
                  <a:lnTo>
                    <a:pt x="1076" y="658"/>
                  </a:lnTo>
                  <a:lnTo>
                    <a:pt x="1079" y="652"/>
                  </a:lnTo>
                  <a:lnTo>
                    <a:pt x="1083" y="646"/>
                  </a:lnTo>
                  <a:lnTo>
                    <a:pt x="1085" y="640"/>
                  </a:lnTo>
                  <a:lnTo>
                    <a:pt x="1086" y="634"/>
                  </a:lnTo>
                  <a:lnTo>
                    <a:pt x="1087" y="627"/>
                  </a:lnTo>
                  <a:lnTo>
                    <a:pt x="1088" y="620"/>
                  </a:lnTo>
                  <a:lnTo>
                    <a:pt x="1088" y="68"/>
                  </a:lnTo>
                  <a:lnTo>
                    <a:pt x="1087" y="60"/>
                  </a:lnTo>
                  <a:lnTo>
                    <a:pt x="1086" y="53"/>
                  </a:lnTo>
                  <a:lnTo>
                    <a:pt x="1085" y="47"/>
                  </a:lnTo>
                  <a:lnTo>
                    <a:pt x="1083" y="41"/>
                  </a:lnTo>
                  <a:lnTo>
                    <a:pt x="1079" y="35"/>
                  </a:lnTo>
                  <a:lnTo>
                    <a:pt x="1076" y="29"/>
                  </a:lnTo>
                  <a:lnTo>
                    <a:pt x="1073" y="24"/>
                  </a:lnTo>
                  <a:lnTo>
                    <a:pt x="1068" y="19"/>
                  </a:lnTo>
                  <a:lnTo>
                    <a:pt x="1063" y="15"/>
                  </a:lnTo>
                  <a:lnTo>
                    <a:pt x="1058" y="11"/>
                  </a:lnTo>
                  <a:lnTo>
                    <a:pt x="1052" y="8"/>
                  </a:lnTo>
                  <a:lnTo>
                    <a:pt x="1047" y="4"/>
                  </a:lnTo>
                  <a:lnTo>
                    <a:pt x="1040" y="2"/>
                  </a:lnTo>
                  <a:lnTo>
                    <a:pt x="1034" y="1"/>
                  </a:lnTo>
                  <a:lnTo>
                    <a:pt x="1027" y="0"/>
                  </a:lnTo>
                  <a:lnTo>
                    <a:pt x="1021" y="0"/>
                  </a:lnTo>
                  <a:lnTo>
                    <a:pt x="68" y="0"/>
                  </a:lnTo>
                  <a:lnTo>
                    <a:pt x="60" y="0"/>
                  </a:lnTo>
                  <a:lnTo>
                    <a:pt x="53" y="1"/>
                  </a:lnTo>
                  <a:lnTo>
                    <a:pt x="47" y="2"/>
                  </a:lnTo>
                  <a:lnTo>
                    <a:pt x="41" y="4"/>
                  </a:lnTo>
                  <a:lnTo>
                    <a:pt x="35" y="8"/>
                  </a:lnTo>
                  <a:lnTo>
                    <a:pt x="29" y="11"/>
                  </a:lnTo>
                  <a:lnTo>
                    <a:pt x="24" y="15"/>
                  </a:lnTo>
                  <a:lnTo>
                    <a:pt x="19" y="19"/>
                  </a:lnTo>
                  <a:lnTo>
                    <a:pt x="15" y="24"/>
                  </a:lnTo>
                  <a:lnTo>
                    <a:pt x="11" y="29"/>
                  </a:lnTo>
                  <a:lnTo>
                    <a:pt x="8" y="35"/>
                  </a:lnTo>
                  <a:lnTo>
                    <a:pt x="5" y="41"/>
                  </a:lnTo>
                  <a:lnTo>
                    <a:pt x="2" y="47"/>
                  </a:lnTo>
                  <a:lnTo>
                    <a:pt x="1" y="53"/>
                  </a:lnTo>
                  <a:lnTo>
                    <a:pt x="0" y="60"/>
                  </a:lnTo>
                  <a:lnTo>
                    <a:pt x="0" y="68"/>
                  </a:lnTo>
                  <a:lnTo>
                    <a:pt x="0" y="620"/>
                  </a:lnTo>
                  <a:lnTo>
                    <a:pt x="0" y="627"/>
                  </a:lnTo>
                  <a:lnTo>
                    <a:pt x="1" y="634"/>
                  </a:lnTo>
                  <a:lnTo>
                    <a:pt x="2" y="640"/>
                  </a:lnTo>
                  <a:lnTo>
                    <a:pt x="5" y="646"/>
                  </a:lnTo>
                  <a:lnTo>
                    <a:pt x="8" y="652"/>
                  </a:lnTo>
                  <a:lnTo>
                    <a:pt x="11" y="658"/>
                  </a:lnTo>
                  <a:lnTo>
                    <a:pt x="15" y="663"/>
                  </a:lnTo>
                  <a:lnTo>
                    <a:pt x="19" y="668"/>
                  </a:lnTo>
                  <a:lnTo>
                    <a:pt x="24" y="672"/>
                  </a:lnTo>
                  <a:lnTo>
                    <a:pt x="29" y="676"/>
                  </a:lnTo>
                  <a:lnTo>
                    <a:pt x="35" y="679"/>
                  </a:lnTo>
                  <a:lnTo>
                    <a:pt x="41" y="683"/>
                  </a:lnTo>
                  <a:lnTo>
                    <a:pt x="47" y="685"/>
                  </a:lnTo>
                  <a:lnTo>
                    <a:pt x="53" y="686"/>
                  </a:lnTo>
                  <a:lnTo>
                    <a:pt x="60" y="687"/>
                  </a:lnTo>
                  <a:lnTo>
                    <a:pt x="68" y="688"/>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02" name="Freeform 1063"/>
            <p:cNvSpPr>
              <a:spLocks/>
            </p:cNvSpPr>
            <p:nvPr/>
          </p:nvSpPr>
          <p:spPr bwMode="auto">
            <a:xfrm>
              <a:off x="2918" y="3835"/>
              <a:ext cx="362" cy="167"/>
            </a:xfrm>
            <a:custGeom>
              <a:avLst/>
              <a:gdLst>
                <a:gd name="T0" fmla="*/ 113 w 1088"/>
                <a:gd name="T1" fmla="*/ 41 h 688"/>
                <a:gd name="T2" fmla="*/ 114 w 1088"/>
                <a:gd name="T3" fmla="*/ 41 h 688"/>
                <a:gd name="T4" fmla="*/ 116 w 1088"/>
                <a:gd name="T5" fmla="*/ 40 h 688"/>
                <a:gd name="T6" fmla="*/ 117 w 1088"/>
                <a:gd name="T7" fmla="*/ 40 h 688"/>
                <a:gd name="T8" fmla="*/ 118 w 1088"/>
                <a:gd name="T9" fmla="*/ 39 h 688"/>
                <a:gd name="T10" fmla="*/ 119 w 1088"/>
                <a:gd name="T11" fmla="*/ 39 h 688"/>
                <a:gd name="T12" fmla="*/ 120 w 1088"/>
                <a:gd name="T13" fmla="*/ 38 h 688"/>
                <a:gd name="T14" fmla="*/ 120 w 1088"/>
                <a:gd name="T15" fmla="*/ 37 h 688"/>
                <a:gd name="T16" fmla="*/ 120 w 1088"/>
                <a:gd name="T17" fmla="*/ 36 h 688"/>
                <a:gd name="T18" fmla="*/ 120 w 1088"/>
                <a:gd name="T19" fmla="*/ 4 h 688"/>
                <a:gd name="T20" fmla="*/ 120 w 1088"/>
                <a:gd name="T21" fmla="*/ 3 h 688"/>
                <a:gd name="T22" fmla="*/ 120 w 1088"/>
                <a:gd name="T23" fmla="*/ 2 h 688"/>
                <a:gd name="T24" fmla="*/ 119 w 1088"/>
                <a:gd name="T25" fmla="*/ 2 h 688"/>
                <a:gd name="T26" fmla="*/ 118 w 1088"/>
                <a:gd name="T27" fmla="*/ 1 h 688"/>
                <a:gd name="T28" fmla="*/ 117 w 1088"/>
                <a:gd name="T29" fmla="*/ 1 h 688"/>
                <a:gd name="T30" fmla="*/ 116 w 1088"/>
                <a:gd name="T31" fmla="*/ 0 h 688"/>
                <a:gd name="T32" fmla="*/ 114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1 w 1088"/>
                <a:gd name="T57" fmla="*/ 38 h 688"/>
                <a:gd name="T58" fmla="*/ 1 w 1088"/>
                <a:gd name="T59" fmla="*/ 39 h 688"/>
                <a:gd name="T60" fmla="*/ 2 w 1088"/>
                <a:gd name="T61" fmla="*/ 39 h 688"/>
                <a:gd name="T62" fmla="*/ 3 w 1088"/>
                <a:gd name="T63" fmla="*/ 40 h 688"/>
                <a:gd name="T64" fmla="*/ 5 w 1088"/>
                <a:gd name="T65" fmla="*/ 40 h 688"/>
                <a:gd name="T66" fmla="*/ 6 w 1088"/>
                <a:gd name="T67" fmla="*/ 41 h 688"/>
                <a:gd name="T68" fmla="*/ 8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8" y="688"/>
                  </a:moveTo>
                  <a:lnTo>
                    <a:pt x="1021" y="688"/>
                  </a:lnTo>
                  <a:lnTo>
                    <a:pt x="1027" y="687"/>
                  </a:lnTo>
                  <a:lnTo>
                    <a:pt x="1034" y="686"/>
                  </a:lnTo>
                  <a:lnTo>
                    <a:pt x="1040" y="685"/>
                  </a:lnTo>
                  <a:lnTo>
                    <a:pt x="1047" y="683"/>
                  </a:lnTo>
                  <a:lnTo>
                    <a:pt x="1052" y="679"/>
                  </a:lnTo>
                  <a:lnTo>
                    <a:pt x="1058" y="676"/>
                  </a:lnTo>
                  <a:lnTo>
                    <a:pt x="1063" y="672"/>
                  </a:lnTo>
                  <a:lnTo>
                    <a:pt x="1068" y="668"/>
                  </a:lnTo>
                  <a:lnTo>
                    <a:pt x="1073" y="663"/>
                  </a:lnTo>
                  <a:lnTo>
                    <a:pt x="1076" y="658"/>
                  </a:lnTo>
                  <a:lnTo>
                    <a:pt x="1079" y="652"/>
                  </a:lnTo>
                  <a:lnTo>
                    <a:pt x="1083" y="646"/>
                  </a:lnTo>
                  <a:lnTo>
                    <a:pt x="1085" y="640"/>
                  </a:lnTo>
                  <a:lnTo>
                    <a:pt x="1086" y="634"/>
                  </a:lnTo>
                  <a:lnTo>
                    <a:pt x="1087" y="627"/>
                  </a:lnTo>
                  <a:lnTo>
                    <a:pt x="1088" y="620"/>
                  </a:lnTo>
                  <a:lnTo>
                    <a:pt x="1088" y="68"/>
                  </a:lnTo>
                  <a:lnTo>
                    <a:pt x="1087" y="60"/>
                  </a:lnTo>
                  <a:lnTo>
                    <a:pt x="1086" y="53"/>
                  </a:lnTo>
                  <a:lnTo>
                    <a:pt x="1085" y="47"/>
                  </a:lnTo>
                  <a:lnTo>
                    <a:pt x="1083" y="41"/>
                  </a:lnTo>
                  <a:lnTo>
                    <a:pt x="1079" y="35"/>
                  </a:lnTo>
                  <a:lnTo>
                    <a:pt x="1076" y="29"/>
                  </a:lnTo>
                  <a:lnTo>
                    <a:pt x="1073" y="24"/>
                  </a:lnTo>
                  <a:lnTo>
                    <a:pt x="1068" y="19"/>
                  </a:lnTo>
                  <a:lnTo>
                    <a:pt x="1063" y="15"/>
                  </a:lnTo>
                  <a:lnTo>
                    <a:pt x="1058" y="11"/>
                  </a:lnTo>
                  <a:lnTo>
                    <a:pt x="1052" y="8"/>
                  </a:lnTo>
                  <a:lnTo>
                    <a:pt x="1047" y="4"/>
                  </a:lnTo>
                  <a:lnTo>
                    <a:pt x="1040" y="2"/>
                  </a:lnTo>
                  <a:lnTo>
                    <a:pt x="1034" y="1"/>
                  </a:lnTo>
                  <a:lnTo>
                    <a:pt x="1027" y="0"/>
                  </a:lnTo>
                  <a:lnTo>
                    <a:pt x="1021" y="0"/>
                  </a:lnTo>
                  <a:lnTo>
                    <a:pt x="68" y="0"/>
                  </a:lnTo>
                  <a:lnTo>
                    <a:pt x="60" y="0"/>
                  </a:lnTo>
                  <a:lnTo>
                    <a:pt x="53" y="1"/>
                  </a:lnTo>
                  <a:lnTo>
                    <a:pt x="47" y="2"/>
                  </a:lnTo>
                  <a:lnTo>
                    <a:pt x="41" y="4"/>
                  </a:lnTo>
                  <a:lnTo>
                    <a:pt x="35" y="8"/>
                  </a:lnTo>
                  <a:lnTo>
                    <a:pt x="29" y="11"/>
                  </a:lnTo>
                  <a:lnTo>
                    <a:pt x="24" y="15"/>
                  </a:lnTo>
                  <a:lnTo>
                    <a:pt x="19" y="19"/>
                  </a:lnTo>
                  <a:lnTo>
                    <a:pt x="15" y="24"/>
                  </a:lnTo>
                  <a:lnTo>
                    <a:pt x="11" y="29"/>
                  </a:lnTo>
                  <a:lnTo>
                    <a:pt x="8" y="35"/>
                  </a:lnTo>
                  <a:lnTo>
                    <a:pt x="5" y="41"/>
                  </a:lnTo>
                  <a:lnTo>
                    <a:pt x="2" y="47"/>
                  </a:lnTo>
                  <a:lnTo>
                    <a:pt x="1" y="53"/>
                  </a:lnTo>
                  <a:lnTo>
                    <a:pt x="0" y="60"/>
                  </a:lnTo>
                  <a:lnTo>
                    <a:pt x="0" y="68"/>
                  </a:lnTo>
                  <a:lnTo>
                    <a:pt x="0" y="620"/>
                  </a:lnTo>
                  <a:lnTo>
                    <a:pt x="0" y="627"/>
                  </a:lnTo>
                  <a:lnTo>
                    <a:pt x="1" y="634"/>
                  </a:lnTo>
                  <a:lnTo>
                    <a:pt x="2" y="640"/>
                  </a:lnTo>
                  <a:lnTo>
                    <a:pt x="5" y="646"/>
                  </a:lnTo>
                  <a:lnTo>
                    <a:pt x="8" y="652"/>
                  </a:lnTo>
                  <a:lnTo>
                    <a:pt x="11" y="658"/>
                  </a:lnTo>
                  <a:lnTo>
                    <a:pt x="15" y="663"/>
                  </a:lnTo>
                  <a:lnTo>
                    <a:pt x="19" y="668"/>
                  </a:lnTo>
                  <a:lnTo>
                    <a:pt x="24" y="672"/>
                  </a:lnTo>
                  <a:lnTo>
                    <a:pt x="29" y="676"/>
                  </a:lnTo>
                  <a:lnTo>
                    <a:pt x="35" y="679"/>
                  </a:lnTo>
                  <a:lnTo>
                    <a:pt x="41" y="683"/>
                  </a:lnTo>
                  <a:lnTo>
                    <a:pt x="47" y="685"/>
                  </a:lnTo>
                  <a:lnTo>
                    <a:pt x="53" y="686"/>
                  </a:lnTo>
                  <a:lnTo>
                    <a:pt x="60" y="687"/>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03" name="Rectangle 1064"/>
            <p:cNvSpPr>
              <a:spLocks noChangeArrowheads="1"/>
            </p:cNvSpPr>
            <p:nvPr/>
          </p:nvSpPr>
          <p:spPr bwMode="auto">
            <a:xfrm>
              <a:off x="2945" y="3883"/>
              <a:ext cx="31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Demand </a:t>
              </a:r>
              <a:endParaRPr lang="en-US" sz="1800" b="0" kern="0" baseline="0">
                <a:solidFill>
                  <a:sysClr val="windowText" lastClr="000000"/>
                </a:solidFill>
                <a:latin typeface="Arial" charset="0"/>
                <a:ea typeface="ＭＳ Ｐゴシック"/>
                <a:cs typeface="ＭＳ Ｐゴシック"/>
              </a:endParaRPr>
            </a:p>
          </p:txBody>
        </p:sp>
        <p:sp>
          <p:nvSpPr>
            <p:cNvPr id="504" name="Rectangle 1065"/>
            <p:cNvSpPr>
              <a:spLocks noChangeArrowheads="1"/>
            </p:cNvSpPr>
            <p:nvPr/>
          </p:nvSpPr>
          <p:spPr bwMode="auto">
            <a:xfrm>
              <a:off x="3008" y="3918"/>
              <a:ext cx="17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Response</a:t>
              </a:r>
              <a:endParaRPr lang="en-US" sz="1800" b="0" kern="0" baseline="0">
                <a:solidFill>
                  <a:sysClr val="windowText" lastClr="000000"/>
                </a:solidFill>
                <a:latin typeface="Arial" charset="0"/>
                <a:ea typeface="ＭＳ Ｐゴシック"/>
                <a:cs typeface="ＭＳ Ｐゴシック"/>
              </a:endParaRPr>
            </a:p>
          </p:txBody>
        </p:sp>
        <p:sp>
          <p:nvSpPr>
            <p:cNvPr id="505" name="Freeform 1066"/>
            <p:cNvSpPr>
              <a:spLocks/>
            </p:cNvSpPr>
            <p:nvPr/>
          </p:nvSpPr>
          <p:spPr bwMode="auto">
            <a:xfrm>
              <a:off x="3384" y="3835"/>
              <a:ext cx="363" cy="167"/>
            </a:xfrm>
            <a:custGeom>
              <a:avLst/>
              <a:gdLst>
                <a:gd name="T0" fmla="*/ 113 w 1089"/>
                <a:gd name="T1" fmla="*/ 41 h 688"/>
                <a:gd name="T2" fmla="*/ 115 w 1089"/>
                <a:gd name="T3" fmla="*/ 41 h 688"/>
                <a:gd name="T4" fmla="*/ 116 w 1089"/>
                <a:gd name="T5" fmla="*/ 40 h 688"/>
                <a:gd name="T6" fmla="*/ 118 w 1089"/>
                <a:gd name="T7" fmla="*/ 40 h 688"/>
                <a:gd name="T8" fmla="*/ 119 w 1089"/>
                <a:gd name="T9" fmla="*/ 39 h 688"/>
                <a:gd name="T10" fmla="*/ 120 w 1089"/>
                <a:gd name="T11" fmla="*/ 39 h 688"/>
                <a:gd name="T12" fmla="*/ 120 w 1089"/>
                <a:gd name="T13" fmla="*/ 38 h 688"/>
                <a:gd name="T14" fmla="*/ 121 w 1089"/>
                <a:gd name="T15" fmla="*/ 37 h 688"/>
                <a:gd name="T16" fmla="*/ 121 w 1089"/>
                <a:gd name="T17" fmla="*/ 36 h 688"/>
                <a:gd name="T18" fmla="*/ 121 w 1089"/>
                <a:gd name="T19" fmla="*/ 4 h 688"/>
                <a:gd name="T20" fmla="*/ 121 w 1089"/>
                <a:gd name="T21" fmla="*/ 3 h 688"/>
                <a:gd name="T22" fmla="*/ 120 w 1089"/>
                <a:gd name="T23" fmla="*/ 2 h 688"/>
                <a:gd name="T24" fmla="*/ 120 w 1089"/>
                <a:gd name="T25" fmla="*/ 2 h 688"/>
                <a:gd name="T26" fmla="*/ 119 w 1089"/>
                <a:gd name="T27" fmla="*/ 1 h 688"/>
                <a:gd name="T28" fmla="*/ 118 w 1089"/>
                <a:gd name="T29" fmla="*/ 1 h 688"/>
                <a:gd name="T30" fmla="*/ 116 w 1089"/>
                <a:gd name="T31" fmla="*/ 0 h 688"/>
                <a:gd name="T32" fmla="*/ 115 w 1089"/>
                <a:gd name="T33" fmla="*/ 0 h 688"/>
                <a:gd name="T34" fmla="*/ 113 w 1089"/>
                <a:gd name="T35" fmla="*/ 0 h 688"/>
                <a:gd name="T36" fmla="*/ 7 w 1089"/>
                <a:gd name="T37" fmla="*/ 0 h 688"/>
                <a:gd name="T38" fmla="*/ 5 w 1089"/>
                <a:gd name="T39" fmla="*/ 0 h 688"/>
                <a:gd name="T40" fmla="*/ 4 w 1089"/>
                <a:gd name="T41" fmla="*/ 0 h 688"/>
                <a:gd name="T42" fmla="*/ 3 w 1089"/>
                <a:gd name="T43" fmla="*/ 1 h 688"/>
                <a:gd name="T44" fmla="*/ 2 w 1089"/>
                <a:gd name="T45" fmla="*/ 1 h 688"/>
                <a:gd name="T46" fmla="*/ 1 w 1089"/>
                <a:gd name="T47" fmla="*/ 2 h 688"/>
                <a:gd name="T48" fmla="*/ 0 w 1089"/>
                <a:gd name="T49" fmla="*/ 3 h 688"/>
                <a:gd name="T50" fmla="*/ 0 w 1089"/>
                <a:gd name="T51" fmla="*/ 4 h 688"/>
                <a:gd name="T52" fmla="*/ 0 w 1089"/>
                <a:gd name="T53" fmla="*/ 36 h 688"/>
                <a:gd name="T54" fmla="*/ 0 w 1089"/>
                <a:gd name="T55" fmla="*/ 37 h 688"/>
                <a:gd name="T56" fmla="*/ 1 w 1089"/>
                <a:gd name="T57" fmla="*/ 38 h 688"/>
                <a:gd name="T58" fmla="*/ 1 w 1089"/>
                <a:gd name="T59" fmla="*/ 39 h 688"/>
                <a:gd name="T60" fmla="*/ 2 w 1089"/>
                <a:gd name="T61" fmla="*/ 39 h 688"/>
                <a:gd name="T62" fmla="*/ 3 w 1089"/>
                <a:gd name="T63" fmla="*/ 40 h 688"/>
                <a:gd name="T64" fmla="*/ 5 w 1089"/>
                <a:gd name="T65" fmla="*/ 40 h 688"/>
                <a:gd name="T66" fmla="*/ 6 w 1089"/>
                <a:gd name="T67" fmla="*/ 41 h 688"/>
                <a:gd name="T68" fmla="*/ 8 w 1089"/>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8"/>
                <a:gd name="T107" fmla="*/ 1089 w 1089"/>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8">
                  <a:moveTo>
                    <a:pt x="68" y="688"/>
                  </a:moveTo>
                  <a:lnTo>
                    <a:pt x="1021" y="688"/>
                  </a:lnTo>
                  <a:lnTo>
                    <a:pt x="1028" y="687"/>
                  </a:lnTo>
                  <a:lnTo>
                    <a:pt x="1034" y="686"/>
                  </a:lnTo>
                  <a:lnTo>
                    <a:pt x="1041" y="685"/>
                  </a:lnTo>
                  <a:lnTo>
                    <a:pt x="1047" y="683"/>
                  </a:lnTo>
                  <a:lnTo>
                    <a:pt x="1054" y="679"/>
                  </a:lnTo>
                  <a:lnTo>
                    <a:pt x="1059" y="676"/>
                  </a:lnTo>
                  <a:lnTo>
                    <a:pt x="1064" y="672"/>
                  </a:lnTo>
                  <a:lnTo>
                    <a:pt x="1068" y="668"/>
                  </a:lnTo>
                  <a:lnTo>
                    <a:pt x="1073" y="663"/>
                  </a:lnTo>
                  <a:lnTo>
                    <a:pt x="1077" y="658"/>
                  </a:lnTo>
                  <a:lnTo>
                    <a:pt x="1081" y="652"/>
                  </a:lnTo>
                  <a:lnTo>
                    <a:pt x="1083" y="646"/>
                  </a:lnTo>
                  <a:lnTo>
                    <a:pt x="1085" y="640"/>
                  </a:lnTo>
                  <a:lnTo>
                    <a:pt x="1087" y="634"/>
                  </a:lnTo>
                  <a:lnTo>
                    <a:pt x="1089" y="627"/>
                  </a:lnTo>
                  <a:lnTo>
                    <a:pt x="1089" y="620"/>
                  </a:lnTo>
                  <a:lnTo>
                    <a:pt x="1089" y="68"/>
                  </a:lnTo>
                  <a:lnTo>
                    <a:pt x="1089" y="60"/>
                  </a:lnTo>
                  <a:lnTo>
                    <a:pt x="1087" y="53"/>
                  </a:lnTo>
                  <a:lnTo>
                    <a:pt x="1085" y="47"/>
                  </a:lnTo>
                  <a:lnTo>
                    <a:pt x="1083" y="41"/>
                  </a:lnTo>
                  <a:lnTo>
                    <a:pt x="1081" y="35"/>
                  </a:lnTo>
                  <a:lnTo>
                    <a:pt x="1077" y="29"/>
                  </a:lnTo>
                  <a:lnTo>
                    <a:pt x="1073" y="24"/>
                  </a:lnTo>
                  <a:lnTo>
                    <a:pt x="1068" y="19"/>
                  </a:lnTo>
                  <a:lnTo>
                    <a:pt x="1064" y="15"/>
                  </a:lnTo>
                  <a:lnTo>
                    <a:pt x="1059" y="11"/>
                  </a:lnTo>
                  <a:lnTo>
                    <a:pt x="1054" y="8"/>
                  </a:lnTo>
                  <a:lnTo>
                    <a:pt x="1047" y="4"/>
                  </a:lnTo>
                  <a:lnTo>
                    <a:pt x="1041" y="2"/>
                  </a:lnTo>
                  <a:lnTo>
                    <a:pt x="1034" y="1"/>
                  </a:lnTo>
                  <a:lnTo>
                    <a:pt x="1028" y="0"/>
                  </a:lnTo>
                  <a:lnTo>
                    <a:pt x="1021" y="0"/>
                  </a:lnTo>
                  <a:lnTo>
                    <a:pt x="68" y="0"/>
                  </a:lnTo>
                  <a:lnTo>
                    <a:pt x="61" y="0"/>
                  </a:lnTo>
                  <a:lnTo>
                    <a:pt x="55" y="1"/>
                  </a:lnTo>
                  <a:lnTo>
                    <a:pt x="48" y="2"/>
                  </a:lnTo>
                  <a:lnTo>
                    <a:pt x="42" y="4"/>
                  </a:lnTo>
                  <a:lnTo>
                    <a:pt x="35" y="8"/>
                  </a:lnTo>
                  <a:lnTo>
                    <a:pt x="30" y="11"/>
                  </a:lnTo>
                  <a:lnTo>
                    <a:pt x="25" y="15"/>
                  </a:lnTo>
                  <a:lnTo>
                    <a:pt x="19" y="19"/>
                  </a:lnTo>
                  <a:lnTo>
                    <a:pt x="16" y="24"/>
                  </a:lnTo>
                  <a:lnTo>
                    <a:pt x="12" y="29"/>
                  </a:lnTo>
                  <a:lnTo>
                    <a:pt x="8" y="35"/>
                  </a:lnTo>
                  <a:lnTo>
                    <a:pt x="6" y="41"/>
                  </a:lnTo>
                  <a:lnTo>
                    <a:pt x="4" y="47"/>
                  </a:lnTo>
                  <a:lnTo>
                    <a:pt x="1" y="53"/>
                  </a:lnTo>
                  <a:lnTo>
                    <a:pt x="0" y="60"/>
                  </a:lnTo>
                  <a:lnTo>
                    <a:pt x="0" y="68"/>
                  </a:lnTo>
                  <a:lnTo>
                    <a:pt x="0" y="620"/>
                  </a:lnTo>
                  <a:lnTo>
                    <a:pt x="0" y="627"/>
                  </a:lnTo>
                  <a:lnTo>
                    <a:pt x="1" y="634"/>
                  </a:lnTo>
                  <a:lnTo>
                    <a:pt x="4" y="640"/>
                  </a:lnTo>
                  <a:lnTo>
                    <a:pt x="6" y="646"/>
                  </a:lnTo>
                  <a:lnTo>
                    <a:pt x="8" y="652"/>
                  </a:lnTo>
                  <a:lnTo>
                    <a:pt x="12" y="658"/>
                  </a:lnTo>
                  <a:lnTo>
                    <a:pt x="16" y="663"/>
                  </a:lnTo>
                  <a:lnTo>
                    <a:pt x="19" y="668"/>
                  </a:lnTo>
                  <a:lnTo>
                    <a:pt x="25" y="672"/>
                  </a:lnTo>
                  <a:lnTo>
                    <a:pt x="30" y="676"/>
                  </a:lnTo>
                  <a:lnTo>
                    <a:pt x="35" y="679"/>
                  </a:lnTo>
                  <a:lnTo>
                    <a:pt x="42" y="683"/>
                  </a:lnTo>
                  <a:lnTo>
                    <a:pt x="48" y="685"/>
                  </a:lnTo>
                  <a:lnTo>
                    <a:pt x="55" y="686"/>
                  </a:lnTo>
                  <a:lnTo>
                    <a:pt x="61" y="687"/>
                  </a:lnTo>
                  <a:lnTo>
                    <a:pt x="68" y="688"/>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06" name="Freeform 1067"/>
            <p:cNvSpPr>
              <a:spLocks/>
            </p:cNvSpPr>
            <p:nvPr/>
          </p:nvSpPr>
          <p:spPr bwMode="auto">
            <a:xfrm>
              <a:off x="3384" y="3835"/>
              <a:ext cx="363" cy="167"/>
            </a:xfrm>
            <a:custGeom>
              <a:avLst/>
              <a:gdLst>
                <a:gd name="T0" fmla="*/ 113 w 1089"/>
                <a:gd name="T1" fmla="*/ 41 h 688"/>
                <a:gd name="T2" fmla="*/ 115 w 1089"/>
                <a:gd name="T3" fmla="*/ 41 h 688"/>
                <a:gd name="T4" fmla="*/ 116 w 1089"/>
                <a:gd name="T5" fmla="*/ 40 h 688"/>
                <a:gd name="T6" fmla="*/ 118 w 1089"/>
                <a:gd name="T7" fmla="*/ 40 h 688"/>
                <a:gd name="T8" fmla="*/ 119 w 1089"/>
                <a:gd name="T9" fmla="*/ 39 h 688"/>
                <a:gd name="T10" fmla="*/ 120 w 1089"/>
                <a:gd name="T11" fmla="*/ 39 h 688"/>
                <a:gd name="T12" fmla="*/ 120 w 1089"/>
                <a:gd name="T13" fmla="*/ 38 h 688"/>
                <a:gd name="T14" fmla="*/ 121 w 1089"/>
                <a:gd name="T15" fmla="*/ 37 h 688"/>
                <a:gd name="T16" fmla="*/ 121 w 1089"/>
                <a:gd name="T17" fmla="*/ 36 h 688"/>
                <a:gd name="T18" fmla="*/ 121 w 1089"/>
                <a:gd name="T19" fmla="*/ 4 h 688"/>
                <a:gd name="T20" fmla="*/ 121 w 1089"/>
                <a:gd name="T21" fmla="*/ 3 h 688"/>
                <a:gd name="T22" fmla="*/ 120 w 1089"/>
                <a:gd name="T23" fmla="*/ 2 h 688"/>
                <a:gd name="T24" fmla="*/ 120 w 1089"/>
                <a:gd name="T25" fmla="*/ 2 h 688"/>
                <a:gd name="T26" fmla="*/ 119 w 1089"/>
                <a:gd name="T27" fmla="*/ 1 h 688"/>
                <a:gd name="T28" fmla="*/ 118 w 1089"/>
                <a:gd name="T29" fmla="*/ 1 h 688"/>
                <a:gd name="T30" fmla="*/ 116 w 1089"/>
                <a:gd name="T31" fmla="*/ 0 h 688"/>
                <a:gd name="T32" fmla="*/ 115 w 1089"/>
                <a:gd name="T33" fmla="*/ 0 h 688"/>
                <a:gd name="T34" fmla="*/ 113 w 1089"/>
                <a:gd name="T35" fmla="*/ 0 h 688"/>
                <a:gd name="T36" fmla="*/ 7 w 1089"/>
                <a:gd name="T37" fmla="*/ 0 h 688"/>
                <a:gd name="T38" fmla="*/ 5 w 1089"/>
                <a:gd name="T39" fmla="*/ 0 h 688"/>
                <a:gd name="T40" fmla="*/ 4 w 1089"/>
                <a:gd name="T41" fmla="*/ 0 h 688"/>
                <a:gd name="T42" fmla="*/ 3 w 1089"/>
                <a:gd name="T43" fmla="*/ 1 h 688"/>
                <a:gd name="T44" fmla="*/ 2 w 1089"/>
                <a:gd name="T45" fmla="*/ 1 h 688"/>
                <a:gd name="T46" fmla="*/ 1 w 1089"/>
                <a:gd name="T47" fmla="*/ 2 h 688"/>
                <a:gd name="T48" fmla="*/ 0 w 1089"/>
                <a:gd name="T49" fmla="*/ 3 h 688"/>
                <a:gd name="T50" fmla="*/ 0 w 1089"/>
                <a:gd name="T51" fmla="*/ 4 h 688"/>
                <a:gd name="T52" fmla="*/ 0 w 1089"/>
                <a:gd name="T53" fmla="*/ 36 h 688"/>
                <a:gd name="T54" fmla="*/ 0 w 1089"/>
                <a:gd name="T55" fmla="*/ 37 h 688"/>
                <a:gd name="T56" fmla="*/ 1 w 1089"/>
                <a:gd name="T57" fmla="*/ 38 h 688"/>
                <a:gd name="T58" fmla="*/ 1 w 1089"/>
                <a:gd name="T59" fmla="*/ 39 h 688"/>
                <a:gd name="T60" fmla="*/ 2 w 1089"/>
                <a:gd name="T61" fmla="*/ 39 h 688"/>
                <a:gd name="T62" fmla="*/ 3 w 1089"/>
                <a:gd name="T63" fmla="*/ 40 h 688"/>
                <a:gd name="T64" fmla="*/ 5 w 1089"/>
                <a:gd name="T65" fmla="*/ 40 h 688"/>
                <a:gd name="T66" fmla="*/ 6 w 1089"/>
                <a:gd name="T67" fmla="*/ 41 h 688"/>
                <a:gd name="T68" fmla="*/ 8 w 1089"/>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8"/>
                <a:gd name="T107" fmla="*/ 1089 w 1089"/>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8">
                  <a:moveTo>
                    <a:pt x="68" y="688"/>
                  </a:moveTo>
                  <a:lnTo>
                    <a:pt x="1021" y="688"/>
                  </a:lnTo>
                  <a:lnTo>
                    <a:pt x="1028" y="687"/>
                  </a:lnTo>
                  <a:lnTo>
                    <a:pt x="1034" y="686"/>
                  </a:lnTo>
                  <a:lnTo>
                    <a:pt x="1041" y="685"/>
                  </a:lnTo>
                  <a:lnTo>
                    <a:pt x="1047" y="683"/>
                  </a:lnTo>
                  <a:lnTo>
                    <a:pt x="1054" y="679"/>
                  </a:lnTo>
                  <a:lnTo>
                    <a:pt x="1059" y="676"/>
                  </a:lnTo>
                  <a:lnTo>
                    <a:pt x="1064" y="672"/>
                  </a:lnTo>
                  <a:lnTo>
                    <a:pt x="1068" y="668"/>
                  </a:lnTo>
                  <a:lnTo>
                    <a:pt x="1073" y="663"/>
                  </a:lnTo>
                  <a:lnTo>
                    <a:pt x="1077" y="658"/>
                  </a:lnTo>
                  <a:lnTo>
                    <a:pt x="1081" y="652"/>
                  </a:lnTo>
                  <a:lnTo>
                    <a:pt x="1083" y="646"/>
                  </a:lnTo>
                  <a:lnTo>
                    <a:pt x="1085" y="640"/>
                  </a:lnTo>
                  <a:lnTo>
                    <a:pt x="1087" y="634"/>
                  </a:lnTo>
                  <a:lnTo>
                    <a:pt x="1089" y="627"/>
                  </a:lnTo>
                  <a:lnTo>
                    <a:pt x="1089" y="620"/>
                  </a:lnTo>
                  <a:lnTo>
                    <a:pt x="1089" y="68"/>
                  </a:lnTo>
                  <a:lnTo>
                    <a:pt x="1089" y="60"/>
                  </a:lnTo>
                  <a:lnTo>
                    <a:pt x="1087" y="53"/>
                  </a:lnTo>
                  <a:lnTo>
                    <a:pt x="1085" y="47"/>
                  </a:lnTo>
                  <a:lnTo>
                    <a:pt x="1083" y="41"/>
                  </a:lnTo>
                  <a:lnTo>
                    <a:pt x="1081" y="35"/>
                  </a:lnTo>
                  <a:lnTo>
                    <a:pt x="1077" y="29"/>
                  </a:lnTo>
                  <a:lnTo>
                    <a:pt x="1073" y="24"/>
                  </a:lnTo>
                  <a:lnTo>
                    <a:pt x="1068" y="19"/>
                  </a:lnTo>
                  <a:lnTo>
                    <a:pt x="1064" y="15"/>
                  </a:lnTo>
                  <a:lnTo>
                    <a:pt x="1059" y="11"/>
                  </a:lnTo>
                  <a:lnTo>
                    <a:pt x="1054" y="8"/>
                  </a:lnTo>
                  <a:lnTo>
                    <a:pt x="1047" y="4"/>
                  </a:lnTo>
                  <a:lnTo>
                    <a:pt x="1041" y="2"/>
                  </a:lnTo>
                  <a:lnTo>
                    <a:pt x="1034" y="1"/>
                  </a:lnTo>
                  <a:lnTo>
                    <a:pt x="1028" y="0"/>
                  </a:lnTo>
                  <a:lnTo>
                    <a:pt x="1021" y="0"/>
                  </a:lnTo>
                  <a:lnTo>
                    <a:pt x="68" y="0"/>
                  </a:lnTo>
                  <a:lnTo>
                    <a:pt x="61" y="0"/>
                  </a:lnTo>
                  <a:lnTo>
                    <a:pt x="55" y="1"/>
                  </a:lnTo>
                  <a:lnTo>
                    <a:pt x="48" y="2"/>
                  </a:lnTo>
                  <a:lnTo>
                    <a:pt x="42" y="4"/>
                  </a:lnTo>
                  <a:lnTo>
                    <a:pt x="35" y="8"/>
                  </a:lnTo>
                  <a:lnTo>
                    <a:pt x="30" y="11"/>
                  </a:lnTo>
                  <a:lnTo>
                    <a:pt x="25" y="15"/>
                  </a:lnTo>
                  <a:lnTo>
                    <a:pt x="19" y="19"/>
                  </a:lnTo>
                  <a:lnTo>
                    <a:pt x="16" y="24"/>
                  </a:lnTo>
                  <a:lnTo>
                    <a:pt x="12" y="29"/>
                  </a:lnTo>
                  <a:lnTo>
                    <a:pt x="8" y="35"/>
                  </a:lnTo>
                  <a:lnTo>
                    <a:pt x="6" y="41"/>
                  </a:lnTo>
                  <a:lnTo>
                    <a:pt x="4" y="47"/>
                  </a:lnTo>
                  <a:lnTo>
                    <a:pt x="1" y="53"/>
                  </a:lnTo>
                  <a:lnTo>
                    <a:pt x="0" y="60"/>
                  </a:lnTo>
                  <a:lnTo>
                    <a:pt x="0" y="68"/>
                  </a:lnTo>
                  <a:lnTo>
                    <a:pt x="0" y="620"/>
                  </a:lnTo>
                  <a:lnTo>
                    <a:pt x="0" y="627"/>
                  </a:lnTo>
                  <a:lnTo>
                    <a:pt x="1" y="634"/>
                  </a:lnTo>
                  <a:lnTo>
                    <a:pt x="4" y="640"/>
                  </a:lnTo>
                  <a:lnTo>
                    <a:pt x="6" y="646"/>
                  </a:lnTo>
                  <a:lnTo>
                    <a:pt x="8" y="652"/>
                  </a:lnTo>
                  <a:lnTo>
                    <a:pt x="12" y="658"/>
                  </a:lnTo>
                  <a:lnTo>
                    <a:pt x="16" y="663"/>
                  </a:lnTo>
                  <a:lnTo>
                    <a:pt x="19" y="668"/>
                  </a:lnTo>
                  <a:lnTo>
                    <a:pt x="25" y="672"/>
                  </a:lnTo>
                  <a:lnTo>
                    <a:pt x="30" y="676"/>
                  </a:lnTo>
                  <a:lnTo>
                    <a:pt x="35" y="679"/>
                  </a:lnTo>
                  <a:lnTo>
                    <a:pt x="42" y="683"/>
                  </a:lnTo>
                  <a:lnTo>
                    <a:pt x="48" y="685"/>
                  </a:lnTo>
                  <a:lnTo>
                    <a:pt x="55" y="686"/>
                  </a:lnTo>
                  <a:lnTo>
                    <a:pt x="61" y="687"/>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07" name="Rectangle 1068"/>
            <p:cNvSpPr>
              <a:spLocks noChangeArrowheads="1"/>
            </p:cNvSpPr>
            <p:nvPr/>
          </p:nvSpPr>
          <p:spPr bwMode="auto">
            <a:xfrm>
              <a:off x="3493" y="3866"/>
              <a:ext cx="15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a:t>
              </a:r>
              <a:endParaRPr lang="en-US" sz="1800" b="0" kern="0" baseline="0">
                <a:solidFill>
                  <a:sysClr val="windowText" lastClr="000000"/>
                </a:solidFill>
                <a:latin typeface="Arial" charset="0"/>
                <a:ea typeface="ＭＳ Ｐゴシック"/>
                <a:cs typeface="ＭＳ Ｐゴシック"/>
              </a:endParaRPr>
            </a:p>
          </p:txBody>
        </p:sp>
        <p:sp>
          <p:nvSpPr>
            <p:cNvPr id="508" name="Rectangle 1069"/>
            <p:cNvSpPr>
              <a:spLocks noChangeArrowheads="1"/>
            </p:cNvSpPr>
            <p:nvPr/>
          </p:nvSpPr>
          <p:spPr bwMode="auto">
            <a:xfrm>
              <a:off x="3445" y="3901"/>
              <a:ext cx="21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utomation </a:t>
              </a:r>
              <a:endParaRPr lang="en-US" sz="1800" b="0" kern="0" baseline="0">
                <a:solidFill>
                  <a:sysClr val="windowText" lastClr="000000"/>
                </a:solidFill>
                <a:latin typeface="Arial" charset="0"/>
                <a:ea typeface="ＭＳ Ｐゴシック"/>
                <a:cs typeface="ＭＳ Ｐゴシック"/>
              </a:endParaRPr>
            </a:p>
          </p:txBody>
        </p:sp>
        <p:sp>
          <p:nvSpPr>
            <p:cNvPr id="509" name="Rectangle 1070"/>
            <p:cNvSpPr>
              <a:spLocks noChangeArrowheads="1"/>
            </p:cNvSpPr>
            <p:nvPr/>
          </p:nvSpPr>
          <p:spPr bwMode="auto">
            <a:xfrm>
              <a:off x="3659" y="3901"/>
              <a:ext cx="3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mp; </a:t>
              </a:r>
              <a:endParaRPr lang="en-US" sz="1800" b="0" kern="0" baseline="0">
                <a:solidFill>
                  <a:sysClr val="windowText" lastClr="000000"/>
                </a:solidFill>
                <a:latin typeface="Arial" charset="0"/>
                <a:ea typeface="ＭＳ Ｐゴシック"/>
                <a:cs typeface="ＭＳ Ｐゴシック"/>
              </a:endParaRPr>
            </a:p>
          </p:txBody>
        </p:sp>
        <p:sp>
          <p:nvSpPr>
            <p:cNvPr id="510" name="Rectangle 1071"/>
            <p:cNvSpPr>
              <a:spLocks noChangeArrowheads="1"/>
            </p:cNvSpPr>
            <p:nvPr/>
          </p:nvSpPr>
          <p:spPr bwMode="auto">
            <a:xfrm>
              <a:off x="3413" y="3936"/>
              <a:ext cx="69"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Self</a:t>
              </a:r>
              <a:endParaRPr lang="en-US" sz="1800" b="0" kern="0" baseline="0">
                <a:solidFill>
                  <a:sysClr val="windowText" lastClr="000000"/>
                </a:solidFill>
                <a:latin typeface="Arial" charset="0"/>
                <a:ea typeface="ＭＳ Ｐゴシック"/>
                <a:cs typeface="ＭＳ Ｐゴシック"/>
              </a:endParaRPr>
            </a:p>
          </p:txBody>
        </p:sp>
        <p:sp>
          <p:nvSpPr>
            <p:cNvPr id="511" name="Rectangle 1072"/>
            <p:cNvSpPr>
              <a:spLocks noChangeArrowheads="1"/>
            </p:cNvSpPr>
            <p:nvPr/>
          </p:nvSpPr>
          <p:spPr bwMode="auto">
            <a:xfrm>
              <a:off x="3482" y="3936"/>
              <a:ext cx="13"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a:t>
              </a:r>
              <a:endParaRPr lang="en-US" sz="1800" b="0" kern="0" baseline="0">
                <a:solidFill>
                  <a:sysClr val="windowText" lastClr="000000"/>
                </a:solidFill>
                <a:latin typeface="Arial" charset="0"/>
                <a:ea typeface="ＭＳ Ｐゴシック"/>
                <a:cs typeface="ＭＳ Ｐゴシック"/>
              </a:endParaRPr>
            </a:p>
          </p:txBody>
        </p:sp>
        <p:sp>
          <p:nvSpPr>
            <p:cNvPr id="512" name="Rectangle 1073"/>
            <p:cNvSpPr>
              <a:spLocks noChangeArrowheads="1"/>
            </p:cNvSpPr>
            <p:nvPr/>
          </p:nvSpPr>
          <p:spPr bwMode="auto">
            <a:xfrm>
              <a:off x="3495" y="3936"/>
              <a:ext cx="22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dirty="0">
                  <a:solidFill>
                    <a:srgbClr val="000000"/>
                  </a:solidFill>
                  <a:latin typeface="Arial" charset="0"/>
                  <a:ea typeface="ＭＳ Ｐゴシック"/>
                  <a:cs typeface="ＭＳ Ｐゴシック"/>
                </a:rPr>
                <a:t>Healing Grid</a:t>
              </a:r>
              <a:endParaRPr lang="en-US" sz="1800" b="0" kern="0" baseline="0" dirty="0">
                <a:solidFill>
                  <a:sysClr val="windowText" lastClr="000000"/>
                </a:solidFill>
                <a:latin typeface="Arial" charset="0"/>
                <a:ea typeface="ＭＳ Ｐゴシック"/>
                <a:cs typeface="ＭＳ Ｐゴシック"/>
              </a:endParaRPr>
            </a:p>
          </p:txBody>
        </p:sp>
        <p:sp>
          <p:nvSpPr>
            <p:cNvPr id="513" name="Freeform 1074"/>
            <p:cNvSpPr>
              <a:spLocks/>
            </p:cNvSpPr>
            <p:nvPr/>
          </p:nvSpPr>
          <p:spPr bwMode="auto">
            <a:xfrm>
              <a:off x="3851" y="3835"/>
              <a:ext cx="363" cy="167"/>
            </a:xfrm>
            <a:custGeom>
              <a:avLst/>
              <a:gdLst>
                <a:gd name="T0" fmla="*/ 113 w 1089"/>
                <a:gd name="T1" fmla="*/ 41 h 688"/>
                <a:gd name="T2" fmla="*/ 115 w 1089"/>
                <a:gd name="T3" fmla="*/ 41 h 688"/>
                <a:gd name="T4" fmla="*/ 116 w 1089"/>
                <a:gd name="T5" fmla="*/ 40 h 688"/>
                <a:gd name="T6" fmla="*/ 118 w 1089"/>
                <a:gd name="T7" fmla="*/ 40 h 688"/>
                <a:gd name="T8" fmla="*/ 119 w 1089"/>
                <a:gd name="T9" fmla="*/ 39 h 688"/>
                <a:gd name="T10" fmla="*/ 120 w 1089"/>
                <a:gd name="T11" fmla="*/ 39 h 688"/>
                <a:gd name="T12" fmla="*/ 120 w 1089"/>
                <a:gd name="T13" fmla="*/ 38 h 688"/>
                <a:gd name="T14" fmla="*/ 121 w 1089"/>
                <a:gd name="T15" fmla="*/ 37 h 688"/>
                <a:gd name="T16" fmla="*/ 121 w 1089"/>
                <a:gd name="T17" fmla="*/ 36 h 688"/>
                <a:gd name="T18" fmla="*/ 121 w 1089"/>
                <a:gd name="T19" fmla="*/ 4 h 688"/>
                <a:gd name="T20" fmla="*/ 121 w 1089"/>
                <a:gd name="T21" fmla="*/ 3 h 688"/>
                <a:gd name="T22" fmla="*/ 120 w 1089"/>
                <a:gd name="T23" fmla="*/ 2 h 688"/>
                <a:gd name="T24" fmla="*/ 120 w 1089"/>
                <a:gd name="T25" fmla="*/ 2 h 688"/>
                <a:gd name="T26" fmla="*/ 119 w 1089"/>
                <a:gd name="T27" fmla="*/ 1 h 688"/>
                <a:gd name="T28" fmla="*/ 118 w 1089"/>
                <a:gd name="T29" fmla="*/ 1 h 688"/>
                <a:gd name="T30" fmla="*/ 116 w 1089"/>
                <a:gd name="T31" fmla="*/ 0 h 688"/>
                <a:gd name="T32" fmla="*/ 115 w 1089"/>
                <a:gd name="T33" fmla="*/ 0 h 688"/>
                <a:gd name="T34" fmla="*/ 113 w 1089"/>
                <a:gd name="T35" fmla="*/ 0 h 688"/>
                <a:gd name="T36" fmla="*/ 7 w 1089"/>
                <a:gd name="T37" fmla="*/ 0 h 688"/>
                <a:gd name="T38" fmla="*/ 5 w 1089"/>
                <a:gd name="T39" fmla="*/ 0 h 688"/>
                <a:gd name="T40" fmla="*/ 4 w 1089"/>
                <a:gd name="T41" fmla="*/ 0 h 688"/>
                <a:gd name="T42" fmla="*/ 3 w 1089"/>
                <a:gd name="T43" fmla="*/ 1 h 688"/>
                <a:gd name="T44" fmla="*/ 2 w 1089"/>
                <a:gd name="T45" fmla="*/ 1 h 688"/>
                <a:gd name="T46" fmla="*/ 1 w 1089"/>
                <a:gd name="T47" fmla="*/ 2 h 688"/>
                <a:gd name="T48" fmla="*/ 0 w 1089"/>
                <a:gd name="T49" fmla="*/ 3 h 688"/>
                <a:gd name="T50" fmla="*/ 0 w 1089"/>
                <a:gd name="T51" fmla="*/ 4 h 688"/>
                <a:gd name="T52" fmla="*/ 0 w 1089"/>
                <a:gd name="T53" fmla="*/ 36 h 688"/>
                <a:gd name="T54" fmla="*/ 0 w 1089"/>
                <a:gd name="T55" fmla="*/ 37 h 688"/>
                <a:gd name="T56" fmla="*/ 1 w 1089"/>
                <a:gd name="T57" fmla="*/ 38 h 688"/>
                <a:gd name="T58" fmla="*/ 1 w 1089"/>
                <a:gd name="T59" fmla="*/ 39 h 688"/>
                <a:gd name="T60" fmla="*/ 2 w 1089"/>
                <a:gd name="T61" fmla="*/ 39 h 688"/>
                <a:gd name="T62" fmla="*/ 3 w 1089"/>
                <a:gd name="T63" fmla="*/ 40 h 688"/>
                <a:gd name="T64" fmla="*/ 5 w 1089"/>
                <a:gd name="T65" fmla="*/ 40 h 688"/>
                <a:gd name="T66" fmla="*/ 6 w 1089"/>
                <a:gd name="T67" fmla="*/ 41 h 688"/>
                <a:gd name="T68" fmla="*/ 7 w 1089"/>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8"/>
                <a:gd name="T107" fmla="*/ 1089 w 1089"/>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8">
                  <a:moveTo>
                    <a:pt x="67" y="688"/>
                  </a:moveTo>
                  <a:lnTo>
                    <a:pt x="1021" y="688"/>
                  </a:lnTo>
                  <a:lnTo>
                    <a:pt x="1028" y="687"/>
                  </a:lnTo>
                  <a:lnTo>
                    <a:pt x="1035" y="686"/>
                  </a:lnTo>
                  <a:lnTo>
                    <a:pt x="1040" y="685"/>
                  </a:lnTo>
                  <a:lnTo>
                    <a:pt x="1047" y="683"/>
                  </a:lnTo>
                  <a:lnTo>
                    <a:pt x="1053" y="679"/>
                  </a:lnTo>
                  <a:lnTo>
                    <a:pt x="1058" y="676"/>
                  </a:lnTo>
                  <a:lnTo>
                    <a:pt x="1064" y="672"/>
                  </a:lnTo>
                  <a:lnTo>
                    <a:pt x="1069" y="668"/>
                  </a:lnTo>
                  <a:lnTo>
                    <a:pt x="1073" y="663"/>
                  </a:lnTo>
                  <a:lnTo>
                    <a:pt x="1077" y="658"/>
                  </a:lnTo>
                  <a:lnTo>
                    <a:pt x="1080" y="652"/>
                  </a:lnTo>
                  <a:lnTo>
                    <a:pt x="1083" y="646"/>
                  </a:lnTo>
                  <a:lnTo>
                    <a:pt x="1086" y="640"/>
                  </a:lnTo>
                  <a:lnTo>
                    <a:pt x="1087" y="634"/>
                  </a:lnTo>
                  <a:lnTo>
                    <a:pt x="1088" y="627"/>
                  </a:lnTo>
                  <a:lnTo>
                    <a:pt x="1089" y="620"/>
                  </a:lnTo>
                  <a:lnTo>
                    <a:pt x="1089" y="68"/>
                  </a:lnTo>
                  <a:lnTo>
                    <a:pt x="1088" y="60"/>
                  </a:lnTo>
                  <a:lnTo>
                    <a:pt x="1087" y="53"/>
                  </a:lnTo>
                  <a:lnTo>
                    <a:pt x="1086" y="47"/>
                  </a:lnTo>
                  <a:lnTo>
                    <a:pt x="1083" y="41"/>
                  </a:lnTo>
                  <a:lnTo>
                    <a:pt x="1080" y="35"/>
                  </a:lnTo>
                  <a:lnTo>
                    <a:pt x="1077" y="29"/>
                  </a:lnTo>
                  <a:lnTo>
                    <a:pt x="1073" y="24"/>
                  </a:lnTo>
                  <a:lnTo>
                    <a:pt x="1069" y="19"/>
                  </a:lnTo>
                  <a:lnTo>
                    <a:pt x="1064" y="15"/>
                  </a:lnTo>
                  <a:lnTo>
                    <a:pt x="1058" y="11"/>
                  </a:lnTo>
                  <a:lnTo>
                    <a:pt x="1053" y="8"/>
                  </a:lnTo>
                  <a:lnTo>
                    <a:pt x="1047" y="4"/>
                  </a:lnTo>
                  <a:lnTo>
                    <a:pt x="1040" y="2"/>
                  </a:lnTo>
                  <a:lnTo>
                    <a:pt x="1035" y="1"/>
                  </a:lnTo>
                  <a:lnTo>
                    <a:pt x="1028" y="0"/>
                  </a:lnTo>
                  <a:lnTo>
                    <a:pt x="1021" y="0"/>
                  </a:lnTo>
                  <a:lnTo>
                    <a:pt x="67" y="0"/>
                  </a:lnTo>
                  <a:lnTo>
                    <a:pt x="61" y="0"/>
                  </a:lnTo>
                  <a:lnTo>
                    <a:pt x="54" y="1"/>
                  </a:lnTo>
                  <a:lnTo>
                    <a:pt x="47" y="2"/>
                  </a:lnTo>
                  <a:lnTo>
                    <a:pt x="41" y="4"/>
                  </a:lnTo>
                  <a:lnTo>
                    <a:pt x="35" y="8"/>
                  </a:lnTo>
                  <a:lnTo>
                    <a:pt x="30" y="11"/>
                  </a:lnTo>
                  <a:lnTo>
                    <a:pt x="24" y="15"/>
                  </a:lnTo>
                  <a:lnTo>
                    <a:pt x="20" y="19"/>
                  </a:lnTo>
                  <a:lnTo>
                    <a:pt x="15" y="24"/>
                  </a:lnTo>
                  <a:lnTo>
                    <a:pt x="11" y="29"/>
                  </a:lnTo>
                  <a:lnTo>
                    <a:pt x="7" y="35"/>
                  </a:lnTo>
                  <a:lnTo>
                    <a:pt x="5" y="41"/>
                  </a:lnTo>
                  <a:lnTo>
                    <a:pt x="3" y="47"/>
                  </a:lnTo>
                  <a:lnTo>
                    <a:pt x="1" y="53"/>
                  </a:lnTo>
                  <a:lnTo>
                    <a:pt x="0" y="60"/>
                  </a:lnTo>
                  <a:lnTo>
                    <a:pt x="0" y="68"/>
                  </a:lnTo>
                  <a:lnTo>
                    <a:pt x="0" y="620"/>
                  </a:lnTo>
                  <a:lnTo>
                    <a:pt x="0" y="627"/>
                  </a:lnTo>
                  <a:lnTo>
                    <a:pt x="1" y="634"/>
                  </a:lnTo>
                  <a:lnTo>
                    <a:pt x="3" y="640"/>
                  </a:lnTo>
                  <a:lnTo>
                    <a:pt x="5" y="646"/>
                  </a:lnTo>
                  <a:lnTo>
                    <a:pt x="7" y="652"/>
                  </a:lnTo>
                  <a:lnTo>
                    <a:pt x="11" y="658"/>
                  </a:lnTo>
                  <a:lnTo>
                    <a:pt x="15" y="663"/>
                  </a:lnTo>
                  <a:lnTo>
                    <a:pt x="20" y="668"/>
                  </a:lnTo>
                  <a:lnTo>
                    <a:pt x="24" y="672"/>
                  </a:lnTo>
                  <a:lnTo>
                    <a:pt x="30" y="676"/>
                  </a:lnTo>
                  <a:lnTo>
                    <a:pt x="35" y="679"/>
                  </a:lnTo>
                  <a:lnTo>
                    <a:pt x="41" y="683"/>
                  </a:lnTo>
                  <a:lnTo>
                    <a:pt x="47" y="685"/>
                  </a:lnTo>
                  <a:lnTo>
                    <a:pt x="54" y="686"/>
                  </a:lnTo>
                  <a:lnTo>
                    <a:pt x="61" y="687"/>
                  </a:lnTo>
                  <a:lnTo>
                    <a:pt x="67" y="688"/>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14" name="Freeform 1075"/>
            <p:cNvSpPr>
              <a:spLocks/>
            </p:cNvSpPr>
            <p:nvPr/>
          </p:nvSpPr>
          <p:spPr bwMode="auto">
            <a:xfrm>
              <a:off x="3851" y="3835"/>
              <a:ext cx="363" cy="167"/>
            </a:xfrm>
            <a:custGeom>
              <a:avLst/>
              <a:gdLst>
                <a:gd name="T0" fmla="*/ 113 w 1089"/>
                <a:gd name="T1" fmla="*/ 41 h 688"/>
                <a:gd name="T2" fmla="*/ 115 w 1089"/>
                <a:gd name="T3" fmla="*/ 41 h 688"/>
                <a:gd name="T4" fmla="*/ 116 w 1089"/>
                <a:gd name="T5" fmla="*/ 40 h 688"/>
                <a:gd name="T6" fmla="*/ 118 w 1089"/>
                <a:gd name="T7" fmla="*/ 40 h 688"/>
                <a:gd name="T8" fmla="*/ 119 w 1089"/>
                <a:gd name="T9" fmla="*/ 39 h 688"/>
                <a:gd name="T10" fmla="*/ 120 w 1089"/>
                <a:gd name="T11" fmla="*/ 39 h 688"/>
                <a:gd name="T12" fmla="*/ 120 w 1089"/>
                <a:gd name="T13" fmla="*/ 38 h 688"/>
                <a:gd name="T14" fmla="*/ 121 w 1089"/>
                <a:gd name="T15" fmla="*/ 37 h 688"/>
                <a:gd name="T16" fmla="*/ 121 w 1089"/>
                <a:gd name="T17" fmla="*/ 36 h 688"/>
                <a:gd name="T18" fmla="*/ 121 w 1089"/>
                <a:gd name="T19" fmla="*/ 4 h 688"/>
                <a:gd name="T20" fmla="*/ 121 w 1089"/>
                <a:gd name="T21" fmla="*/ 3 h 688"/>
                <a:gd name="T22" fmla="*/ 120 w 1089"/>
                <a:gd name="T23" fmla="*/ 2 h 688"/>
                <a:gd name="T24" fmla="*/ 120 w 1089"/>
                <a:gd name="T25" fmla="*/ 2 h 688"/>
                <a:gd name="T26" fmla="*/ 119 w 1089"/>
                <a:gd name="T27" fmla="*/ 1 h 688"/>
                <a:gd name="T28" fmla="*/ 118 w 1089"/>
                <a:gd name="T29" fmla="*/ 1 h 688"/>
                <a:gd name="T30" fmla="*/ 116 w 1089"/>
                <a:gd name="T31" fmla="*/ 0 h 688"/>
                <a:gd name="T32" fmla="*/ 115 w 1089"/>
                <a:gd name="T33" fmla="*/ 0 h 688"/>
                <a:gd name="T34" fmla="*/ 113 w 1089"/>
                <a:gd name="T35" fmla="*/ 0 h 688"/>
                <a:gd name="T36" fmla="*/ 7 w 1089"/>
                <a:gd name="T37" fmla="*/ 0 h 688"/>
                <a:gd name="T38" fmla="*/ 5 w 1089"/>
                <a:gd name="T39" fmla="*/ 0 h 688"/>
                <a:gd name="T40" fmla="*/ 4 w 1089"/>
                <a:gd name="T41" fmla="*/ 0 h 688"/>
                <a:gd name="T42" fmla="*/ 3 w 1089"/>
                <a:gd name="T43" fmla="*/ 1 h 688"/>
                <a:gd name="T44" fmla="*/ 2 w 1089"/>
                <a:gd name="T45" fmla="*/ 1 h 688"/>
                <a:gd name="T46" fmla="*/ 1 w 1089"/>
                <a:gd name="T47" fmla="*/ 2 h 688"/>
                <a:gd name="T48" fmla="*/ 0 w 1089"/>
                <a:gd name="T49" fmla="*/ 3 h 688"/>
                <a:gd name="T50" fmla="*/ 0 w 1089"/>
                <a:gd name="T51" fmla="*/ 4 h 688"/>
                <a:gd name="T52" fmla="*/ 0 w 1089"/>
                <a:gd name="T53" fmla="*/ 36 h 688"/>
                <a:gd name="T54" fmla="*/ 0 w 1089"/>
                <a:gd name="T55" fmla="*/ 37 h 688"/>
                <a:gd name="T56" fmla="*/ 1 w 1089"/>
                <a:gd name="T57" fmla="*/ 38 h 688"/>
                <a:gd name="T58" fmla="*/ 1 w 1089"/>
                <a:gd name="T59" fmla="*/ 39 h 688"/>
                <a:gd name="T60" fmla="*/ 2 w 1089"/>
                <a:gd name="T61" fmla="*/ 39 h 688"/>
                <a:gd name="T62" fmla="*/ 3 w 1089"/>
                <a:gd name="T63" fmla="*/ 40 h 688"/>
                <a:gd name="T64" fmla="*/ 5 w 1089"/>
                <a:gd name="T65" fmla="*/ 40 h 688"/>
                <a:gd name="T66" fmla="*/ 6 w 1089"/>
                <a:gd name="T67" fmla="*/ 41 h 688"/>
                <a:gd name="T68" fmla="*/ 7 w 1089"/>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9"/>
                <a:gd name="T106" fmla="*/ 0 h 688"/>
                <a:gd name="T107" fmla="*/ 1089 w 1089"/>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9" h="688">
                  <a:moveTo>
                    <a:pt x="67" y="688"/>
                  </a:moveTo>
                  <a:lnTo>
                    <a:pt x="1021" y="688"/>
                  </a:lnTo>
                  <a:lnTo>
                    <a:pt x="1028" y="687"/>
                  </a:lnTo>
                  <a:lnTo>
                    <a:pt x="1035" y="686"/>
                  </a:lnTo>
                  <a:lnTo>
                    <a:pt x="1040" y="685"/>
                  </a:lnTo>
                  <a:lnTo>
                    <a:pt x="1047" y="683"/>
                  </a:lnTo>
                  <a:lnTo>
                    <a:pt x="1053" y="679"/>
                  </a:lnTo>
                  <a:lnTo>
                    <a:pt x="1058" y="676"/>
                  </a:lnTo>
                  <a:lnTo>
                    <a:pt x="1064" y="672"/>
                  </a:lnTo>
                  <a:lnTo>
                    <a:pt x="1069" y="668"/>
                  </a:lnTo>
                  <a:lnTo>
                    <a:pt x="1073" y="663"/>
                  </a:lnTo>
                  <a:lnTo>
                    <a:pt x="1077" y="658"/>
                  </a:lnTo>
                  <a:lnTo>
                    <a:pt x="1080" y="652"/>
                  </a:lnTo>
                  <a:lnTo>
                    <a:pt x="1083" y="646"/>
                  </a:lnTo>
                  <a:lnTo>
                    <a:pt x="1086" y="640"/>
                  </a:lnTo>
                  <a:lnTo>
                    <a:pt x="1087" y="634"/>
                  </a:lnTo>
                  <a:lnTo>
                    <a:pt x="1088" y="627"/>
                  </a:lnTo>
                  <a:lnTo>
                    <a:pt x="1089" y="620"/>
                  </a:lnTo>
                  <a:lnTo>
                    <a:pt x="1089" y="68"/>
                  </a:lnTo>
                  <a:lnTo>
                    <a:pt x="1088" y="60"/>
                  </a:lnTo>
                  <a:lnTo>
                    <a:pt x="1087" y="53"/>
                  </a:lnTo>
                  <a:lnTo>
                    <a:pt x="1086" y="47"/>
                  </a:lnTo>
                  <a:lnTo>
                    <a:pt x="1083" y="41"/>
                  </a:lnTo>
                  <a:lnTo>
                    <a:pt x="1080" y="35"/>
                  </a:lnTo>
                  <a:lnTo>
                    <a:pt x="1077" y="29"/>
                  </a:lnTo>
                  <a:lnTo>
                    <a:pt x="1073" y="24"/>
                  </a:lnTo>
                  <a:lnTo>
                    <a:pt x="1069" y="19"/>
                  </a:lnTo>
                  <a:lnTo>
                    <a:pt x="1064" y="15"/>
                  </a:lnTo>
                  <a:lnTo>
                    <a:pt x="1058" y="11"/>
                  </a:lnTo>
                  <a:lnTo>
                    <a:pt x="1053" y="8"/>
                  </a:lnTo>
                  <a:lnTo>
                    <a:pt x="1047" y="4"/>
                  </a:lnTo>
                  <a:lnTo>
                    <a:pt x="1040" y="2"/>
                  </a:lnTo>
                  <a:lnTo>
                    <a:pt x="1035" y="1"/>
                  </a:lnTo>
                  <a:lnTo>
                    <a:pt x="1028" y="0"/>
                  </a:lnTo>
                  <a:lnTo>
                    <a:pt x="1021" y="0"/>
                  </a:lnTo>
                  <a:lnTo>
                    <a:pt x="67" y="0"/>
                  </a:lnTo>
                  <a:lnTo>
                    <a:pt x="61" y="0"/>
                  </a:lnTo>
                  <a:lnTo>
                    <a:pt x="54" y="1"/>
                  </a:lnTo>
                  <a:lnTo>
                    <a:pt x="47" y="2"/>
                  </a:lnTo>
                  <a:lnTo>
                    <a:pt x="41" y="4"/>
                  </a:lnTo>
                  <a:lnTo>
                    <a:pt x="35" y="8"/>
                  </a:lnTo>
                  <a:lnTo>
                    <a:pt x="30" y="11"/>
                  </a:lnTo>
                  <a:lnTo>
                    <a:pt x="24" y="15"/>
                  </a:lnTo>
                  <a:lnTo>
                    <a:pt x="20" y="19"/>
                  </a:lnTo>
                  <a:lnTo>
                    <a:pt x="15" y="24"/>
                  </a:lnTo>
                  <a:lnTo>
                    <a:pt x="11" y="29"/>
                  </a:lnTo>
                  <a:lnTo>
                    <a:pt x="7" y="35"/>
                  </a:lnTo>
                  <a:lnTo>
                    <a:pt x="5" y="41"/>
                  </a:lnTo>
                  <a:lnTo>
                    <a:pt x="3" y="47"/>
                  </a:lnTo>
                  <a:lnTo>
                    <a:pt x="1" y="53"/>
                  </a:lnTo>
                  <a:lnTo>
                    <a:pt x="0" y="60"/>
                  </a:lnTo>
                  <a:lnTo>
                    <a:pt x="0" y="68"/>
                  </a:lnTo>
                  <a:lnTo>
                    <a:pt x="0" y="620"/>
                  </a:lnTo>
                  <a:lnTo>
                    <a:pt x="0" y="627"/>
                  </a:lnTo>
                  <a:lnTo>
                    <a:pt x="1" y="634"/>
                  </a:lnTo>
                  <a:lnTo>
                    <a:pt x="3" y="640"/>
                  </a:lnTo>
                  <a:lnTo>
                    <a:pt x="5" y="646"/>
                  </a:lnTo>
                  <a:lnTo>
                    <a:pt x="7" y="652"/>
                  </a:lnTo>
                  <a:lnTo>
                    <a:pt x="11" y="658"/>
                  </a:lnTo>
                  <a:lnTo>
                    <a:pt x="15" y="663"/>
                  </a:lnTo>
                  <a:lnTo>
                    <a:pt x="20" y="668"/>
                  </a:lnTo>
                  <a:lnTo>
                    <a:pt x="24" y="672"/>
                  </a:lnTo>
                  <a:lnTo>
                    <a:pt x="30" y="676"/>
                  </a:lnTo>
                  <a:lnTo>
                    <a:pt x="35" y="679"/>
                  </a:lnTo>
                  <a:lnTo>
                    <a:pt x="41" y="683"/>
                  </a:lnTo>
                  <a:lnTo>
                    <a:pt x="47" y="685"/>
                  </a:lnTo>
                  <a:lnTo>
                    <a:pt x="54" y="686"/>
                  </a:lnTo>
                  <a:lnTo>
                    <a:pt x="61" y="687"/>
                  </a:lnTo>
                  <a:lnTo>
                    <a:pt x="67"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15" name="Rectangle 1076"/>
            <p:cNvSpPr>
              <a:spLocks noChangeArrowheads="1"/>
            </p:cNvSpPr>
            <p:nvPr/>
          </p:nvSpPr>
          <p:spPr bwMode="auto">
            <a:xfrm>
              <a:off x="3961" y="3866"/>
              <a:ext cx="15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erform </a:t>
              </a:r>
              <a:endParaRPr lang="en-US" sz="1800" b="0" kern="0" baseline="0">
                <a:solidFill>
                  <a:sysClr val="windowText" lastClr="000000"/>
                </a:solidFill>
                <a:latin typeface="Arial" charset="0"/>
                <a:ea typeface="ＭＳ Ｐゴシック"/>
                <a:cs typeface="ＭＳ Ｐゴシック"/>
              </a:endParaRPr>
            </a:p>
          </p:txBody>
        </p:sp>
        <p:sp>
          <p:nvSpPr>
            <p:cNvPr id="516" name="Rectangle 1077"/>
            <p:cNvSpPr>
              <a:spLocks noChangeArrowheads="1"/>
            </p:cNvSpPr>
            <p:nvPr/>
          </p:nvSpPr>
          <p:spPr bwMode="auto">
            <a:xfrm>
              <a:off x="3944" y="3901"/>
              <a:ext cx="18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Predictive </a:t>
              </a:r>
              <a:endParaRPr lang="en-US" sz="1800" b="0" kern="0" baseline="0">
                <a:solidFill>
                  <a:sysClr val="windowText" lastClr="000000"/>
                </a:solidFill>
                <a:latin typeface="Arial" charset="0"/>
                <a:ea typeface="ＭＳ Ｐゴシック"/>
                <a:cs typeface="ＭＳ Ｐゴシック"/>
              </a:endParaRPr>
            </a:p>
          </p:txBody>
        </p:sp>
        <p:sp>
          <p:nvSpPr>
            <p:cNvPr id="517" name="Rectangle 1078"/>
            <p:cNvSpPr>
              <a:spLocks noChangeArrowheads="1"/>
            </p:cNvSpPr>
            <p:nvPr/>
          </p:nvSpPr>
          <p:spPr bwMode="auto">
            <a:xfrm>
              <a:off x="3939" y="3936"/>
              <a:ext cx="185"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dirty="0">
                  <a:solidFill>
                    <a:srgbClr val="000000"/>
                  </a:solidFill>
                  <a:latin typeface="Arial" charset="0"/>
                  <a:ea typeface="ＭＳ Ｐゴシック"/>
                  <a:cs typeface="ＭＳ Ｐゴシック"/>
                </a:rPr>
                <a:t>Monitoring</a:t>
              </a:r>
              <a:endParaRPr lang="en-US" sz="1800" b="0" kern="0" baseline="0" dirty="0">
                <a:solidFill>
                  <a:sysClr val="windowText" lastClr="000000"/>
                </a:solidFill>
                <a:latin typeface="Arial" charset="0"/>
                <a:ea typeface="ＭＳ Ｐゴシック"/>
                <a:cs typeface="ＭＳ Ｐゴシック"/>
              </a:endParaRPr>
            </a:p>
          </p:txBody>
        </p:sp>
        <p:sp>
          <p:nvSpPr>
            <p:cNvPr id="518" name="Freeform 1079"/>
            <p:cNvSpPr>
              <a:spLocks/>
            </p:cNvSpPr>
            <p:nvPr/>
          </p:nvSpPr>
          <p:spPr bwMode="auto">
            <a:xfrm>
              <a:off x="4318" y="3835"/>
              <a:ext cx="363" cy="167"/>
            </a:xfrm>
            <a:custGeom>
              <a:avLst/>
              <a:gdLst>
                <a:gd name="T0" fmla="*/ 113 w 1088"/>
                <a:gd name="T1" fmla="*/ 41 h 688"/>
                <a:gd name="T2" fmla="*/ 115 w 1088"/>
                <a:gd name="T3" fmla="*/ 41 h 688"/>
                <a:gd name="T4" fmla="*/ 116 w 1088"/>
                <a:gd name="T5" fmla="*/ 40 h 688"/>
                <a:gd name="T6" fmla="*/ 118 w 1088"/>
                <a:gd name="T7" fmla="*/ 40 h 688"/>
                <a:gd name="T8" fmla="*/ 119 w 1088"/>
                <a:gd name="T9" fmla="*/ 39 h 688"/>
                <a:gd name="T10" fmla="*/ 120 w 1088"/>
                <a:gd name="T11" fmla="*/ 39 h 688"/>
                <a:gd name="T12" fmla="*/ 120 w 1088"/>
                <a:gd name="T13" fmla="*/ 38 h 688"/>
                <a:gd name="T14" fmla="*/ 121 w 1088"/>
                <a:gd name="T15" fmla="*/ 37 h 688"/>
                <a:gd name="T16" fmla="*/ 121 w 1088"/>
                <a:gd name="T17" fmla="*/ 36 h 688"/>
                <a:gd name="T18" fmla="*/ 121 w 1088"/>
                <a:gd name="T19" fmla="*/ 4 h 688"/>
                <a:gd name="T20" fmla="*/ 121 w 1088"/>
                <a:gd name="T21" fmla="*/ 3 h 688"/>
                <a:gd name="T22" fmla="*/ 120 w 1088"/>
                <a:gd name="T23" fmla="*/ 2 h 688"/>
                <a:gd name="T24" fmla="*/ 120 w 1088"/>
                <a:gd name="T25" fmla="*/ 2 h 688"/>
                <a:gd name="T26" fmla="*/ 119 w 1088"/>
                <a:gd name="T27" fmla="*/ 1 h 688"/>
                <a:gd name="T28" fmla="*/ 118 w 1088"/>
                <a:gd name="T29" fmla="*/ 1 h 688"/>
                <a:gd name="T30" fmla="*/ 116 w 1088"/>
                <a:gd name="T31" fmla="*/ 0 h 688"/>
                <a:gd name="T32" fmla="*/ 115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0 w 1088"/>
                <a:gd name="T57" fmla="*/ 38 h 688"/>
                <a:gd name="T58" fmla="*/ 1 w 1088"/>
                <a:gd name="T59" fmla="*/ 39 h 688"/>
                <a:gd name="T60" fmla="*/ 2 w 1088"/>
                <a:gd name="T61" fmla="*/ 39 h 688"/>
                <a:gd name="T62" fmla="*/ 3 w 1088"/>
                <a:gd name="T63" fmla="*/ 40 h 688"/>
                <a:gd name="T64" fmla="*/ 5 w 1088"/>
                <a:gd name="T65" fmla="*/ 40 h 688"/>
                <a:gd name="T66" fmla="*/ 6 w 1088"/>
                <a:gd name="T67" fmla="*/ 41 h 688"/>
                <a:gd name="T68" fmla="*/ 8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8" y="688"/>
                  </a:moveTo>
                  <a:lnTo>
                    <a:pt x="1020" y="688"/>
                  </a:lnTo>
                  <a:lnTo>
                    <a:pt x="1027" y="687"/>
                  </a:lnTo>
                  <a:lnTo>
                    <a:pt x="1034" y="686"/>
                  </a:lnTo>
                  <a:lnTo>
                    <a:pt x="1041" y="685"/>
                  </a:lnTo>
                  <a:lnTo>
                    <a:pt x="1046" y="683"/>
                  </a:lnTo>
                  <a:lnTo>
                    <a:pt x="1053" y="679"/>
                  </a:lnTo>
                  <a:lnTo>
                    <a:pt x="1059" y="676"/>
                  </a:lnTo>
                  <a:lnTo>
                    <a:pt x="1063" y="672"/>
                  </a:lnTo>
                  <a:lnTo>
                    <a:pt x="1068" y="668"/>
                  </a:lnTo>
                  <a:lnTo>
                    <a:pt x="1072" y="663"/>
                  </a:lnTo>
                  <a:lnTo>
                    <a:pt x="1077" y="658"/>
                  </a:lnTo>
                  <a:lnTo>
                    <a:pt x="1080" y="652"/>
                  </a:lnTo>
                  <a:lnTo>
                    <a:pt x="1083" y="646"/>
                  </a:lnTo>
                  <a:lnTo>
                    <a:pt x="1085" y="640"/>
                  </a:lnTo>
                  <a:lnTo>
                    <a:pt x="1087" y="634"/>
                  </a:lnTo>
                  <a:lnTo>
                    <a:pt x="1088" y="627"/>
                  </a:lnTo>
                  <a:lnTo>
                    <a:pt x="1088" y="620"/>
                  </a:lnTo>
                  <a:lnTo>
                    <a:pt x="1088" y="68"/>
                  </a:lnTo>
                  <a:lnTo>
                    <a:pt x="1088" y="60"/>
                  </a:lnTo>
                  <a:lnTo>
                    <a:pt x="1087" y="53"/>
                  </a:lnTo>
                  <a:lnTo>
                    <a:pt x="1085" y="47"/>
                  </a:lnTo>
                  <a:lnTo>
                    <a:pt x="1083" y="41"/>
                  </a:lnTo>
                  <a:lnTo>
                    <a:pt x="1080" y="35"/>
                  </a:lnTo>
                  <a:lnTo>
                    <a:pt x="1077" y="29"/>
                  </a:lnTo>
                  <a:lnTo>
                    <a:pt x="1072" y="24"/>
                  </a:lnTo>
                  <a:lnTo>
                    <a:pt x="1068" y="19"/>
                  </a:lnTo>
                  <a:lnTo>
                    <a:pt x="1063" y="15"/>
                  </a:lnTo>
                  <a:lnTo>
                    <a:pt x="1059" y="11"/>
                  </a:lnTo>
                  <a:lnTo>
                    <a:pt x="1053" y="8"/>
                  </a:lnTo>
                  <a:lnTo>
                    <a:pt x="1046" y="4"/>
                  </a:lnTo>
                  <a:lnTo>
                    <a:pt x="1041" y="2"/>
                  </a:lnTo>
                  <a:lnTo>
                    <a:pt x="1034" y="1"/>
                  </a:lnTo>
                  <a:lnTo>
                    <a:pt x="1027" y="0"/>
                  </a:lnTo>
                  <a:lnTo>
                    <a:pt x="1020" y="0"/>
                  </a:lnTo>
                  <a:lnTo>
                    <a:pt x="68" y="0"/>
                  </a:lnTo>
                  <a:lnTo>
                    <a:pt x="60" y="0"/>
                  </a:lnTo>
                  <a:lnTo>
                    <a:pt x="53" y="1"/>
                  </a:lnTo>
                  <a:lnTo>
                    <a:pt x="47" y="2"/>
                  </a:lnTo>
                  <a:lnTo>
                    <a:pt x="41" y="4"/>
                  </a:lnTo>
                  <a:lnTo>
                    <a:pt x="35" y="8"/>
                  </a:lnTo>
                  <a:lnTo>
                    <a:pt x="29" y="11"/>
                  </a:lnTo>
                  <a:lnTo>
                    <a:pt x="24" y="15"/>
                  </a:lnTo>
                  <a:lnTo>
                    <a:pt x="19" y="19"/>
                  </a:lnTo>
                  <a:lnTo>
                    <a:pt x="15" y="24"/>
                  </a:lnTo>
                  <a:lnTo>
                    <a:pt x="11" y="29"/>
                  </a:lnTo>
                  <a:lnTo>
                    <a:pt x="8" y="35"/>
                  </a:lnTo>
                  <a:lnTo>
                    <a:pt x="4" y="41"/>
                  </a:lnTo>
                  <a:lnTo>
                    <a:pt x="2" y="47"/>
                  </a:lnTo>
                  <a:lnTo>
                    <a:pt x="1" y="53"/>
                  </a:lnTo>
                  <a:lnTo>
                    <a:pt x="0" y="60"/>
                  </a:lnTo>
                  <a:lnTo>
                    <a:pt x="0" y="68"/>
                  </a:lnTo>
                  <a:lnTo>
                    <a:pt x="0" y="620"/>
                  </a:lnTo>
                  <a:lnTo>
                    <a:pt x="0" y="627"/>
                  </a:lnTo>
                  <a:lnTo>
                    <a:pt x="1" y="634"/>
                  </a:lnTo>
                  <a:lnTo>
                    <a:pt x="2" y="640"/>
                  </a:lnTo>
                  <a:lnTo>
                    <a:pt x="4" y="646"/>
                  </a:lnTo>
                  <a:lnTo>
                    <a:pt x="8" y="652"/>
                  </a:lnTo>
                  <a:lnTo>
                    <a:pt x="11" y="658"/>
                  </a:lnTo>
                  <a:lnTo>
                    <a:pt x="15" y="663"/>
                  </a:lnTo>
                  <a:lnTo>
                    <a:pt x="19" y="668"/>
                  </a:lnTo>
                  <a:lnTo>
                    <a:pt x="24" y="672"/>
                  </a:lnTo>
                  <a:lnTo>
                    <a:pt x="29" y="676"/>
                  </a:lnTo>
                  <a:lnTo>
                    <a:pt x="35" y="679"/>
                  </a:lnTo>
                  <a:lnTo>
                    <a:pt x="41" y="683"/>
                  </a:lnTo>
                  <a:lnTo>
                    <a:pt x="47" y="685"/>
                  </a:lnTo>
                  <a:lnTo>
                    <a:pt x="53" y="686"/>
                  </a:lnTo>
                  <a:lnTo>
                    <a:pt x="60" y="687"/>
                  </a:lnTo>
                  <a:lnTo>
                    <a:pt x="68" y="688"/>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19" name="Freeform 1080"/>
            <p:cNvSpPr>
              <a:spLocks/>
            </p:cNvSpPr>
            <p:nvPr/>
          </p:nvSpPr>
          <p:spPr bwMode="auto">
            <a:xfrm>
              <a:off x="4318" y="3835"/>
              <a:ext cx="363" cy="167"/>
            </a:xfrm>
            <a:custGeom>
              <a:avLst/>
              <a:gdLst>
                <a:gd name="T0" fmla="*/ 113 w 1088"/>
                <a:gd name="T1" fmla="*/ 41 h 688"/>
                <a:gd name="T2" fmla="*/ 115 w 1088"/>
                <a:gd name="T3" fmla="*/ 41 h 688"/>
                <a:gd name="T4" fmla="*/ 116 w 1088"/>
                <a:gd name="T5" fmla="*/ 40 h 688"/>
                <a:gd name="T6" fmla="*/ 118 w 1088"/>
                <a:gd name="T7" fmla="*/ 40 h 688"/>
                <a:gd name="T8" fmla="*/ 119 w 1088"/>
                <a:gd name="T9" fmla="*/ 39 h 688"/>
                <a:gd name="T10" fmla="*/ 120 w 1088"/>
                <a:gd name="T11" fmla="*/ 39 h 688"/>
                <a:gd name="T12" fmla="*/ 120 w 1088"/>
                <a:gd name="T13" fmla="*/ 38 h 688"/>
                <a:gd name="T14" fmla="*/ 121 w 1088"/>
                <a:gd name="T15" fmla="*/ 37 h 688"/>
                <a:gd name="T16" fmla="*/ 121 w 1088"/>
                <a:gd name="T17" fmla="*/ 36 h 688"/>
                <a:gd name="T18" fmla="*/ 121 w 1088"/>
                <a:gd name="T19" fmla="*/ 4 h 688"/>
                <a:gd name="T20" fmla="*/ 121 w 1088"/>
                <a:gd name="T21" fmla="*/ 3 h 688"/>
                <a:gd name="T22" fmla="*/ 120 w 1088"/>
                <a:gd name="T23" fmla="*/ 2 h 688"/>
                <a:gd name="T24" fmla="*/ 120 w 1088"/>
                <a:gd name="T25" fmla="*/ 2 h 688"/>
                <a:gd name="T26" fmla="*/ 119 w 1088"/>
                <a:gd name="T27" fmla="*/ 1 h 688"/>
                <a:gd name="T28" fmla="*/ 118 w 1088"/>
                <a:gd name="T29" fmla="*/ 1 h 688"/>
                <a:gd name="T30" fmla="*/ 116 w 1088"/>
                <a:gd name="T31" fmla="*/ 0 h 688"/>
                <a:gd name="T32" fmla="*/ 115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0 w 1088"/>
                <a:gd name="T57" fmla="*/ 38 h 688"/>
                <a:gd name="T58" fmla="*/ 1 w 1088"/>
                <a:gd name="T59" fmla="*/ 39 h 688"/>
                <a:gd name="T60" fmla="*/ 2 w 1088"/>
                <a:gd name="T61" fmla="*/ 39 h 688"/>
                <a:gd name="T62" fmla="*/ 3 w 1088"/>
                <a:gd name="T63" fmla="*/ 40 h 688"/>
                <a:gd name="T64" fmla="*/ 5 w 1088"/>
                <a:gd name="T65" fmla="*/ 40 h 688"/>
                <a:gd name="T66" fmla="*/ 6 w 1088"/>
                <a:gd name="T67" fmla="*/ 41 h 688"/>
                <a:gd name="T68" fmla="*/ 8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8" y="688"/>
                  </a:moveTo>
                  <a:lnTo>
                    <a:pt x="1020" y="688"/>
                  </a:lnTo>
                  <a:lnTo>
                    <a:pt x="1027" y="687"/>
                  </a:lnTo>
                  <a:lnTo>
                    <a:pt x="1034" y="686"/>
                  </a:lnTo>
                  <a:lnTo>
                    <a:pt x="1041" y="685"/>
                  </a:lnTo>
                  <a:lnTo>
                    <a:pt x="1046" y="683"/>
                  </a:lnTo>
                  <a:lnTo>
                    <a:pt x="1053" y="679"/>
                  </a:lnTo>
                  <a:lnTo>
                    <a:pt x="1059" y="676"/>
                  </a:lnTo>
                  <a:lnTo>
                    <a:pt x="1063" y="672"/>
                  </a:lnTo>
                  <a:lnTo>
                    <a:pt x="1068" y="668"/>
                  </a:lnTo>
                  <a:lnTo>
                    <a:pt x="1072" y="663"/>
                  </a:lnTo>
                  <a:lnTo>
                    <a:pt x="1077" y="658"/>
                  </a:lnTo>
                  <a:lnTo>
                    <a:pt x="1080" y="652"/>
                  </a:lnTo>
                  <a:lnTo>
                    <a:pt x="1083" y="646"/>
                  </a:lnTo>
                  <a:lnTo>
                    <a:pt x="1085" y="640"/>
                  </a:lnTo>
                  <a:lnTo>
                    <a:pt x="1087" y="634"/>
                  </a:lnTo>
                  <a:lnTo>
                    <a:pt x="1088" y="627"/>
                  </a:lnTo>
                  <a:lnTo>
                    <a:pt x="1088" y="620"/>
                  </a:lnTo>
                  <a:lnTo>
                    <a:pt x="1088" y="68"/>
                  </a:lnTo>
                  <a:lnTo>
                    <a:pt x="1088" y="60"/>
                  </a:lnTo>
                  <a:lnTo>
                    <a:pt x="1087" y="53"/>
                  </a:lnTo>
                  <a:lnTo>
                    <a:pt x="1085" y="47"/>
                  </a:lnTo>
                  <a:lnTo>
                    <a:pt x="1083" y="41"/>
                  </a:lnTo>
                  <a:lnTo>
                    <a:pt x="1080" y="35"/>
                  </a:lnTo>
                  <a:lnTo>
                    <a:pt x="1077" y="29"/>
                  </a:lnTo>
                  <a:lnTo>
                    <a:pt x="1072" y="24"/>
                  </a:lnTo>
                  <a:lnTo>
                    <a:pt x="1068" y="19"/>
                  </a:lnTo>
                  <a:lnTo>
                    <a:pt x="1063" y="15"/>
                  </a:lnTo>
                  <a:lnTo>
                    <a:pt x="1059" y="11"/>
                  </a:lnTo>
                  <a:lnTo>
                    <a:pt x="1053" y="8"/>
                  </a:lnTo>
                  <a:lnTo>
                    <a:pt x="1046" y="4"/>
                  </a:lnTo>
                  <a:lnTo>
                    <a:pt x="1041" y="2"/>
                  </a:lnTo>
                  <a:lnTo>
                    <a:pt x="1034" y="1"/>
                  </a:lnTo>
                  <a:lnTo>
                    <a:pt x="1027" y="0"/>
                  </a:lnTo>
                  <a:lnTo>
                    <a:pt x="1020" y="0"/>
                  </a:lnTo>
                  <a:lnTo>
                    <a:pt x="68" y="0"/>
                  </a:lnTo>
                  <a:lnTo>
                    <a:pt x="60" y="0"/>
                  </a:lnTo>
                  <a:lnTo>
                    <a:pt x="53" y="1"/>
                  </a:lnTo>
                  <a:lnTo>
                    <a:pt x="47" y="2"/>
                  </a:lnTo>
                  <a:lnTo>
                    <a:pt x="41" y="4"/>
                  </a:lnTo>
                  <a:lnTo>
                    <a:pt x="35" y="8"/>
                  </a:lnTo>
                  <a:lnTo>
                    <a:pt x="29" y="11"/>
                  </a:lnTo>
                  <a:lnTo>
                    <a:pt x="24" y="15"/>
                  </a:lnTo>
                  <a:lnTo>
                    <a:pt x="19" y="19"/>
                  </a:lnTo>
                  <a:lnTo>
                    <a:pt x="15" y="24"/>
                  </a:lnTo>
                  <a:lnTo>
                    <a:pt x="11" y="29"/>
                  </a:lnTo>
                  <a:lnTo>
                    <a:pt x="8" y="35"/>
                  </a:lnTo>
                  <a:lnTo>
                    <a:pt x="4" y="41"/>
                  </a:lnTo>
                  <a:lnTo>
                    <a:pt x="2" y="47"/>
                  </a:lnTo>
                  <a:lnTo>
                    <a:pt x="1" y="53"/>
                  </a:lnTo>
                  <a:lnTo>
                    <a:pt x="0" y="60"/>
                  </a:lnTo>
                  <a:lnTo>
                    <a:pt x="0" y="68"/>
                  </a:lnTo>
                  <a:lnTo>
                    <a:pt x="0" y="620"/>
                  </a:lnTo>
                  <a:lnTo>
                    <a:pt x="0" y="627"/>
                  </a:lnTo>
                  <a:lnTo>
                    <a:pt x="1" y="634"/>
                  </a:lnTo>
                  <a:lnTo>
                    <a:pt x="2" y="640"/>
                  </a:lnTo>
                  <a:lnTo>
                    <a:pt x="4" y="646"/>
                  </a:lnTo>
                  <a:lnTo>
                    <a:pt x="8" y="652"/>
                  </a:lnTo>
                  <a:lnTo>
                    <a:pt x="11" y="658"/>
                  </a:lnTo>
                  <a:lnTo>
                    <a:pt x="15" y="663"/>
                  </a:lnTo>
                  <a:lnTo>
                    <a:pt x="19" y="668"/>
                  </a:lnTo>
                  <a:lnTo>
                    <a:pt x="24" y="672"/>
                  </a:lnTo>
                  <a:lnTo>
                    <a:pt x="29" y="676"/>
                  </a:lnTo>
                  <a:lnTo>
                    <a:pt x="35" y="679"/>
                  </a:lnTo>
                  <a:lnTo>
                    <a:pt x="41" y="683"/>
                  </a:lnTo>
                  <a:lnTo>
                    <a:pt x="47" y="685"/>
                  </a:lnTo>
                  <a:lnTo>
                    <a:pt x="53" y="686"/>
                  </a:lnTo>
                  <a:lnTo>
                    <a:pt x="60" y="687"/>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20" name="Freeform 1082"/>
            <p:cNvSpPr>
              <a:spLocks/>
            </p:cNvSpPr>
            <p:nvPr/>
          </p:nvSpPr>
          <p:spPr bwMode="auto">
            <a:xfrm>
              <a:off x="4654" y="2980"/>
              <a:ext cx="336" cy="476"/>
            </a:xfrm>
            <a:custGeom>
              <a:avLst/>
              <a:gdLst>
                <a:gd name="T0" fmla="*/ 28 w 1008"/>
                <a:gd name="T1" fmla="*/ 101 h 1960"/>
                <a:gd name="T2" fmla="*/ 0 w 1008"/>
                <a:gd name="T3" fmla="*/ 101 h 1960"/>
                <a:gd name="T4" fmla="*/ 55 w 1008"/>
                <a:gd name="T5" fmla="*/ 116 h 1960"/>
                <a:gd name="T6" fmla="*/ 111 w 1008"/>
                <a:gd name="T7" fmla="*/ 101 h 1960"/>
                <a:gd name="T8" fmla="*/ 83 w 1008"/>
                <a:gd name="T9" fmla="*/ 101 h 1960"/>
                <a:gd name="T10" fmla="*/ 84 w 1008"/>
                <a:gd name="T11" fmla="*/ 15 h 1960"/>
                <a:gd name="T12" fmla="*/ 112 w 1008"/>
                <a:gd name="T13" fmla="*/ 15 h 1960"/>
                <a:gd name="T14" fmla="*/ 57 w 1008"/>
                <a:gd name="T15" fmla="*/ 0 h 1960"/>
                <a:gd name="T16" fmla="*/ 1 w 1008"/>
                <a:gd name="T17" fmla="*/ 15 h 1960"/>
                <a:gd name="T18" fmla="*/ 29 w 1008"/>
                <a:gd name="T19" fmla="*/ 15 h 1960"/>
                <a:gd name="T20" fmla="*/ 28 w 1008"/>
                <a:gd name="T21" fmla="*/ 101 h 196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8"/>
                <a:gd name="T34" fmla="*/ 0 h 1960"/>
                <a:gd name="T35" fmla="*/ 1008 w 1008"/>
                <a:gd name="T36" fmla="*/ 1960 h 196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8" h="1960">
                  <a:moveTo>
                    <a:pt x="250" y="1709"/>
                  </a:moveTo>
                  <a:lnTo>
                    <a:pt x="0" y="1708"/>
                  </a:lnTo>
                  <a:lnTo>
                    <a:pt x="497" y="1960"/>
                  </a:lnTo>
                  <a:lnTo>
                    <a:pt x="998" y="1715"/>
                  </a:lnTo>
                  <a:lnTo>
                    <a:pt x="748" y="1712"/>
                  </a:lnTo>
                  <a:lnTo>
                    <a:pt x="758" y="251"/>
                  </a:lnTo>
                  <a:lnTo>
                    <a:pt x="1008" y="253"/>
                  </a:lnTo>
                  <a:lnTo>
                    <a:pt x="511" y="0"/>
                  </a:lnTo>
                  <a:lnTo>
                    <a:pt x="10" y="246"/>
                  </a:lnTo>
                  <a:lnTo>
                    <a:pt x="260" y="248"/>
                  </a:lnTo>
                  <a:lnTo>
                    <a:pt x="250" y="1709"/>
                  </a:lnTo>
                  <a:close/>
                </a:path>
              </a:pathLst>
            </a:custGeom>
            <a:solidFill>
              <a:srgbClr val="DDE2CD"/>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21" name="Freeform 1083"/>
            <p:cNvSpPr>
              <a:spLocks/>
            </p:cNvSpPr>
            <p:nvPr/>
          </p:nvSpPr>
          <p:spPr bwMode="auto">
            <a:xfrm>
              <a:off x="4654" y="2980"/>
              <a:ext cx="336" cy="476"/>
            </a:xfrm>
            <a:custGeom>
              <a:avLst/>
              <a:gdLst>
                <a:gd name="T0" fmla="*/ 28 w 1008"/>
                <a:gd name="T1" fmla="*/ 101 h 1960"/>
                <a:gd name="T2" fmla="*/ 0 w 1008"/>
                <a:gd name="T3" fmla="*/ 101 h 1960"/>
                <a:gd name="T4" fmla="*/ 55 w 1008"/>
                <a:gd name="T5" fmla="*/ 116 h 1960"/>
                <a:gd name="T6" fmla="*/ 111 w 1008"/>
                <a:gd name="T7" fmla="*/ 101 h 1960"/>
                <a:gd name="T8" fmla="*/ 83 w 1008"/>
                <a:gd name="T9" fmla="*/ 101 h 1960"/>
                <a:gd name="T10" fmla="*/ 84 w 1008"/>
                <a:gd name="T11" fmla="*/ 15 h 1960"/>
                <a:gd name="T12" fmla="*/ 112 w 1008"/>
                <a:gd name="T13" fmla="*/ 15 h 1960"/>
                <a:gd name="T14" fmla="*/ 57 w 1008"/>
                <a:gd name="T15" fmla="*/ 0 h 1960"/>
                <a:gd name="T16" fmla="*/ 1 w 1008"/>
                <a:gd name="T17" fmla="*/ 15 h 1960"/>
                <a:gd name="T18" fmla="*/ 29 w 1008"/>
                <a:gd name="T19" fmla="*/ 15 h 1960"/>
                <a:gd name="T20" fmla="*/ 28 w 1008"/>
                <a:gd name="T21" fmla="*/ 101 h 196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8"/>
                <a:gd name="T34" fmla="*/ 0 h 1960"/>
                <a:gd name="T35" fmla="*/ 1008 w 1008"/>
                <a:gd name="T36" fmla="*/ 1960 h 196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8" h="1960">
                  <a:moveTo>
                    <a:pt x="250" y="1709"/>
                  </a:moveTo>
                  <a:lnTo>
                    <a:pt x="0" y="1708"/>
                  </a:lnTo>
                  <a:lnTo>
                    <a:pt x="497" y="1960"/>
                  </a:lnTo>
                  <a:lnTo>
                    <a:pt x="998" y="1715"/>
                  </a:lnTo>
                  <a:lnTo>
                    <a:pt x="748" y="1712"/>
                  </a:lnTo>
                  <a:lnTo>
                    <a:pt x="758" y="251"/>
                  </a:lnTo>
                  <a:lnTo>
                    <a:pt x="1008" y="253"/>
                  </a:lnTo>
                  <a:lnTo>
                    <a:pt x="511" y="0"/>
                  </a:lnTo>
                  <a:lnTo>
                    <a:pt x="10" y="246"/>
                  </a:lnTo>
                  <a:lnTo>
                    <a:pt x="260" y="248"/>
                  </a:lnTo>
                  <a:lnTo>
                    <a:pt x="250" y="1709"/>
                  </a:lnTo>
                  <a:close/>
                </a:path>
              </a:pathLst>
            </a:custGeom>
            <a:noFill/>
            <a:ln w="1588">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22" name="Rectangle 1084"/>
            <p:cNvSpPr>
              <a:spLocks noChangeArrowheads="1"/>
            </p:cNvSpPr>
            <p:nvPr/>
          </p:nvSpPr>
          <p:spPr bwMode="auto">
            <a:xfrm rot="16200000">
              <a:off x="4800" y="3353"/>
              <a:ext cx="28"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E</a:t>
              </a:r>
              <a:endParaRPr lang="en-US" sz="1800" b="0" kern="0" baseline="0">
                <a:solidFill>
                  <a:sysClr val="windowText" lastClr="000000"/>
                </a:solidFill>
                <a:latin typeface="Arial" charset="0"/>
                <a:ea typeface="ＭＳ Ｐゴシック"/>
                <a:cs typeface="ＭＳ Ｐゴシック"/>
              </a:endParaRPr>
            </a:p>
          </p:txBody>
        </p:sp>
        <p:sp>
          <p:nvSpPr>
            <p:cNvPr id="523" name="Rectangle 1085"/>
            <p:cNvSpPr>
              <a:spLocks noChangeArrowheads="1"/>
            </p:cNvSpPr>
            <p:nvPr/>
          </p:nvSpPr>
          <p:spPr bwMode="auto">
            <a:xfrm rot="16200000">
              <a:off x="4797" y="3326"/>
              <a:ext cx="35"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m</a:t>
              </a:r>
              <a:endParaRPr lang="en-US" sz="1800" b="0" kern="0" baseline="0">
                <a:solidFill>
                  <a:sysClr val="windowText" lastClr="000000"/>
                </a:solidFill>
                <a:latin typeface="Arial" charset="0"/>
                <a:ea typeface="ＭＳ Ｐゴシック"/>
                <a:cs typeface="ＭＳ Ｐゴシック"/>
              </a:endParaRPr>
            </a:p>
          </p:txBody>
        </p:sp>
        <p:sp>
          <p:nvSpPr>
            <p:cNvPr id="524" name="Rectangle 1086"/>
            <p:cNvSpPr>
              <a:spLocks noChangeArrowheads="1"/>
            </p:cNvSpPr>
            <p:nvPr/>
          </p:nvSpPr>
          <p:spPr bwMode="auto">
            <a:xfrm rot="16200000">
              <a:off x="4802" y="3302"/>
              <a:ext cx="2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e</a:t>
              </a:r>
              <a:endParaRPr lang="en-US" sz="1800" b="0" kern="0" baseline="0">
                <a:solidFill>
                  <a:sysClr val="windowText" lastClr="000000"/>
                </a:solidFill>
                <a:latin typeface="Arial" charset="0"/>
                <a:ea typeface="ＭＳ Ｐゴシック"/>
                <a:cs typeface="ＭＳ Ｐゴシック"/>
              </a:endParaRPr>
            </a:p>
          </p:txBody>
        </p:sp>
        <p:sp>
          <p:nvSpPr>
            <p:cNvPr id="525" name="Rectangle 1087"/>
            <p:cNvSpPr>
              <a:spLocks noChangeArrowheads="1"/>
            </p:cNvSpPr>
            <p:nvPr/>
          </p:nvSpPr>
          <p:spPr bwMode="auto">
            <a:xfrm rot="16200000">
              <a:off x="4808" y="3286"/>
              <a:ext cx="1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r</a:t>
              </a:r>
              <a:endParaRPr lang="en-US" sz="1800" b="0" kern="0" baseline="0">
                <a:solidFill>
                  <a:sysClr val="windowText" lastClr="000000"/>
                </a:solidFill>
                <a:latin typeface="Arial" charset="0"/>
                <a:ea typeface="ＭＳ Ｐゴシック"/>
                <a:cs typeface="ＭＳ Ｐゴシック"/>
              </a:endParaRPr>
            </a:p>
          </p:txBody>
        </p:sp>
        <p:sp>
          <p:nvSpPr>
            <p:cNvPr id="526" name="Rectangle 1088"/>
            <p:cNvSpPr>
              <a:spLocks noChangeArrowheads="1"/>
            </p:cNvSpPr>
            <p:nvPr/>
          </p:nvSpPr>
          <p:spPr bwMode="auto">
            <a:xfrm rot="16200000">
              <a:off x="4803" y="3269"/>
              <a:ext cx="2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g</a:t>
              </a:r>
              <a:endParaRPr lang="en-US" sz="1800" b="0" kern="0" baseline="0">
                <a:solidFill>
                  <a:sysClr val="windowText" lastClr="000000"/>
                </a:solidFill>
                <a:latin typeface="Arial" charset="0"/>
                <a:ea typeface="ＭＳ Ｐゴシック"/>
                <a:cs typeface="ＭＳ Ｐゴシック"/>
              </a:endParaRPr>
            </a:p>
          </p:txBody>
        </p:sp>
        <p:sp>
          <p:nvSpPr>
            <p:cNvPr id="527" name="Rectangle 1089"/>
            <p:cNvSpPr>
              <a:spLocks noChangeArrowheads="1"/>
            </p:cNvSpPr>
            <p:nvPr/>
          </p:nvSpPr>
          <p:spPr bwMode="auto">
            <a:xfrm rot="16200000">
              <a:off x="4803" y="3250"/>
              <a:ext cx="2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e</a:t>
              </a:r>
              <a:endParaRPr lang="en-US" sz="1800" b="0" kern="0" baseline="0">
                <a:solidFill>
                  <a:sysClr val="windowText" lastClr="000000"/>
                </a:solidFill>
                <a:latin typeface="Arial" charset="0"/>
                <a:ea typeface="ＭＳ Ｐゴシック"/>
                <a:cs typeface="ＭＳ Ｐゴシック"/>
              </a:endParaRPr>
            </a:p>
          </p:txBody>
        </p:sp>
        <p:sp>
          <p:nvSpPr>
            <p:cNvPr id="528" name="Rectangle 1090"/>
            <p:cNvSpPr>
              <a:spLocks noChangeArrowheads="1"/>
            </p:cNvSpPr>
            <p:nvPr/>
          </p:nvSpPr>
          <p:spPr bwMode="auto">
            <a:xfrm rot="16200000">
              <a:off x="4803" y="3229"/>
              <a:ext cx="2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n</a:t>
              </a:r>
              <a:endParaRPr lang="en-US" sz="1800" b="0" kern="0" baseline="0">
                <a:solidFill>
                  <a:sysClr val="windowText" lastClr="000000"/>
                </a:solidFill>
                <a:latin typeface="Arial" charset="0"/>
                <a:ea typeface="ＭＳ Ｐゴシック"/>
                <a:cs typeface="ＭＳ Ｐゴシック"/>
              </a:endParaRPr>
            </a:p>
          </p:txBody>
        </p:sp>
        <p:sp>
          <p:nvSpPr>
            <p:cNvPr id="529" name="Rectangle 1091"/>
            <p:cNvSpPr>
              <a:spLocks noChangeArrowheads="1"/>
            </p:cNvSpPr>
            <p:nvPr/>
          </p:nvSpPr>
          <p:spPr bwMode="auto">
            <a:xfrm rot="16200000">
              <a:off x="4805" y="3209"/>
              <a:ext cx="21"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c</a:t>
              </a:r>
              <a:endParaRPr lang="en-US" sz="1800" b="0" kern="0" baseline="0">
                <a:solidFill>
                  <a:sysClr val="windowText" lastClr="000000"/>
                </a:solidFill>
                <a:latin typeface="Arial" charset="0"/>
                <a:ea typeface="ＭＳ Ｐゴシック"/>
                <a:cs typeface="ＭＳ Ｐゴシック"/>
              </a:endParaRPr>
            </a:p>
          </p:txBody>
        </p:sp>
        <p:sp>
          <p:nvSpPr>
            <p:cNvPr id="530" name="Rectangle 1092"/>
            <p:cNvSpPr>
              <a:spLocks noChangeArrowheads="1"/>
            </p:cNvSpPr>
            <p:nvPr/>
          </p:nvSpPr>
          <p:spPr bwMode="auto">
            <a:xfrm rot="16200000">
              <a:off x="4805" y="3193"/>
              <a:ext cx="21"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y</a:t>
              </a:r>
              <a:endParaRPr lang="en-US" sz="1800" b="0" kern="0" baseline="0">
                <a:solidFill>
                  <a:sysClr val="windowText" lastClr="000000"/>
                </a:solidFill>
                <a:latin typeface="Arial" charset="0"/>
                <a:ea typeface="ＭＳ Ｐゴシック"/>
                <a:cs typeface="ＭＳ Ｐゴシック"/>
              </a:endParaRPr>
            </a:p>
          </p:txBody>
        </p:sp>
        <p:sp>
          <p:nvSpPr>
            <p:cNvPr id="531" name="Rectangle 1093"/>
            <p:cNvSpPr>
              <a:spLocks noChangeArrowheads="1"/>
            </p:cNvSpPr>
            <p:nvPr/>
          </p:nvSpPr>
          <p:spPr bwMode="auto">
            <a:xfrm rot="16200000">
              <a:off x="4810" y="3178"/>
              <a:ext cx="12"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 </a:t>
              </a:r>
              <a:endParaRPr lang="en-US" sz="1800" b="0" kern="0" baseline="0">
                <a:solidFill>
                  <a:sysClr val="windowText" lastClr="000000"/>
                </a:solidFill>
                <a:latin typeface="Arial" charset="0"/>
                <a:ea typeface="ＭＳ Ｐゴシック"/>
                <a:cs typeface="ＭＳ Ｐゴシック"/>
              </a:endParaRPr>
            </a:p>
          </p:txBody>
        </p:sp>
        <p:sp>
          <p:nvSpPr>
            <p:cNvPr id="532" name="Rectangle 1094"/>
            <p:cNvSpPr>
              <a:spLocks noChangeArrowheads="1"/>
            </p:cNvSpPr>
            <p:nvPr/>
          </p:nvSpPr>
          <p:spPr bwMode="auto">
            <a:xfrm rot="16200000">
              <a:off x="4801" y="3159"/>
              <a:ext cx="31"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R</a:t>
              </a:r>
              <a:endParaRPr lang="en-US" sz="1800" b="0" kern="0" baseline="0">
                <a:solidFill>
                  <a:sysClr val="windowText" lastClr="000000"/>
                </a:solidFill>
                <a:latin typeface="Arial" charset="0"/>
                <a:ea typeface="ＭＳ Ｐゴシック"/>
                <a:cs typeface="ＭＳ Ｐゴシック"/>
              </a:endParaRPr>
            </a:p>
          </p:txBody>
        </p:sp>
        <p:sp>
          <p:nvSpPr>
            <p:cNvPr id="533" name="Rectangle 1095"/>
            <p:cNvSpPr>
              <a:spLocks noChangeArrowheads="1"/>
            </p:cNvSpPr>
            <p:nvPr/>
          </p:nvSpPr>
          <p:spPr bwMode="auto">
            <a:xfrm rot="16200000">
              <a:off x="4804" y="3136"/>
              <a:ext cx="2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e</a:t>
              </a:r>
              <a:endParaRPr lang="en-US" sz="1800" b="0" kern="0" baseline="0">
                <a:solidFill>
                  <a:sysClr val="windowText" lastClr="000000"/>
                </a:solidFill>
                <a:latin typeface="Arial" charset="0"/>
                <a:ea typeface="ＭＳ Ｐゴシック"/>
                <a:cs typeface="ＭＳ Ｐゴシック"/>
              </a:endParaRPr>
            </a:p>
          </p:txBody>
        </p:sp>
        <p:sp>
          <p:nvSpPr>
            <p:cNvPr id="534" name="Rectangle 1096"/>
            <p:cNvSpPr>
              <a:spLocks noChangeArrowheads="1"/>
            </p:cNvSpPr>
            <p:nvPr/>
          </p:nvSpPr>
          <p:spPr bwMode="auto">
            <a:xfrm rot="16200000">
              <a:off x="4806" y="3116"/>
              <a:ext cx="21"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s</a:t>
              </a:r>
              <a:endParaRPr lang="en-US" sz="1800" b="0" kern="0" baseline="0">
                <a:solidFill>
                  <a:sysClr val="windowText" lastClr="000000"/>
                </a:solidFill>
                <a:latin typeface="Arial" charset="0"/>
                <a:ea typeface="ＭＳ Ｐゴシック"/>
                <a:cs typeface="ＭＳ Ｐゴシック"/>
              </a:endParaRPr>
            </a:p>
          </p:txBody>
        </p:sp>
        <p:sp>
          <p:nvSpPr>
            <p:cNvPr id="535" name="Rectangle 1097"/>
            <p:cNvSpPr>
              <a:spLocks noChangeArrowheads="1"/>
            </p:cNvSpPr>
            <p:nvPr/>
          </p:nvSpPr>
          <p:spPr bwMode="auto">
            <a:xfrm rot="16200000">
              <a:off x="4804" y="3097"/>
              <a:ext cx="2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p</a:t>
              </a:r>
              <a:endParaRPr lang="en-US" sz="1800" b="0" kern="0" baseline="0">
                <a:solidFill>
                  <a:sysClr val="windowText" lastClr="000000"/>
                </a:solidFill>
                <a:latin typeface="Arial" charset="0"/>
                <a:ea typeface="ＭＳ Ｐゴシック"/>
                <a:cs typeface="ＭＳ Ｐゴシック"/>
              </a:endParaRPr>
            </a:p>
          </p:txBody>
        </p:sp>
        <p:sp>
          <p:nvSpPr>
            <p:cNvPr id="536" name="Rectangle 1098"/>
            <p:cNvSpPr>
              <a:spLocks noChangeArrowheads="1"/>
            </p:cNvSpPr>
            <p:nvPr/>
          </p:nvSpPr>
          <p:spPr bwMode="auto">
            <a:xfrm rot="16200000">
              <a:off x="4804" y="3078"/>
              <a:ext cx="2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o</a:t>
              </a:r>
              <a:endParaRPr lang="en-US" sz="1800" b="0" kern="0" baseline="0">
                <a:solidFill>
                  <a:sysClr val="windowText" lastClr="000000"/>
                </a:solidFill>
                <a:latin typeface="Arial" charset="0"/>
                <a:ea typeface="ＭＳ Ｐゴシック"/>
                <a:cs typeface="ＭＳ Ｐゴシック"/>
              </a:endParaRPr>
            </a:p>
          </p:txBody>
        </p:sp>
        <p:sp>
          <p:nvSpPr>
            <p:cNvPr id="537" name="Rectangle 1099"/>
            <p:cNvSpPr>
              <a:spLocks noChangeArrowheads="1"/>
            </p:cNvSpPr>
            <p:nvPr/>
          </p:nvSpPr>
          <p:spPr bwMode="auto">
            <a:xfrm rot="16200000">
              <a:off x="4805" y="3057"/>
              <a:ext cx="2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n</a:t>
              </a:r>
              <a:endParaRPr lang="en-US" sz="1800" b="0" kern="0" baseline="0">
                <a:solidFill>
                  <a:sysClr val="windowText" lastClr="000000"/>
                </a:solidFill>
                <a:latin typeface="Arial" charset="0"/>
                <a:ea typeface="ＭＳ Ｐゴシック"/>
                <a:cs typeface="ＭＳ Ｐゴシック"/>
              </a:endParaRPr>
            </a:p>
          </p:txBody>
        </p:sp>
        <p:sp>
          <p:nvSpPr>
            <p:cNvPr id="538" name="Rectangle 1100"/>
            <p:cNvSpPr>
              <a:spLocks noChangeArrowheads="1"/>
            </p:cNvSpPr>
            <p:nvPr/>
          </p:nvSpPr>
          <p:spPr bwMode="auto">
            <a:xfrm rot="16200000">
              <a:off x="4807" y="3036"/>
              <a:ext cx="21"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s</a:t>
              </a:r>
              <a:endParaRPr lang="en-US" sz="1800" b="0" kern="0" baseline="0">
                <a:solidFill>
                  <a:sysClr val="windowText" lastClr="000000"/>
                </a:solidFill>
                <a:latin typeface="Arial" charset="0"/>
                <a:ea typeface="ＭＳ Ｐゴシック"/>
                <a:cs typeface="ＭＳ Ｐゴシック"/>
              </a:endParaRPr>
            </a:p>
          </p:txBody>
        </p:sp>
        <p:sp>
          <p:nvSpPr>
            <p:cNvPr id="539" name="Rectangle 1101"/>
            <p:cNvSpPr>
              <a:spLocks noChangeArrowheads="1"/>
            </p:cNvSpPr>
            <p:nvPr/>
          </p:nvSpPr>
          <p:spPr bwMode="auto">
            <a:xfrm rot="16200000">
              <a:off x="4805" y="3018"/>
              <a:ext cx="24" cy="58"/>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600" b="0" kern="0" baseline="0">
                  <a:solidFill>
                    <a:srgbClr val="000000"/>
                  </a:solidFill>
                  <a:latin typeface="Arial" charset="0"/>
                  <a:ea typeface="ＭＳ Ｐゴシック"/>
                  <a:cs typeface="ＭＳ Ｐゴシック"/>
                </a:rPr>
                <a:t>e</a:t>
              </a:r>
              <a:endParaRPr lang="en-US" sz="1800" b="0" kern="0" baseline="0">
                <a:solidFill>
                  <a:sysClr val="windowText" lastClr="000000"/>
                </a:solidFill>
                <a:latin typeface="Arial" charset="0"/>
                <a:ea typeface="ＭＳ Ｐゴシック"/>
                <a:cs typeface="ＭＳ Ｐゴシック"/>
              </a:endParaRPr>
            </a:p>
          </p:txBody>
        </p:sp>
        <p:sp>
          <p:nvSpPr>
            <p:cNvPr id="540" name="Freeform 1102"/>
            <p:cNvSpPr>
              <a:spLocks/>
            </p:cNvSpPr>
            <p:nvPr/>
          </p:nvSpPr>
          <p:spPr bwMode="auto">
            <a:xfrm>
              <a:off x="4785" y="3835"/>
              <a:ext cx="363" cy="167"/>
            </a:xfrm>
            <a:custGeom>
              <a:avLst/>
              <a:gdLst>
                <a:gd name="T0" fmla="*/ 113 w 1090"/>
                <a:gd name="T1" fmla="*/ 41 h 688"/>
                <a:gd name="T2" fmla="*/ 115 w 1090"/>
                <a:gd name="T3" fmla="*/ 41 h 688"/>
                <a:gd name="T4" fmla="*/ 116 w 1090"/>
                <a:gd name="T5" fmla="*/ 40 h 688"/>
                <a:gd name="T6" fmla="*/ 118 w 1090"/>
                <a:gd name="T7" fmla="*/ 40 h 688"/>
                <a:gd name="T8" fmla="*/ 119 w 1090"/>
                <a:gd name="T9" fmla="*/ 39 h 688"/>
                <a:gd name="T10" fmla="*/ 120 w 1090"/>
                <a:gd name="T11" fmla="*/ 39 h 688"/>
                <a:gd name="T12" fmla="*/ 120 w 1090"/>
                <a:gd name="T13" fmla="*/ 38 h 688"/>
                <a:gd name="T14" fmla="*/ 121 w 1090"/>
                <a:gd name="T15" fmla="*/ 37 h 688"/>
                <a:gd name="T16" fmla="*/ 121 w 1090"/>
                <a:gd name="T17" fmla="*/ 36 h 688"/>
                <a:gd name="T18" fmla="*/ 121 w 1090"/>
                <a:gd name="T19" fmla="*/ 4 h 688"/>
                <a:gd name="T20" fmla="*/ 121 w 1090"/>
                <a:gd name="T21" fmla="*/ 3 h 688"/>
                <a:gd name="T22" fmla="*/ 120 w 1090"/>
                <a:gd name="T23" fmla="*/ 2 h 688"/>
                <a:gd name="T24" fmla="*/ 120 w 1090"/>
                <a:gd name="T25" fmla="*/ 2 h 688"/>
                <a:gd name="T26" fmla="*/ 119 w 1090"/>
                <a:gd name="T27" fmla="*/ 1 h 688"/>
                <a:gd name="T28" fmla="*/ 118 w 1090"/>
                <a:gd name="T29" fmla="*/ 1 h 688"/>
                <a:gd name="T30" fmla="*/ 116 w 1090"/>
                <a:gd name="T31" fmla="*/ 0 h 688"/>
                <a:gd name="T32" fmla="*/ 115 w 1090"/>
                <a:gd name="T33" fmla="*/ 0 h 688"/>
                <a:gd name="T34" fmla="*/ 113 w 1090"/>
                <a:gd name="T35" fmla="*/ 0 h 688"/>
                <a:gd name="T36" fmla="*/ 7 w 1090"/>
                <a:gd name="T37" fmla="*/ 0 h 688"/>
                <a:gd name="T38" fmla="*/ 5 w 1090"/>
                <a:gd name="T39" fmla="*/ 0 h 688"/>
                <a:gd name="T40" fmla="*/ 4 w 1090"/>
                <a:gd name="T41" fmla="*/ 0 h 688"/>
                <a:gd name="T42" fmla="*/ 3 w 1090"/>
                <a:gd name="T43" fmla="*/ 1 h 688"/>
                <a:gd name="T44" fmla="*/ 2 w 1090"/>
                <a:gd name="T45" fmla="*/ 1 h 688"/>
                <a:gd name="T46" fmla="*/ 1 w 1090"/>
                <a:gd name="T47" fmla="*/ 2 h 688"/>
                <a:gd name="T48" fmla="*/ 0 w 1090"/>
                <a:gd name="T49" fmla="*/ 3 h 688"/>
                <a:gd name="T50" fmla="*/ 0 w 1090"/>
                <a:gd name="T51" fmla="*/ 4 h 688"/>
                <a:gd name="T52" fmla="*/ 0 w 1090"/>
                <a:gd name="T53" fmla="*/ 36 h 688"/>
                <a:gd name="T54" fmla="*/ 0 w 1090"/>
                <a:gd name="T55" fmla="*/ 37 h 688"/>
                <a:gd name="T56" fmla="*/ 1 w 1090"/>
                <a:gd name="T57" fmla="*/ 38 h 688"/>
                <a:gd name="T58" fmla="*/ 1 w 1090"/>
                <a:gd name="T59" fmla="*/ 39 h 688"/>
                <a:gd name="T60" fmla="*/ 2 w 1090"/>
                <a:gd name="T61" fmla="*/ 39 h 688"/>
                <a:gd name="T62" fmla="*/ 3 w 1090"/>
                <a:gd name="T63" fmla="*/ 40 h 688"/>
                <a:gd name="T64" fmla="*/ 5 w 1090"/>
                <a:gd name="T65" fmla="*/ 40 h 688"/>
                <a:gd name="T66" fmla="*/ 6 w 1090"/>
                <a:gd name="T67" fmla="*/ 41 h 688"/>
                <a:gd name="T68" fmla="*/ 8 w 1090"/>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90"/>
                <a:gd name="T106" fmla="*/ 0 h 688"/>
                <a:gd name="T107" fmla="*/ 1090 w 1090"/>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90" h="688">
                  <a:moveTo>
                    <a:pt x="68" y="688"/>
                  </a:moveTo>
                  <a:lnTo>
                    <a:pt x="1022" y="688"/>
                  </a:lnTo>
                  <a:lnTo>
                    <a:pt x="1029" y="687"/>
                  </a:lnTo>
                  <a:lnTo>
                    <a:pt x="1035" y="686"/>
                  </a:lnTo>
                  <a:lnTo>
                    <a:pt x="1041" y="685"/>
                  </a:lnTo>
                  <a:lnTo>
                    <a:pt x="1048" y="683"/>
                  </a:lnTo>
                  <a:lnTo>
                    <a:pt x="1053" y="679"/>
                  </a:lnTo>
                  <a:lnTo>
                    <a:pt x="1059" y="676"/>
                  </a:lnTo>
                  <a:lnTo>
                    <a:pt x="1065" y="672"/>
                  </a:lnTo>
                  <a:lnTo>
                    <a:pt x="1069" y="668"/>
                  </a:lnTo>
                  <a:lnTo>
                    <a:pt x="1074" y="663"/>
                  </a:lnTo>
                  <a:lnTo>
                    <a:pt x="1077" y="658"/>
                  </a:lnTo>
                  <a:lnTo>
                    <a:pt x="1081" y="652"/>
                  </a:lnTo>
                  <a:lnTo>
                    <a:pt x="1084" y="646"/>
                  </a:lnTo>
                  <a:lnTo>
                    <a:pt x="1086" y="640"/>
                  </a:lnTo>
                  <a:lnTo>
                    <a:pt x="1087" y="634"/>
                  </a:lnTo>
                  <a:lnTo>
                    <a:pt x="1089" y="627"/>
                  </a:lnTo>
                  <a:lnTo>
                    <a:pt x="1090" y="620"/>
                  </a:lnTo>
                  <a:lnTo>
                    <a:pt x="1090" y="68"/>
                  </a:lnTo>
                  <a:lnTo>
                    <a:pt x="1089" y="60"/>
                  </a:lnTo>
                  <a:lnTo>
                    <a:pt x="1087" y="53"/>
                  </a:lnTo>
                  <a:lnTo>
                    <a:pt x="1086" y="47"/>
                  </a:lnTo>
                  <a:lnTo>
                    <a:pt x="1084" y="41"/>
                  </a:lnTo>
                  <a:lnTo>
                    <a:pt x="1081" y="35"/>
                  </a:lnTo>
                  <a:lnTo>
                    <a:pt x="1077" y="29"/>
                  </a:lnTo>
                  <a:lnTo>
                    <a:pt x="1074" y="24"/>
                  </a:lnTo>
                  <a:lnTo>
                    <a:pt x="1069" y="19"/>
                  </a:lnTo>
                  <a:lnTo>
                    <a:pt x="1065" y="15"/>
                  </a:lnTo>
                  <a:lnTo>
                    <a:pt x="1059" y="11"/>
                  </a:lnTo>
                  <a:lnTo>
                    <a:pt x="1053" y="8"/>
                  </a:lnTo>
                  <a:lnTo>
                    <a:pt x="1048" y="4"/>
                  </a:lnTo>
                  <a:lnTo>
                    <a:pt x="1041" y="2"/>
                  </a:lnTo>
                  <a:lnTo>
                    <a:pt x="1035" y="1"/>
                  </a:lnTo>
                  <a:lnTo>
                    <a:pt x="1029" y="0"/>
                  </a:lnTo>
                  <a:lnTo>
                    <a:pt x="1022" y="0"/>
                  </a:lnTo>
                  <a:lnTo>
                    <a:pt x="68" y="0"/>
                  </a:lnTo>
                  <a:lnTo>
                    <a:pt x="61" y="0"/>
                  </a:lnTo>
                  <a:lnTo>
                    <a:pt x="54" y="1"/>
                  </a:lnTo>
                  <a:lnTo>
                    <a:pt x="48" y="2"/>
                  </a:lnTo>
                  <a:lnTo>
                    <a:pt x="42" y="4"/>
                  </a:lnTo>
                  <a:lnTo>
                    <a:pt x="35" y="8"/>
                  </a:lnTo>
                  <a:lnTo>
                    <a:pt x="31" y="11"/>
                  </a:lnTo>
                  <a:lnTo>
                    <a:pt x="25" y="15"/>
                  </a:lnTo>
                  <a:lnTo>
                    <a:pt x="21" y="19"/>
                  </a:lnTo>
                  <a:lnTo>
                    <a:pt x="16" y="24"/>
                  </a:lnTo>
                  <a:lnTo>
                    <a:pt x="11" y="29"/>
                  </a:lnTo>
                  <a:lnTo>
                    <a:pt x="8" y="35"/>
                  </a:lnTo>
                  <a:lnTo>
                    <a:pt x="6" y="41"/>
                  </a:lnTo>
                  <a:lnTo>
                    <a:pt x="4" y="47"/>
                  </a:lnTo>
                  <a:lnTo>
                    <a:pt x="1" y="53"/>
                  </a:lnTo>
                  <a:lnTo>
                    <a:pt x="0" y="60"/>
                  </a:lnTo>
                  <a:lnTo>
                    <a:pt x="0" y="68"/>
                  </a:lnTo>
                  <a:lnTo>
                    <a:pt x="0" y="620"/>
                  </a:lnTo>
                  <a:lnTo>
                    <a:pt x="0" y="627"/>
                  </a:lnTo>
                  <a:lnTo>
                    <a:pt x="1" y="634"/>
                  </a:lnTo>
                  <a:lnTo>
                    <a:pt x="4" y="640"/>
                  </a:lnTo>
                  <a:lnTo>
                    <a:pt x="6" y="646"/>
                  </a:lnTo>
                  <a:lnTo>
                    <a:pt x="8" y="652"/>
                  </a:lnTo>
                  <a:lnTo>
                    <a:pt x="11" y="658"/>
                  </a:lnTo>
                  <a:lnTo>
                    <a:pt x="16" y="663"/>
                  </a:lnTo>
                  <a:lnTo>
                    <a:pt x="21" y="668"/>
                  </a:lnTo>
                  <a:lnTo>
                    <a:pt x="25" y="672"/>
                  </a:lnTo>
                  <a:lnTo>
                    <a:pt x="31" y="676"/>
                  </a:lnTo>
                  <a:lnTo>
                    <a:pt x="35" y="679"/>
                  </a:lnTo>
                  <a:lnTo>
                    <a:pt x="42" y="683"/>
                  </a:lnTo>
                  <a:lnTo>
                    <a:pt x="48" y="685"/>
                  </a:lnTo>
                  <a:lnTo>
                    <a:pt x="54" y="686"/>
                  </a:lnTo>
                  <a:lnTo>
                    <a:pt x="61" y="687"/>
                  </a:lnTo>
                  <a:lnTo>
                    <a:pt x="68" y="688"/>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41" name="Freeform 1103"/>
            <p:cNvSpPr>
              <a:spLocks/>
            </p:cNvSpPr>
            <p:nvPr/>
          </p:nvSpPr>
          <p:spPr bwMode="auto">
            <a:xfrm>
              <a:off x="4785" y="3835"/>
              <a:ext cx="363" cy="167"/>
            </a:xfrm>
            <a:custGeom>
              <a:avLst/>
              <a:gdLst>
                <a:gd name="T0" fmla="*/ 113 w 1090"/>
                <a:gd name="T1" fmla="*/ 41 h 688"/>
                <a:gd name="T2" fmla="*/ 115 w 1090"/>
                <a:gd name="T3" fmla="*/ 41 h 688"/>
                <a:gd name="T4" fmla="*/ 116 w 1090"/>
                <a:gd name="T5" fmla="*/ 40 h 688"/>
                <a:gd name="T6" fmla="*/ 118 w 1090"/>
                <a:gd name="T7" fmla="*/ 40 h 688"/>
                <a:gd name="T8" fmla="*/ 119 w 1090"/>
                <a:gd name="T9" fmla="*/ 39 h 688"/>
                <a:gd name="T10" fmla="*/ 120 w 1090"/>
                <a:gd name="T11" fmla="*/ 39 h 688"/>
                <a:gd name="T12" fmla="*/ 120 w 1090"/>
                <a:gd name="T13" fmla="*/ 38 h 688"/>
                <a:gd name="T14" fmla="*/ 121 w 1090"/>
                <a:gd name="T15" fmla="*/ 37 h 688"/>
                <a:gd name="T16" fmla="*/ 121 w 1090"/>
                <a:gd name="T17" fmla="*/ 36 h 688"/>
                <a:gd name="T18" fmla="*/ 121 w 1090"/>
                <a:gd name="T19" fmla="*/ 4 h 688"/>
                <a:gd name="T20" fmla="*/ 121 w 1090"/>
                <a:gd name="T21" fmla="*/ 3 h 688"/>
                <a:gd name="T22" fmla="*/ 120 w 1090"/>
                <a:gd name="T23" fmla="*/ 2 h 688"/>
                <a:gd name="T24" fmla="*/ 120 w 1090"/>
                <a:gd name="T25" fmla="*/ 2 h 688"/>
                <a:gd name="T26" fmla="*/ 119 w 1090"/>
                <a:gd name="T27" fmla="*/ 1 h 688"/>
                <a:gd name="T28" fmla="*/ 118 w 1090"/>
                <a:gd name="T29" fmla="*/ 1 h 688"/>
                <a:gd name="T30" fmla="*/ 116 w 1090"/>
                <a:gd name="T31" fmla="*/ 0 h 688"/>
                <a:gd name="T32" fmla="*/ 115 w 1090"/>
                <a:gd name="T33" fmla="*/ 0 h 688"/>
                <a:gd name="T34" fmla="*/ 113 w 1090"/>
                <a:gd name="T35" fmla="*/ 0 h 688"/>
                <a:gd name="T36" fmla="*/ 7 w 1090"/>
                <a:gd name="T37" fmla="*/ 0 h 688"/>
                <a:gd name="T38" fmla="*/ 5 w 1090"/>
                <a:gd name="T39" fmla="*/ 0 h 688"/>
                <a:gd name="T40" fmla="*/ 4 w 1090"/>
                <a:gd name="T41" fmla="*/ 0 h 688"/>
                <a:gd name="T42" fmla="*/ 3 w 1090"/>
                <a:gd name="T43" fmla="*/ 1 h 688"/>
                <a:gd name="T44" fmla="*/ 2 w 1090"/>
                <a:gd name="T45" fmla="*/ 1 h 688"/>
                <a:gd name="T46" fmla="*/ 1 w 1090"/>
                <a:gd name="T47" fmla="*/ 2 h 688"/>
                <a:gd name="T48" fmla="*/ 0 w 1090"/>
                <a:gd name="T49" fmla="*/ 3 h 688"/>
                <a:gd name="T50" fmla="*/ 0 w 1090"/>
                <a:gd name="T51" fmla="*/ 4 h 688"/>
                <a:gd name="T52" fmla="*/ 0 w 1090"/>
                <a:gd name="T53" fmla="*/ 36 h 688"/>
                <a:gd name="T54" fmla="*/ 0 w 1090"/>
                <a:gd name="T55" fmla="*/ 37 h 688"/>
                <a:gd name="T56" fmla="*/ 1 w 1090"/>
                <a:gd name="T57" fmla="*/ 38 h 688"/>
                <a:gd name="T58" fmla="*/ 1 w 1090"/>
                <a:gd name="T59" fmla="*/ 39 h 688"/>
                <a:gd name="T60" fmla="*/ 2 w 1090"/>
                <a:gd name="T61" fmla="*/ 39 h 688"/>
                <a:gd name="T62" fmla="*/ 3 w 1090"/>
                <a:gd name="T63" fmla="*/ 40 h 688"/>
                <a:gd name="T64" fmla="*/ 5 w 1090"/>
                <a:gd name="T65" fmla="*/ 40 h 688"/>
                <a:gd name="T66" fmla="*/ 6 w 1090"/>
                <a:gd name="T67" fmla="*/ 41 h 688"/>
                <a:gd name="T68" fmla="*/ 8 w 1090"/>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90"/>
                <a:gd name="T106" fmla="*/ 0 h 688"/>
                <a:gd name="T107" fmla="*/ 1090 w 1090"/>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90" h="688">
                  <a:moveTo>
                    <a:pt x="68" y="688"/>
                  </a:moveTo>
                  <a:lnTo>
                    <a:pt x="1022" y="688"/>
                  </a:lnTo>
                  <a:lnTo>
                    <a:pt x="1029" y="687"/>
                  </a:lnTo>
                  <a:lnTo>
                    <a:pt x="1035" y="686"/>
                  </a:lnTo>
                  <a:lnTo>
                    <a:pt x="1041" y="685"/>
                  </a:lnTo>
                  <a:lnTo>
                    <a:pt x="1048" y="683"/>
                  </a:lnTo>
                  <a:lnTo>
                    <a:pt x="1053" y="679"/>
                  </a:lnTo>
                  <a:lnTo>
                    <a:pt x="1059" y="676"/>
                  </a:lnTo>
                  <a:lnTo>
                    <a:pt x="1065" y="672"/>
                  </a:lnTo>
                  <a:lnTo>
                    <a:pt x="1069" y="668"/>
                  </a:lnTo>
                  <a:lnTo>
                    <a:pt x="1074" y="663"/>
                  </a:lnTo>
                  <a:lnTo>
                    <a:pt x="1077" y="658"/>
                  </a:lnTo>
                  <a:lnTo>
                    <a:pt x="1081" y="652"/>
                  </a:lnTo>
                  <a:lnTo>
                    <a:pt x="1084" y="646"/>
                  </a:lnTo>
                  <a:lnTo>
                    <a:pt x="1086" y="640"/>
                  </a:lnTo>
                  <a:lnTo>
                    <a:pt x="1087" y="634"/>
                  </a:lnTo>
                  <a:lnTo>
                    <a:pt x="1089" y="627"/>
                  </a:lnTo>
                  <a:lnTo>
                    <a:pt x="1090" y="620"/>
                  </a:lnTo>
                  <a:lnTo>
                    <a:pt x="1090" y="68"/>
                  </a:lnTo>
                  <a:lnTo>
                    <a:pt x="1089" y="60"/>
                  </a:lnTo>
                  <a:lnTo>
                    <a:pt x="1087" y="53"/>
                  </a:lnTo>
                  <a:lnTo>
                    <a:pt x="1086" y="47"/>
                  </a:lnTo>
                  <a:lnTo>
                    <a:pt x="1084" y="41"/>
                  </a:lnTo>
                  <a:lnTo>
                    <a:pt x="1081" y="35"/>
                  </a:lnTo>
                  <a:lnTo>
                    <a:pt x="1077" y="29"/>
                  </a:lnTo>
                  <a:lnTo>
                    <a:pt x="1074" y="24"/>
                  </a:lnTo>
                  <a:lnTo>
                    <a:pt x="1069" y="19"/>
                  </a:lnTo>
                  <a:lnTo>
                    <a:pt x="1065" y="15"/>
                  </a:lnTo>
                  <a:lnTo>
                    <a:pt x="1059" y="11"/>
                  </a:lnTo>
                  <a:lnTo>
                    <a:pt x="1053" y="8"/>
                  </a:lnTo>
                  <a:lnTo>
                    <a:pt x="1048" y="4"/>
                  </a:lnTo>
                  <a:lnTo>
                    <a:pt x="1041" y="2"/>
                  </a:lnTo>
                  <a:lnTo>
                    <a:pt x="1035" y="1"/>
                  </a:lnTo>
                  <a:lnTo>
                    <a:pt x="1029" y="0"/>
                  </a:lnTo>
                  <a:lnTo>
                    <a:pt x="1022" y="0"/>
                  </a:lnTo>
                  <a:lnTo>
                    <a:pt x="68" y="0"/>
                  </a:lnTo>
                  <a:lnTo>
                    <a:pt x="61" y="0"/>
                  </a:lnTo>
                  <a:lnTo>
                    <a:pt x="54" y="1"/>
                  </a:lnTo>
                  <a:lnTo>
                    <a:pt x="48" y="2"/>
                  </a:lnTo>
                  <a:lnTo>
                    <a:pt x="42" y="4"/>
                  </a:lnTo>
                  <a:lnTo>
                    <a:pt x="35" y="8"/>
                  </a:lnTo>
                  <a:lnTo>
                    <a:pt x="31" y="11"/>
                  </a:lnTo>
                  <a:lnTo>
                    <a:pt x="25" y="15"/>
                  </a:lnTo>
                  <a:lnTo>
                    <a:pt x="21" y="19"/>
                  </a:lnTo>
                  <a:lnTo>
                    <a:pt x="16" y="24"/>
                  </a:lnTo>
                  <a:lnTo>
                    <a:pt x="11" y="29"/>
                  </a:lnTo>
                  <a:lnTo>
                    <a:pt x="8" y="35"/>
                  </a:lnTo>
                  <a:lnTo>
                    <a:pt x="6" y="41"/>
                  </a:lnTo>
                  <a:lnTo>
                    <a:pt x="4" y="47"/>
                  </a:lnTo>
                  <a:lnTo>
                    <a:pt x="1" y="53"/>
                  </a:lnTo>
                  <a:lnTo>
                    <a:pt x="0" y="60"/>
                  </a:lnTo>
                  <a:lnTo>
                    <a:pt x="0" y="68"/>
                  </a:lnTo>
                  <a:lnTo>
                    <a:pt x="0" y="620"/>
                  </a:lnTo>
                  <a:lnTo>
                    <a:pt x="0" y="627"/>
                  </a:lnTo>
                  <a:lnTo>
                    <a:pt x="1" y="634"/>
                  </a:lnTo>
                  <a:lnTo>
                    <a:pt x="4" y="640"/>
                  </a:lnTo>
                  <a:lnTo>
                    <a:pt x="6" y="646"/>
                  </a:lnTo>
                  <a:lnTo>
                    <a:pt x="8" y="652"/>
                  </a:lnTo>
                  <a:lnTo>
                    <a:pt x="11" y="658"/>
                  </a:lnTo>
                  <a:lnTo>
                    <a:pt x="16" y="663"/>
                  </a:lnTo>
                  <a:lnTo>
                    <a:pt x="21" y="668"/>
                  </a:lnTo>
                  <a:lnTo>
                    <a:pt x="25" y="672"/>
                  </a:lnTo>
                  <a:lnTo>
                    <a:pt x="31" y="676"/>
                  </a:lnTo>
                  <a:lnTo>
                    <a:pt x="35" y="679"/>
                  </a:lnTo>
                  <a:lnTo>
                    <a:pt x="42" y="683"/>
                  </a:lnTo>
                  <a:lnTo>
                    <a:pt x="48" y="685"/>
                  </a:lnTo>
                  <a:lnTo>
                    <a:pt x="54" y="686"/>
                  </a:lnTo>
                  <a:lnTo>
                    <a:pt x="61" y="687"/>
                  </a:lnTo>
                  <a:lnTo>
                    <a:pt x="68"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42" name="Rectangle 1104"/>
            <p:cNvSpPr>
              <a:spLocks noChangeArrowheads="1"/>
            </p:cNvSpPr>
            <p:nvPr/>
          </p:nvSpPr>
          <p:spPr bwMode="auto">
            <a:xfrm>
              <a:off x="4894" y="3866"/>
              <a:ext cx="15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a:t>
              </a:r>
              <a:endParaRPr lang="en-US" sz="1800" b="0" kern="0" baseline="0">
                <a:solidFill>
                  <a:sysClr val="windowText" lastClr="000000"/>
                </a:solidFill>
                <a:latin typeface="Arial" charset="0"/>
                <a:ea typeface="ＭＳ Ｐゴシック"/>
                <a:cs typeface="ＭＳ Ｐゴシック"/>
              </a:endParaRPr>
            </a:p>
          </p:txBody>
        </p:sp>
        <p:sp>
          <p:nvSpPr>
            <p:cNvPr id="543" name="Rectangle 1105"/>
            <p:cNvSpPr>
              <a:spLocks noChangeArrowheads="1"/>
            </p:cNvSpPr>
            <p:nvPr/>
          </p:nvSpPr>
          <p:spPr bwMode="auto">
            <a:xfrm>
              <a:off x="4863" y="3901"/>
              <a:ext cx="216"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Operational </a:t>
              </a:r>
              <a:endParaRPr lang="en-US" sz="1800" b="0" kern="0" baseline="0">
                <a:solidFill>
                  <a:sysClr val="windowText" lastClr="000000"/>
                </a:solidFill>
                <a:latin typeface="Arial" charset="0"/>
                <a:ea typeface="ＭＳ Ｐゴシック"/>
                <a:cs typeface="ＭＳ Ｐゴシック"/>
              </a:endParaRPr>
            </a:p>
          </p:txBody>
        </p:sp>
        <p:sp>
          <p:nvSpPr>
            <p:cNvPr id="544" name="Rectangle 1106"/>
            <p:cNvSpPr>
              <a:spLocks noChangeArrowheads="1"/>
            </p:cNvSpPr>
            <p:nvPr/>
          </p:nvSpPr>
          <p:spPr bwMode="auto">
            <a:xfrm>
              <a:off x="4866" y="3936"/>
              <a:ext cx="198"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Information</a:t>
              </a:r>
              <a:endParaRPr lang="en-US" sz="1800" b="0" kern="0" baseline="0">
                <a:solidFill>
                  <a:sysClr val="windowText" lastClr="000000"/>
                </a:solidFill>
                <a:latin typeface="Arial" charset="0"/>
                <a:ea typeface="ＭＳ Ｐゴシック"/>
                <a:cs typeface="ＭＳ Ｐゴシック"/>
              </a:endParaRPr>
            </a:p>
          </p:txBody>
        </p:sp>
        <p:sp>
          <p:nvSpPr>
            <p:cNvPr id="545" name="Freeform 1107"/>
            <p:cNvSpPr>
              <a:spLocks/>
            </p:cNvSpPr>
            <p:nvPr/>
          </p:nvSpPr>
          <p:spPr bwMode="auto">
            <a:xfrm>
              <a:off x="5252" y="3835"/>
              <a:ext cx="363" cy="167"/>
            </a:xfrm>
            <a:custGeom>
              <a:avLst/>
              <a:gdLst>
                <a:gd name="T0" fmla="*/ 113 w 1088"/>
                <a:gd name="T1" fmla="*/ 41 h 688"/>
                <a:gd name="T2" fmla="*/ 115 w 1088"/>
                <a:gd name="T3" fmla="*/ 41 h 688"/>
                <a:gd name="T4" fmla="*/ 116 w 1088"/>
                <a:gd name="T5" fmla="*/ 40 h 688"/>
                <a:gd name="T6" fmla="*/ 118 w 1088"/>
                <a:gd name="T7" fmla="*/ 40 h 688"/>
                <a:gd name="T8" fmla="*/ 119 w 1088"/>
                <a:gd name="T9" fmla="*/ 39 h 688"/>
                <a:gd name="T10" fmla="*/ 120 w 1088"/>
                <a:gd name="T11" fmla="*/ 39 h 688"/>
                <a:gd name="T12" fmla="*/ 120 w 1088"/>
                <a:gd name="T13" fmla="*/ 38 h 688"/>
                <a:gd name="T14" fmla="*/ 121 w 1088"/>
                <a:gd name="T15" fmla="*/ 37 h 688"/>
                <a:gd name="T16" fmla="*/ 121 w 1088"/>
                <a:gd name="T17" fmla="*/ 36 h 688"/>
                <a:gd name="T18" fmla="*/ 121 w 1088"/>
                <a:gd name="T19" fmla="*/ 4 h 688"/>
                <a:gd name="T20" fmla="*/ 121 w 1088"/>
                <a:gd name="T21" fmla="*/ 3 h 688"/>
                <a:gd name="T22" fmla="*/ 120 w 1088"/>
                <a:gd name="T23" fmla="*/ 2 h 688"/>
                <a:gd name="T24" fmla="*/ 120 w 1088"/>
                <a:gd name="T25" fmla="*/ 2 h 688"/>
                <a:gd name="T26" fmla="*/ 119 w 1088"/>
                <a:gd name="T27" fmla="*/ 1 h 688"/>
                <a:gd name="T28" fmla="*/ 118 w 1088"/>
                <a:gd name="T29" fmla="*/ 1 h 688"/>
                <a:gd name="T30" fmla="*/ 116 w 1088"/>
                <a:gd name="T31" fmla="*/ 0 h 688"/>
                <a:gd name="T32" fmla="*/ 115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0 w 1088"/>
                <a:gd name="T57" fmla="*/ 38 h 688"/>
                <a:gd name="T58" fmla="*/ 1 w 1088"/>
                <a:gd name="T59" fmla="*/ 39 h 688"/>
                <a:gd name="T60" fmla="*/ 2 w 1088"/>
                <a:gd name="T61" fmla="*/ 39 h 688"/>
                <a:gd name="T62" fmla="*/ 3 w 1088"/>
                <a:gd name="T63" fmla="*/ 40 h 688"/>
                <a:gd name="T64" fmla="*/ 4 w 1088"/>
                <a:gd name="T65" fmla="*/ 40 h 688"/>
                <a:gd name="T66" fmla="*/ 6 w 1088"/>
                <a:gd name="T67" fmla="*/ 41 h 688"/>
                <a:gd name="T68" fmla="*/ 7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7" y="688"/>
                  </a:moveTo>
                  <a:lnTo>
                    <a:pt x="1020" y="688"/>
                  </a:lnTo>
                  <a:lnTo>
                    <a:pt x="1027" y="687"/>
                  </a:lnTo>
                  <a:lnTo>
                    <a:pt x="1034" y="686"/>
                  </a:lnTo>
                  <a:lnTo>
                    <a:pt x="1040" y="685"/>
                  </a:lnTo>
                  <a:lnTo>
                    <a:pt x="1046" y="683"/>
                  </a:lnTo>
                  <a:lnTo>
                    <a:pt x="1053" y="679"/>
                  </a:lnTo>
                  <a:lnTo>
                    <a:pt x="1059" y="676"/>
                  </a:lnTo>
                  <a:lnTo>
                    <a:pt x="1063" y="672"/>
                  </a:lnTo>
                  <a:lnTo>
                    <a:pt x="1068" y="668"/>
                  </a:lnTo>
                  <a:lnTo>
                    <a:pt x="1072" y="663"/>
                  </a:lnTo>
                  <a:lnTo>
                    <a:pt x="1077" y="658"/>
                  </a:lnTo>
                  <a:lnTo>
                    <a:pt x="1080" y="652"/>
                  </a:lnTo>
                  <a:lnTo>
                    <a:pt x="1082" y="646"/>
                  </a:lnTo>
                  <a:lnTo>
                    <a:pt x="1085" y="640"/>
                  </a:lnTo>
                  <a:lnTo>
                    <a:pt x="1087" y="634"/>
                  </a:lnTo>
                  <a:lnTo>
                    <a:pt x="1088" y="627"/>
                  </a:lnTo>
                  <a:lnTo>
                    <a:pt x="1088" y="620"/>
                  </a:lnTo>
                  <a:lnTo>
                    <a:pt x="1088" y="68"/>
                  </a:lnTo>
                  <a:lnTo>
                    <a:pt x="1088" y="60"/>
                  </a:lnTo>
                  <a:lnTo>
                    <a:pt x="1087" y="53"/>
                  </a:lnTo>
                  <a:lnTo>
                    <a:pt x="1085" y="47"/>
                  </a:lnTo>
                  <a:lnTo>
                    <a:pt x="1082" y="41"/>
                  </a:lnTo>
                  <a:lnTo>
                    <a:pt x="1080" y="35"/>
                  </a:lnTo>
                  <a:lnTo>
                    <a:pt x="1077" y="29"/>
                  </a:lnTo>
                  <a:lnTo>
                    <a:pt x="1072" y="24"/>
                  </a:lnTo>
                  <a:lnTo>
                    <a:pt x="1068" y="19"/>
                  </a:lnTo>
                  <a:lnTo>
                    <a:pt x="1063" y="15"/>
                  </a:lnTo>
                  <a:lnTo>
                    <a:pt x="1059" y="11"/>
                  </a:lnTo>
                  <a:lnTo>
                    <a:pt x="1053" y="8"/>
                  </a:lnTo>
                  <a:lnTo>
                    <a:pt x="1046" y="4"/>
                  </a:lnTo>
                  <a:lnTo>
                    <a:pt x="1040" y="2"/>
                  </a:lnTo>
                  <a:lnTo>
                    <a:pt x="1034" y="1"/>
                  </a:lnTo>
                  <a:lnTo>
                    <a:pt x="1027" y="0"/>
                  </a:lnTo>
                  <a:lnTo>
                    <a:pt x="1020" y="0"/>
                  </a:lnTo>
                  <a:lnTo>
                    <a:pt x="67" y="0"/>
                  </a:lnTo>
                  <a:lnTo>
                    <a:pt x="59" y="0"/>
                  </a:lnTo>
                  <a:lnTo>
                    <a:pt x="53" y="1"/>
                  </a:lnTo>
                  <a:lnTo>
                    <a:pt x="47" y="2"/>
                  </a:lnTo>
                  <a:lnTo>
                    <a:pt x="40" y="4"/>
                  </a:lnTo>
                  <a:lnTo>
                    <a:pt x="35" y="8"/>
                  </a:lnTo>
                  <a:lnTo>
                    <a:pt x="29" y="11"/>
                  </a:lnTo>
                  <a:lnTo>
                    <a:pt x="23" y="15"/>
                  </a:lnTo>
                  <a:lnTo>
                    <a:pt x="19" y="19"/>
                  </a:lnTo>
                  <a:lnTo>
                    <a:pt x="14" y="24"/>
                  </a:lnTo>
                  <a:lnTo>
                    <a:pt x="11" y="29"/>
                  </a:lnTo>
                  <a:lnTo>
                    <a:pt x="7" y="35"/>
                  </a:lnTo>
                  <a:lnTo>
                    <a:pt x="4" y="41"/>
                  </a:lnTo>
                  <a:lnTo>
                    <a:pt x="2" y="47"/>
                  </a:lnTo>
                  <a:lnTo>
                    <a:pt x="1" y="53"/>
                  </a:lnTo>
                  <a:lnTo>
                    <a:pt x="0" y="60"/>
                  </a:lnTo>
                  <a:lnTo>
                    <a:pt x="0" y="68"/>
                  </a:lnTo>
                  <a:lnTo>
                    <a:pt x="0" y="620"/>
                  </a:lnTo>
                  <a:lnTo>
                    <a:pt x="0" y="627"/>
                  </a:lnTo>
                  <a:lnTo>
                    <a:pt x="1" y="634"/>
                  </a:lnTo>
                  <a:lnTo>
                    <a:pt x="2" y="640"/>
                  </a:lnTo>
                  <a:lnTo>
                    <a:pt x="4" y="646"/>
                  </a:lnTo>
                  <a:lnTo>
                    <a:pt x="7" y="652"/>
                  </a:lnTo>
                  <a:lnTo>
                    <a:pt x="11" y="658"/>
                  </a:lnTo>
                  <a:lnTo>
                    <a:pt x="14" y="663"/>
                  </a:lnTo>
                  <a:lnTo>
                    <a:pt x="19" y="668"/>
                  </a:lnTo>
                  <a:lnTo>
                    <a:pt x="23" y="672"/>
                  </a:lnTo>
                  <a:lnTo>
                    <a:pt x="29" y="676"/>
                  </a:lnTo>
                  <a:lnTo>
                    <a:pt x="35" y="679"/>
                  </a:lnTo>
                  <a:lnTo>
                    <a:pt x="40" y="683"/>
                  </a:lnTo>
                  <a:lnTo>
                    <a:pt x="47" y="685"/>
                  </a:lnTo>
                  <a:lnTo>
                    <a:pt x="53" y="686"/>
                  </a:lnTo>
                  <a:lnTo>
                    <a:pt x="59" y="687"/>
                  </a:lnTo>
                  <a:lnTo>
                    <a:pt x="67" y="688"/>
                  </a:lnTo>
                  <a:close/>
                </a:path>
              </a:pathLst>
            </a:custGeom>
            <a:solidFill>
              <a:srgbClr val="AA1133"/>
            </a:solidFill>
            <a:ln w="9525">
              <a:no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46" name="Freeform 1108"/>
            <p:cNvSpPr>
              <a:spLocks/>
            </p:cNvSpPr>
            <p:nvPr/>
          </p:nvSpPr>
          <p:spPr bwMode="auto">
            <a:xfrm>
              <a:off x="5252" y="3835"/>
              <a:ext cx="363" cy="167"/>
            </a:xfrm>
            <a:custGeom>
              <a:avLst/>
              <a:gdLst>
                <a:gd name="T0" fmla="*/ 113 w 1088"/>
                <a:gd name="T1" fmla="*/ 41 h 688"/>
                <a:gd name="T2" fmla="*/ 115 w 1088"/>
                <a:gd name="T3" fmla="*/ 41 h 688"/>
                <a:gd name="T4" fmla="*/ 116 w 1088"/>
                <a:gd name="T5" fmla="*/ 40 h 688"/>
                <a:gd name="T6" fmla="*/ 118 w 1088"/>
                <a:gd name="T7" fmla="*/ 40 h 688"/>
                <a:gd name="T8" fmla="*/ 119 w 1088"/>
                <a:gd name="T9" fmla="*/ 39 h 688"/>
                <a:gd name="T10" fmla="*/ 120 w 1088"/>
                <a:gd name="T11" fmla="*/ 39 h 688"/>
                <a:gd name="T12" fmla="*/ 120 w 1088"/>
                <a:gd name="T13" fmla="*/ 38 h 688"/>
                <a:gd name="T14" fmla="*/ 121 w 1088"/>
                <a:gd name="T15" fmla="*/ 37 h 688"/>
                <a:gd name="T16" fmla="*/ 121 w 1088"/>
                <a:gd name="T17" fmla="*/ 36 h 688"/>
                <a:gd name="T18" fmla="*/ 121 w 1088"/>
                <a:gd name="T19" fmla="*/ 4 h 688"/>
                <a:gd name="T20" fmla="*/ 121 w 1088"/>
                <a:gd name="T21" fmla="*/ 3 h 688"/>
                <a:gd name="T22" fmla="*/ 120 w 1088"/>
                <a:gd name="T23" fmla="*/ 2 h 688"/>
                <a:gd name="T24" fmla="*/ 120 w 1088"/>
                <a:gd name="T25" fmla="*/ 2 h 688"/>
                <a:gd name="T26" fmla="*/ 119 w 1088"/>
                <a:gd name="T27" fmla="*/ 1 h 688"/>
                <a:gd name="T28" fmla="*/ 118 w 1088"/>
                <a:gd name="T29" fmla="*/ 1 h 688"/>
                <a:gd name="T30" fmla="*/ 116 w 1088"/>
                <a:gd name="T31" fmla="*/ 0 h 688"/>
                <a:gd name="T32" fmla="*/ 115 w 1088"/>
                <a:gd name="T33" fmla="*/ 0 h 688"/>
                <a:gd name="T34" fmla="*/ 113 w 1088"/>
                <a:gd name="T35" fmla="*/ 0 h 688"/>
                <a:gd name="T36" fmla="*/ 7 w 1088"/>
                <a:gd name="T37" fmla="*/ 0 h 688"/>
                <a:gd name="T38" fmla="*/ 5 w 1088"/>
                <a:gd name="T39" fmla="*/ 0 h 688"/>
                <a:gd name="T40" fmla="*/ 4 w 1088"/>
                <a:gd name="T41" fmla="*/ 0 h 688"/>
                <a:gd name="T42" fmla="*/ 3 w 1088"/>
                <a:gd name="T43" fmla="*/ 1 h 688"/>
                <a:gd name="T44" fmla="*/ 2 w 1088"/>
                <a:gd name="T45" fmla="*/ 1 h 688"/>
                <a:gd name="T46" fmla="*/ 1 w 1088"/>
                <a:gd name="T47" fmla="*/ 2 h 688"/>
                <a:gd name="T48" fmla="*/ 0 w 1088"/>
                <a:gd name="T49" fmla="*/ 3 h 688"/>
                <a:gd name="T50" fmla="*/ 0 w 1088"/>
                <a:gd name="T51" fmla="*/ 4 h 688"/>
                <a:gd name="T52" fmla="*/ 0 w 1088"/>
                <a:gd name="T53" fmla="*/ 36 h 688"/>
                <a:gd name="T54" fmla="*/ 0 w 1088"/>
                <a:gd name="T55" fmla="*/ 37 h 688"/>
                <a:gd name="T56" fmla="*/ 0 w 1088"/>
                <a:gd name="T57" fmla="*/ 38 h 688"/>
                <a:gd name="T58" fmla="*/ 1 w 1088"/>
                <a:gd name="T59" fmla="*/ 39 h 688"/>
                <a:gd name="T60" fmla="*/ 2 w 1088"/>
                <a:gd name="T61" fmla="*/ 39 h 688"/>
                <a:gd name="T62" fmla="*/ 3 w 1088"/>
                <a:gd name="T63" fmla="*/ 40 h 688"/>
                <a:gd name="T64" fmla="*/ 4 w 1088"/>
                <a:gd name="T65" fmla="*/ 40 h 688"/>
                <a:gd name="T66" fmla="*/ 6 w 1088"/>
                <a:gd name="T67" fmla="*/ 41 h 688"/>
                <a:gd name="T68" fmla="*/ 7 w 1088"/>
                <a:gd name="T69" fmla="*/ 41 h 6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8"/>
                <a:gd name="T106" fmla="*/ 0 h 688"/>
                <a:gd name="T107" fmla="*/ 1088 w 1088"/>
                <a:gd name="T108" fmla="*/ 688 h 6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8" h="688">
                  <a:moveTo>
                    <a:pt x="67" y="688"/>
                  </a:moveTo>
                  <a:lnTo>
                    <a:pt x="1020" y="688"/>
                  </a:lnTo>
                  <a:lnTo>
                    <a:pt x="1027" y="687"/>
                  </a:lnTo>
                  <a:lnTo>
                    <a:pt x="1034" y="686"/>
                  </a:lnTo>
                  <a:lnTo>
                    <a:pt x="1040" y="685"/>
                  </a:lnTo>
                  <a:lnTo>
                    <a:pt x="1046" y="683"/>
                  </a:lnTo>
                  <a:lnTo>
                    <a:pt x="1053" y="679"/>
                  </a:lnTo>
                  <a:lnTo>
                    <a:pt x="1059" y="676"/>
                  </a:lnTo>
                  <a:lnTo>
                    <a:pt x="1063" y="672"/>
                  </a:lnTo>
                  <a:lnTo>
                    <a:pt x="1068" y="668"/>
                  </a:lnTo>
                  <a:lnTo>
                    <a:pt x="1072" y="663"/>
                  </a:lnTo>
                  <a:lnTo>
                    <a:pt x="1077" y="658"/>
                  </a:lnTo>
                  <a:lnTo>
                    <a:pt x="1080" y="652"/>
                  </a:lnTo>
                  <a:lnTo>
                    <a:pt x="1082" y="646"/>
                  </a:lnTo>
                  <a:lnTo>
                    <a:pt x="1085" y="640"/>
                  </a:lnTo>
                  <a:lnTo>
                    <a:pt x="1087" y="634"/>
                  </a:lnTo>
                  <a:lnTo>
                    <a:pt x="1088" y="627"/>
                  </a:lnTo>
                  <a:lnTo>
                    <a:pt x="1088" y="620"/>
                  </a:lnTo>
                  <a:lnTo>
                    <a:pt x="1088" y="68"/>
                  </a:lnTo>
                  <a:lnTo>
                    <a:pt x="1088" y="60"/>
                  </a:lnTo>
                  <a:lnTo>
                    <a:pt x="1087" y="53"/>
                  </a:lnTo>
                  <a:lnTo>
                    <a:pt x="1085" y="47"/>
                  </a:lnTo>
                  <a:lnTo>
                    <a:pt x="1082" y="41"/>
                  </a:lnTo>
                  <a:lnTo>
                    <a:pt x="1080" y="35"/>
                  </a:lnTo>
                  <a:lnTo>
                    <a:pt x="1077" y="29"/>
                  </a:lnTo>
                  <a:lnTo>
                    <a:pt x="1072" y="24"/>
                  </a:lnTo>
                  <a:lnTo>
                    <a:pt x="1068" y="19"/>
                  </a:lnTo>
                  <a:lnTo>
                    <a:pt x="1063" y="15"/>
                  </a:lnTo>
                  <a:lnTo>
                    <a:pt x="1059" y="11"/>
                  </a:lnTo>
                  <a:lnTo>
                    <a:pt x="1053" y="8"/>
                  </a:lnTo>
                  <a:lnTo>
                    <a:pt x="1046" y="4"/>
                  </a:lnTo>
                  <a:lnTo>
                    <a:pt x="1040" y="2"/>
                  </a:lnTo>
                  <a:lnTo>
                    <a:pt x="1034" y="1"/>
                  </a:lnTo>
                  <a:lnTo>
                    <a:pt x="1027" y="0"/>
                  </a:lnTo>
                  <a:lnTo>
                    <a:pt x="1020" y="0"/>
                  </a:lnTo>
                  <a:lnTo>
                    <a:pt x="67" y="0"/>
                  </a:lnTo>
                  <a:lnTo>
                    <a:pt x="59" y="0"/>
                  </a:lnTo>
                  <a:lnTo>
                    <a:pt x="53" y="1"/>
                  </a:lnTo>
                  <a:lnTo>
                    <a:pt x="47" y="2"/>
                  </a:lnTo>
                  <a:lnTo>
                    <a:pt x="40" y="4"/>
                  </a:lnTo>
                  <a:lnTo>
                    <a:pt x="35" y="8"/>
                  </a:lnTo>
                  <a:lnTo>
                    <a:pt x="29" y="11"/>
                  </a:lnTo>
                  <a:lnTo>
                    <a:pt x="23" y="15"/>
                  </a:lnTo>
                  <a:lnTo>
                    <a:pt x="19" y="19"/>
                  </a:lnTo>
                  <a:lnTo>
                    <a:pt x="14" y="24"/>
                  </a:lnTo>
                  <a:lnTo>
                    <a:pt x="11" y="29"/>
                  </a:lnTo>
                  <a:lnTo>
                    <a:pt x="7" y="35"/>
                  </a:lnTo>
                  <a:lnTo>
                    <a:pt x="4" y="41"/>
                  </a:lnTo>
                  <a:lnTo>
                    <a:pt x="2" y="47"/>
                  </a:lnTo>
                  <a:lnTo>
                    <a:pt x="1" y="53"/>
                  </a:lnTo>
                  <a:lnTo>
                    <a:pt x="0" y="60"/>
                  </a:lnTo>
                  <a:lnTo>
                    <a:pt x="0" y="68"/>
                  </a:lnTo>
                  <a:lnTo>
                    <a:pt x="0" y="620"/>
                  </a:lnTo>
                  <a:lnTo>
                    <a:pt x="0" y="627"/>
                  </a:lnTo>
                  <a:lnTo>
                    <a:pt x="1" y="634"/>
                  </a:lnTo>
                  <a:lnTo>
                    <a:pt x="2" y="640"/>
                  </a:lnTo>
                  <a:lnTo>
                    <a:pt x="4" y="646"/>
                  </a:lnTo>
                  <a:lnTo>
                    <a:pt x="7" y="652"/>
                  </a:lnTo>
                  <a:lnTo>
                    <a:pt x="11" y="658"/>
                  </a:lnTo>
                  <a:lnTo>
                    <a:pt x="14" y="663"/>
                  </a:lnTo>
                  <a:lnTo>
                    <a:pt x="19" y="668"/>
                  </a:lnTo>
                  <a:lnTo>
                    <a:pt x="23" y="672"/>
                  </a:lnTo>
                  <a:lnTo>
                    <a:pt x="29" y="676"/>
                  </a:lnTo>
                  <a:lnTo>
                    <a:pt x="35" y="679"/>
                  </a:lnTo>
                  <a:lnTo>
                    <a:pt x="40" y="683"/>
                  </a:lnTo>
                  <a:lnTo>
                    <a:pt x="47" y="685"/>
                  </a:lnTo>
                  <a:lnTo>
                    <a:pt x="53" y="686"/>
                  </a:lnTo>
                  <a:lnTo>
                    <a:pt x="59" y="687"/>
                  </a:lnTo>
                  <a:lnTo>
                    <a:pt x="67" y="688"/>
                  </a:lnTo>
                </a:path>
              </a:pathLst>
            </a:custGeom>
            <a:solidFill>
              <a:srgbClr val="FFFFFF"/>
            </a:solidFill>
            <a:ln w="6350">
              <a:solidFill>
                <a:srgbClr val="000000"/>
              </a:solidFill>
              <a:round/>
              <a:headEnd/>
              <a:tailEnd/>
            </a:ln>
          </p:spPr>
          <p:txBody>
            <a:bodyPr/>
            <a:lstStyle/>
            <a:p>
              <a:pPr eaLnBrk="1" fontAlgn="auto" hangingPunct="1">
                <a:spcBef>
                  <a:spcPts val="0"/>
                </a:spcBef>
                <a:spcAft>
                  <a:spcPts val="0"/>
                </a:spcAft>
                <a:defRPr/>
              </a:pPr>
              <a:endParaRPr lang="en-US" sz="1800" b="0" kern="0" baseline="0">
                <a:solidFill>
                  <a:sysClr val="windowText" lastClr="000000"/>
                </a:solidFill>
                <a:latin typeface="Arial" charset="0"/>
              </a:endParaRPr>
            </a:p>
          </p:txBody>
        </p:sp>
        <p:sp>
          <p:nvSpPr>
            <p:cNvPr id="547" name="Rectangle 1109"/>
            <p:cNvSpPr>
              <a:spLocks noChangeArrowheads="1"/>
            </p:cNvSpPr>
            <p:nvPr/>
          </p:nvSpPr>
          <p:spPr bwMode="auto">
            <a:xfrm>
              <a:off x="5361" y="3866"/>
              <a:ext cx="154"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Manage </a:t>
              </a:r>
              <a:endParaRPr lang="en-US" sz="1800" b="0" kern="0" baseline="0">
                <a:solidFill>
                  <a:sysClr val="windowText" lastClr="000000"/>
                </a:solidFill>
                <a:latin typeface="Arial" charset="0"/>
                <a:ea typeface="ＭＳ Ｐゴシック"/>
                <a:cs typeface="ＭＳ Ｐゴシック"/>
              </a:endParaRPr>
            </a:p>
          </p:txBody>
        </p:sp>
        <p:sp>
          <p:nvSpPr>
            <p:cNvPr id="548" name="Rectangle 1110"/>
            <p:cNvSpPr>
              <a:spLocks noChangeArrowheads="1"/>
            </p:cNvSpPr>
            <p:nvPr/>
          </p:nvSpPr>
          <p:spPr bwMode="auto">
            <a:xfrm>
              <a:off x="5347" y="3901"/>
              <a:ext cx="181"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Intelligent </a:t>
              </a:r>
              <a:endParaRPr lang="en-US" sz="1800" b="0" kern="0" baseline="0">
                <a:solidFill>
                  <a:sysClr val="windowText" lastClr="000000"/>
                </a:solidFill>
                <a:latin typeface="Arial" charset="0"/>
                <a:ea typeface="ＭＳ Ｐゴシック"/>
                <a:cs typeface="ＭＳ Ｐゴシック"/>
              </a:endParaRPr>
            </a:p>
          </p:txBody>
        </p:sp>
        <p:sp>
          <p:nvSpPr>
            <p:cNvPr id="549" name="Rectangle 1111"/>
            <p:cNvSpPr>
              <a:spLocks noChangeArrowheads="1"/>
            </p:cNvSpPr>
            <p:nvPr/>
          </p:nvSpPr>
          <p:spPr bwMode="auto">
            <a:xfrm>
              <a:off x="5276" y="3936"/>
              <a:ext cx="312" cy="42"/>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a:solidFill>
                    <a:srgbClr val="000000"/>
                  </a:solidFill>
                  <a:latin typeface="Arial" charset="0"/>
                  <a:ea typeface="ＭＳ Ｐゴシック"/>
                  <a:cs typeface="ＭＳ Ｐゴシック"/>
                </a:rPr>
                <a:t>Network Ref Arch</a:t>
              </a:r>
              <a:endParaRPr lang="en-US" sz="1800" b="0" kern="0" baseline="0">
                <a:solidFill>
                  <a:sysClr val="windowText" lastClr="000000"/>
                </a:solidFill>
                <a:latin typeface="Arial" charset="0"/>
                <a:ea typeface="ＭＳ Ｐゴシック"/>
                <a:cs typeface="ＭＳ Ｐゴシック"/>
              </a:endParaRPr>
            </a:p>
          </p:txBody>
        </p:sp>
        <p:sp>
          <p:nvSpPr>
            <p:cNvPr id="550" name="Rectangle 1665"/>
            <p:cNvSpPr>
              <a:spLocks noChangeArrowheads="1"/>
            </p:cNvSpPr>
            <p:nvPr/>
          </p:nvSpPr>
          <p:spPr bwMode="auto">
            <a:xfrm>
              <a:off x="4351" y="3887"/>
              <a:ext cx="300" cy="84"/>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0"/>
                </a:spcAft>
                <a:defRPr/>
              </a:pPr>
              <a:r>
                <a:rPr lang="en-US" sz="500" b="0" kern="0" baseline="0" dirty="0">
                  <a:solidFill>
                    <a:srgbClr val="000000"/>
                  </a:solidFill>
                  <a:latin typeface="Arial" charset="0"/>
                  <a:ea typeface="ＭＳ Ｐゴシック"/>
                  <a:cs typeface="ＭＳ Ｐゴシック"/>
                </a:rPr>
                <a:t>Manage Network</a:t>
              </a:r>
            </a:p>
            <a:p>
              <a:pPr eaLnBrk="1" fontAlgn="auto" hangingPunct="1">
                <a:spcBef>
                  <a:spcPts val="0"/>
                </a:spcBef>
                <a:spcAft>
                  <a:spcPts val="0"/>
                </a:spcAft>
                <a:defRPr/>
              </a:pPr>
              <a:r>
                <a:rPr lang="en-US" sz="500" b="0" kern="0" baseline="0" dirty="0">
                  <a:solidFill>
                    <a:srgbClr val="000000"/>
                  </a:solidFill>
                  <a:latin typeface="Arial" charset="0"/>
                  <a:ea typeface="ＭＳ Ｐゴシック"/>
                  <a:cs typeface="ＭＳ Ｐゴシック"/>
                </a:rPr>
                <a:t>Quality</a:t>
              </a:r>
              <a:endParaRPr lang="en-US" sz="1800" b="0" kern="0" baseline="0" dirty="0">
                <a:solidFill>
                  <a:sysClr val="windowText" lastClr="000000"/>
                </a:solidFill>
                <a:latin typeface="Arial" charset="0"/>
                <a:ea typeface="ＭＳ Ｐゴシック"/>
                <a:cs typeface="ＭＳ Ｐゴシック"/>
              </a:endParaRPr>
            </a:p>
          </p:txBody>
        </p:sp>
      </p:grpSp>
      <p:sp>
        <p:nvSpPr>
          <p:cNvPr id="552" name="Rectangular Callout 551"/>
          <p:cNvSpPr/>
          <p:nvPr/>
        </p:nvSpPr>
        <p:spPr>
          <a:xfrm>
            <a:off x="1189795" y="1152891"/>
            <a:ext cx="1585950" cy="804296"/>
          </a:xfrm>
          <a:prstGeom prst="wedgeRectCallout">
            <a:avLst>
              <a:gd name="adj1" fmla="val -46973"/>
              <a:gd name="adj2" fmla="val 9906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t>Gestión del ciclo de vida de las inversiones</a:t>
            </a:r>
            <a:endParaRPr lang="es-ES" sz="1400" b="1" dirty="0"/>
          </a:p>
        </p:txBody>
      </p:sp>
      <p:sp>
        <p:nvSpPr>
          <p:cNvPr id="554" name="Rectangular Callout 553"/>
          <p:cNvSpPr/>
          <p:nvPr/>
        </p:nvSpPr>
        <p:spPr>
          <a:xfrm>
            <a:off x="3789776" y="756283"/>
            <a:ext cx="1858550" cy="777625"/>
          </a:xfrm>
          <a:prstGeom prst="wedgeRectCallout">
            <a:avLst>
              <a:gd name="adj1" fmla="val -10413"/>
              <a:gd name="adj2" fmla="val 9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t>Gestión de trabajos (mantenimiento, averías, NNSS, etc.)</a:t>
            </a:r>
            <a:endParaRPr lang="es-ES" sz="1400" b="1" dirty="0"/>
          </a:p>
        </p:txBody>
      </p:sp>
      <p:sp>
        <p:nvSpPr>
          <p:cNvPr id="555" name="Rectangular Callout 554"/>
          <p:cNvSpPr/>
          <p:nvPr/>
        </p:nvSpPr>
        <p:spPr>
          <a:xfrm>
            <a:off x="6602413" y="867224"/>
            <a:ext cx="1274762" cy="966476"/>
          </a:xfrm>
          <a:prstGeom prst="wedgeRectCallout">
            <a:avLst>
              <a:gd name="adj1" fmla="val 79636"/>
              <a:gd name="adj2" fmla="val 3873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t>Gestión de ingresos y asuntos regulatorios</a:t>
            </a:r>
            <a:endParaRPr lang="es-ES" sz="1400" b="1" dirty="0"/>
          </a:p>
        </p:txBody>
      </p:sp>
      <p:sp>
        <p:nvSpPr>
          <p:cNvPr id="556" name="Rectangular Callout 555"/>
          <p:cNvSpPr/>
          <p:nvPr/>
        </p:nvSpPr>
        <p:spPr>
          <a:xfrm>
            <a:off x="5022973" y="3662004"/>
            <a:ext cx="1491568" cy="723594"/>
          </a:xfrm>
          <a:prstGeom prst="wedgeRectCallout">
            <a:avLst>
              <a:gd name="adj1" fmla="val -40397"/>
              <a:gd name="adj2" fmla="val 95564"/>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t>Gestión de la cadena de abastecimiento</a:t>
            </a:r>
            <a:endParaRPr lang="es-ES" sz="1400" b="1" dirty="0"/>
          </a:p>
        </p:txBody>
      </p:sp>
      <p:sp>
        <p:nvSpPr>
          <p:cNvPr id="557" name="Rectangular Callout 556"/>
          <p:cNvSpPr/>
          <p:nvPr/>
        </p:nvSpPr>
        <p:spPr>
          <a:xfrm>
            <a:off x="6556375" y="4426523"/>
            <a:ext cx="1109885" cy="626774"/>
          </a:xfrm>
          <a:prstGeom prst="wedgeRectCallout">
            <a:avLst>
              <a:gd name="adj1" fmla="val -41843"/>
              <a:gd name="adj2" fmla="val 103992"/>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t>Operación de la red</a:t>
            </a:r>
            <a:endParaRPr lang="es-ES" sz="1400" b="1" dirty="0"/>
          </a:p>
        </p:txBody>
      </p:sp>
      <p:sp>
        <p:nvSpPr>
          <p:cNvPr id="558" name="Rectangular Callout 557"/>
          <p:cNvSpPr/>
          <p:nvPr/>
        </p:nvSpPr>
        <p:spPr>
          <a:xfrm>
            <a:off x="7702550" y="5103788"/>
            <a:ext cx="1339943" cy="626774"/>
          </a:xfrm>
          <a:prstGeom prst="wedgeRectCallout">
            <a:avLst>
              <a:gd name="adj1" fmla="val -41843"/>
              <a:gd name="adj2" fmla="val 103992"/>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t>Operación de la red </a:t>
            </a:r>
            <a:r>
              <a:rPr lang="es-ES" sz="1400" b="1" i="1" dirty="0" smtClean="0"/>
              <a:t>Smart</a:t>
            </a:r>
            <a:endParaRPr lang="es-ES" sz="1400" b="1" i="1" dirty="0"/>
          </a:p>
        </p:txBody>
      </p:sp>
      <p:sp>
        <p:nvSpPr>
          <p:cNvPr id="559" name="Rectangular Callout 558"/>
          <p:cNvSpPr/>
          <p:nvPr/>
        </p:nvSpPr>
        <p:spPr>
          <a:xfrm>
            <a:off x="1530350" y="5151401"/>
            <a:ext cx="2504746" cy="532894"/>
          </a:xfrm>
          <a:prstGeom prst="wedgeRectCallout">
            <a:avLst>
              <a:gd name="adj1" fmla="val -8615"/>
              <a:gd name="adj2" fmla="val 99530"/>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smtClean="0"/>
              <a:t>Gestión de la medida e infraestructura de lectura</a:t>
            </a:r>
            <a:endParaRPr lang="es-ES" sz="1400" b="1" dirty="0"/>
          </a:p>
        </p:txBody>
      </p:sp>
      <p:sp>
        <p:nvSpPr>
          <p:cNvPr id="565" name="Text Box 15"/>
          <p:cNvSpPr txBox="1">
            <a:spLocks noChangeArrowheads="1"/>
          </p:cNvSpPr>
          <p:nvPr/>
        </p:nvSpPr>
        <p:spPr bwMode="gray">
          <a:xfrm>
            <a:off x="5616248" y="133379"/>
            <a:ext cx="1670377" cy="49435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accent1"/>
                </a:solidFill>
                <a:latin typeface="+mj-lt"/>
              </a:rPr>
              <a:t>OPTIMO?</a:t>
            </a:r>
            <a:endParaRPr lang="es-ES_tradnl" sz="1400" dirty="0">
              <a:solidFill>
                <a:schemeClr val="accent1"/>
              </a:solidFill>
              <a:latin typeface="+mj-lt"/>
            </a:endParaRPr>
          </a:p>
        </p:txBody>
      </p:sp>
    </p:spTree>
    <p:extLst>
      <p:ext uri="{BB962C8B-B14F-4D97-AF65-F5344CB8AC3E}">
        <p14:creationId xmlns:p14="http://schemas.microsoft.com/office/powerpoint/2010/main" val="2162198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5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554" grpId="0" animBg="1"/>
      <p:bldP spid="555" grpId="0" animBg="1"/>
      <p:bldP spid="556" grpId="0" animBg="1"/>
      <p:bldP spid="557" grpId="0" animBg="1"/>
      <p:bldP spid="558" grpId="0" animBg="1"/>
      <p:bldP spid="55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1"/>
          </p:nvPr>
        </p:nvSpPr>
        <p:spPr>
          <a:xfrm>
            <a:off x="446151" y="525183"/>
            <a:ext cx="8251698" cy="5807635"/>
          </a:xfrm>
        </p:spPr>
        <p:txBody>
          <a:bodyPr>
            <a:noAutofit/>
          </a:bodyPr>
          <a:lstStyle/>
          <a:p>
            <a:pPr>
              <a:spcBef>
                <a:spcPts val="1200"/>
              </a:spcBef>
              <a:spcAft>
                <a:spcPts val="600"/>
              </a:spcAft>
            </a:pPr>
            <a:r>
              <a:rPr lang="es-ES_tradnl" dirty="0">
                <a:solidFill>
                  <a:schemeClr val="bg1">
                    <a:lumMod val="65000"/>
                  </a:schemeClr>
                </a:solidFill>
              </a:rPr>
              <a:t>Esquema General.</a:t>
            </a:r>
          </a:p>
          <a:p>
            <a:pPr>
              <a:spcBef>
                <a:spcPts val="1200"/>
              </a:spcBef>
              <a:spcAft>
                <a:spcPts val="600"/>
              </a:spcAft>
            </a:pPr>
            <a:r>
              <a:rPr lang="es-ES_tradnl" dirty="0">
                <a:solidFill>
                  <a:schemeClr val="bg1">
                    <a:lumMod val="65000"/>
                  </a:schemeClr>
                </a:solidFill>
              </a:rPr>
              <a:t>Introducción a la cadena de valor.</a:t>
            </a:r>
          </a:p>
          <a:p>
            <a:pPr>
              <a:spcBef>
                <a:spcPts val="1200"/>
              </a:spcBef>
              <a:spcAft>
                <a:spcPts val="600"/>
              </a:spcAft>
            </a:pPr>
            <a:r>
              <a:rPr lang="es-ES_tradnl" dirty="0" smtClean="0">
                <a:solidFill>
                  <a:schemeClr val="bg1">
                    <a:lumMod val="65000"/>
                  </a:schemeClr>
                </a:solidFill>
              </a:rPr>
              <a:t>Remuneración Actividades Liberalizadas </a:t>
            </a:r>
          </a:p>
          <a:p>
            <a:pPr>
              <a:spcBef>
                <a:spcPts val="1200"/>
              </a:spcBef>
              <a:spcAft>
                <a:spcPts val="600"/>
              </a:spcAft>
            </a:pPr>
            <a:r>
              <a:rPr lang="es-ES_tradnl" dirty="0" smtClean="0">
                <a:solidFill>
                  <a:schemeClr val="bg1">
                    <a:lumMod val="65000"/>
                  </a:schemeClr>
                </a:solidFill>
              </a:rPr>
              <a:t>Remuneración de Actividades Reguladas</a:t>
            </a:r>
          </a:p>
          <a:p>
            <a:pPr>
              <a:spcBef>
                <a:spcPts val="1200"/>
              </a:spcBef>
              <a:spcAft>
                <a:spcPts val="600"/>
              </a:spcAft>
            </a:pPr>
            <a:r>
              <a:rPr lang="es-ES_tradnl" dirty="0" smtClean="0">
                <a:solidFill>
                  <a:schemeClr val="bg1">
                    <a:lumMod val="65000"/>
                  </a:schemeClr>
                </a:solidFill>
              </a:rPr>
              <a:t>Situación en España. Déficit de tarifa</a:t>
            </a:r>
          </a:p>
          <a:p>
            <a:pPr>
              <a:spcBef>
                <a:spcPts val="1200"/>
              </a:spcBef>
              <a:spcAft>
                <a:spcPts val="600"/>
              </a:spcAft>
            </a:pPr>
            <a:r>
              <a:rPr lang="es-ES_tradnl" dirty="0">
                <a:solidFill>
                  <a:schemeClr val="bg1">
                    <a:lumMod val="65000"/>
                  </a:schemeClr>
                </a:solidFill>
              </a:rPr>
              <a:t>Mapa de procesos.</a:t>
            </a:r>
          </a:p>
          <a:p>
            <a:pPr>
              <a:spcBef>
                <a:spcPts val="1200"/>
              </a:spcBef>
              <a:spcAft>
                <a:spcPts val="600"/>
              </a:spcAft>
            </a:pPr>
            <a:r>
              <a:rPr lang="es-ES_tradnl" dirty="0">
                <a:solidFill>
                  <a:schemeClr val="tx1"/>
                </a:solidFill>
              </a:rPr>
              <a:t>Nuevas tecnologías</a:t>
            </a:r>
            <a:r>
              <a:rPr lang="es-ES_tradnl" dirty="0" smtClean="0">
                <a:solidFill>
                  <a:schemeClr val="bg1">
                    <a:lumMod val="65000"/>
                  </a:schemeClr>
                </a:solidFill>
              </a:rPr>
              <a:t>.</a:t>
            </a:r>
          </a:p>
          <a:p>
            <a:pPr>
              <a:spcBef>
                <a:spcPts val="1200"/>
              </a:spcBef>
              <a:spcAft>
                <a:spcPts val="600"/>
              </a:spcAft>
            </a:pPr>
            <a:r>
              <a:rPr lang="es-ES_tradnl" dirty="0" smtClean="0">
                <a:solidFill>
                  <a:schemeClr val="bg1">
                    <a:lumMod val="65000"/>
                  </a:schemeClr>
                </a:solidFill>
              </a:rPr>
              <a:t>Offerings de Accenture.</a:t>
            </a:r>
          </a:p>
          <a:p>
            <a:pPr>
              <a:spcBef>
                <a:spcPts val="1200"/>
              </a:spcBef>
              <a:spcAft>
                <a:spcPts val="600"/>
              </a:spcAft>
            </a:pPr>
            <a:r>
              <a:rPr lang="es-ES_tradnl" dirty="0" smtClean="0">
                <a:solidFill>
                  <a:schemeClr val="bg1">
                    <a:lumMod val="65000"/>
                  </a:schemeClr>
                </a:solidFill>
              </a:rPr>
              <a:t>Experiencias Accenture.</a:t>
            </a:r>
          </a:p>
        </p:txBody>
      </p:sp>
      <p:sp>
        <p:nvSpPr>
          <p:cNvPr id="40" name="Slide Number Placeholder 39"/>
          <p:cNvSpPr>
            <a:spLocks noGrp="1"/>
          </p:cNvSpPr>
          <p:nvPr>
            <p:ph type="sldNum" sz="quarter" idx="4"/>
          </p:nvPr>
        </p:nvSpPr>
        <p:spPr/>
        <p:txBody>
          <a:bodyPr/>
          <a:lstStyle/>
          <a:p>
            <a:fld id="{90CBDC3A-D49F-4631-A8C7-55D59B33E5FA}" type="slidenum">
              <a:rPr lang="en-US" smtClean="0"/>
              <a:pPr/>
              <a:t>25</a:t>
            </a:fld>
            <a:endParaRPr lang="en-US" dirty="0"/>
          </a:p>
        </p:txBody>
      </p:sp>
      <p:sp>
        <p:nvSpPr>
          <p:cNvPr id="5" name="Rounded Rectangle 4"/>
          <p:cNvSpPr/>
          <p:nvPr/>
        </p:nvSpPr>
        <p:spPr>
          <a:xfrm>
            <a:off x="281354" y="4220308"/>
            <a:ext cx="8707901" cy="6752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17545885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Key Trend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086952413"/>
              </p:ext>
            </p:extLst>
          </p:nvPr>
        </p:nvGraphicFramePr>
        <p:xfrm>
          <a:off x="489567" y="1115576"/>
          <a:ext cx="8302626" cy="4856480"/>
        </p:xfrm>
        <a:graphic>
          <a:graphicData uri="http://schemas.openxmlformats.org/drawingml/2006/table">
            <a:tbl>
              <a:tblPr firstRow="1" bandRow="1">
                <a:tableStyleId>{5C22544A-7EE6-4342-B048-85BDC9FD1C3A}</a:tableStyleId>
              </a:tblPr>
              <a:tblGrid>
                <a:gridCol w="2717657"/>
                <a:gridCol w="5584969"/>
              </a:tblGrid>
              <a:tr h="370840">
                <a:tc>
                  <a:txBody>
                    <a:bodyPr/>
                    <a:lstStyle/>
                    <a:p>
                      <a:r>
                        <a:rPr lang="en-US" sz="1600" dirty="0" smtClean="0"/>
                        <a:t>Trend</a:t>
                      </a:r>
                      <a:endParaRPr lang="en-US" sz="1600" dirty="0"/>
                    </a:p>
                  </a:txBody>
                  <a:tcPr/>
                </a:tc>
                <a:tc>
                  <a:txBody>
                    <a:bodyPr/>
                    <a:lstStyle/>
                    <a:p>
                      <a:r>
                        <a:rPr lang="en-US" sz="1600" dirty="0" smtClean="0"/>
                        <a:t>Response</a:t>
                      </a:r>
                      <a:endParaRPr lang="en-US" sz="1600" dirty="0"/>
                    </a:p>
                  </a:txBody>
                  <a:tcPr/>
                </a:tc>
              </a:tr>
              <a:tr h="370840">
                <a:tc>
                  <a:txBody>
                    <a:bodyPr/>
                    <a:lstStyle/>
                    <a:p>
                      <a:r>
                        <a:rPr lang="en-US" sz="1600" dirty="0" err="1" smtClean="0"/>
                        <a:t>Capex</a:t>
                      </a:r>
                      <a:r>
                        <a:rPr lang="en-US" sz="1600" dirty="0" smtClean="0"/>
                        <a:t> deferral</a:t>
                      </a:r>
                      <a:endParaRPr lang="en-US" sz="1600" dirty="0"/>
                    </a:p>
                  </a:txBody>
                  <a:tcPr/>
                </a:tc>
                <a:tc>
                  <a:txBody>
                    <a:bodyPr/>
                    <a:lstStyle/>
                    <a:p>
                      <a:r>
                        <a:rPr lang="en-US" sz="1600" dirty="0" smtClean="0"/>
                        <a:t>TDAM:</a:t>
                      </a:r>
                      <a:r>
                        <a:rPr lang="en-US" sz="1600" baseline="0" dirty="0" smtClean="0"/>
                        <a:t> </a:t>
                      </a:r>
                      <a:r>
                        <a:rPr lang="en-US" sz="1600" dirty="0" smtClean="0"/>
                        <a:t>Asset Information, CBM, Asset Analytics</a:t>
                      </a:r>
                      <a:r>
                        <a:rPr lang="en-US" sz="1600" baseline="0" dirty="0" smtClean="0"/>
                        <a:t> (H1)</a:t>
                      </a:r>
                      <a:endParaRPr lang="en-US" sz="1600" dirty="0"/>
                    </a:p>
                  </a:txBody>
                  <a:tcPr/>
                </a:tc>
              </a:tr>
              <a:tr h="370840">
                <a:tc>
                  <a:txBody>
                    <a:bodyPr/>
                    <a:lstStyle/>
                    <a:p>
                      <a:r>
                        <a:rPr lang="en-US" sz="1600" dirty="0" smtClean="0"/>
                        <a:t>Cost reduction</a:t>
                      </a:r>
                      <a:endParaRPr lang="en-US" sz="1600" dirty="0"/>
                    </a:p>
                  </a:txBody>
                  <a:tcPr/>
                </a:tc>
                <a:tc>
                  <a:txBody>
                    <a:bodyPr/>
                    <a:lstStyle/>
                    <a:p>
                      <a:r>
                        <a:rPr lang="en-US" sz="1600" dirty="0" smtClean="0"/>
                        <a:t>T&amp;D Business Transformation (e.g.</a:t>
                      </a:r>
                      <a:r>
                        <a:rPr lang="en-US" sz="1600" baseline="0" dirty="0" smtClean="0"/>
                        <a:t> UKPN, Xcel BT)</a:t>
                      </a:r>
                    </a:p>
                    <a:p>
                      <a:r>
                        <a:rPr lang="en-US" sz="1600" baseline="0" dirty="0" smtClean="0"/>
                        <a:t>WFRM &amp; TDAM</a:t>
                      </a:r>
                    </a:p>
                    <a:p>
                      <a:r>
                        <a:rPr lang="en-US" sz="1600" baseline="0" dirty="0" smtClean="0"/>
                        <a:t>Advanced Analytics</a:t>
                      </a:r>
                      <a:endParaRPr lang="en-US" sz="1600" dirty="0"/>
                    </a:p>
                  </a:txBody>
                  <a:tcPr/>
                </a:tc>
              </a:tr>
              <a:tr h="370840">
                <a:tc>
                  <a:txBody>
                    <a:bodyPr/>
                    <a:lstStyle/>
                    <a:p>
                      <a:r>
                        <a:rPr lang="en-US" sz="1600" dirty="0" smtClean="0"/>
                        <a:t>Reliability &amp; Outage</a:t>
                      </a:r>
                      <a:r>
                        <a:rPr lang="en-US" sz="1600" baseline="0" dirty="0" smtClean="0"/>
                        <a:t> Communication</a:t>
                      </a:r>
                      <a:endParaRPr lang="en-US" sz="1600" dirty="0"/>
                    </a:p>
                  </a:txBody>
                  <a:tcPr/>
                </a:tc>
                <a:tc>
                  <a:txBody>
                    <a:bodyPr/>
                    <a:lstStyle/>
                    <a:p>
                      <a:r>
                        <a:rPr lang="en-US" sz="1600" dirty="0" err="1" smtClean="0"/>
                        <a:t>Comed</a:t>
                      </a:r>
                      <a:r>
                        <a:rPr lang="en-US" sz="1600" baseline="0" dirty="0" smtClean="0"/>
                        <a:t> OCS solution</a:t>
                      </a:r>
                    </a:p>
                    <a:p>
                      <a:r>
                        <a:rPr lang="en-US" sz="1600" baseline="0" dirty="0" smtClean="0"/>
                        <a:t>OMS / DMS (Siemens, Oracle, GE)</a:t>
                      </a:r>
                    </a:p>
                    <a:p>
                      <a:r>
                        <a:rPr lang="en-US" sz="1600" baseline="0" dirty="0" smtClean="0"/>
                        <a:t>Outage process improvements and analytics (Coned)</a:t>
                      </a:r>
                      <a:endParaRPr lang="en-US" sz="1600" dirty="0"/>
                    </a:p>
                  </a:txBody>
                  <a:tcPr/>
                </a:tc>
              </a:tr>
              <a:tr h="370840">
                <a:tc>
                  <a:txBody>
                    <a:bodyPr/>
                    <a:lstStyle/>
                    <a:p>
                      <a:r>
                        <a:rPr lang="en-US" sz="1600" dirty="0" smtClean="0"/>
                        <a:t>AMI and Energy Efficiency</a:t>
                      </a:r>
                      <a:endParaRPr lang="en-US" sz="1600" dirty="0"/>
                    </a:p>
                  </a:txBody>
                  <a:tcPr/>
                </a:tc>
                <a:tc>
                  <a:txBody>
                    <a:bodyPr/>
                    <a:lstStyle/>
                    <a:p>
                      <a:r>
                        <a:rPr lang="en-US" sz="1600" dirty="0" smtClean="0"/>
                        <a:t>End to end AMI solutions (Oracle, </a:t>
                      </a:r>
                      <a:r>
                        <a:rPr lang="en-US" sz="1600" dirty="0" err="1" smtClean="0"/>
                        <a:t>eMeter</a:t>
                      </a:r>
                      <a:r>
                        <a:rPr lang="en-US" sz="1600" dirty="0" smtClean="0"/>
                        <a:t>)</a:t>
                      </a:r>
                    </a:p>
                    <a:p>
                      <a:r>
                        <a:rPr lang="en-US" sz="1600" dirty="0" smtClean="0"/>
                        <a:t>SMOC (PHI, BC Hydro)</a:t>
                      </a:r>
                    </a:p>
                  </a:txBody>
                  <a:tcPr/>
                </a:tc>
              </a:tr>
              <a:tr h="370840">
                <a:tc>
                  <a:txBody>
                    <a:bodyPr/>
                    <a:lstStyle/>
                    <a:p>
                      <a:r>
                        <a:rPr lang="en-US" sz="1600" dirty="0" smtClean="0"/>
                        <a:t>Renewable</a:t>
                      </a:r>
                      <a:r>
                        <a:rPr lang="en-US" sz="1600" baseline="0" dirty="0" smtClean="0"/>
                        <a:t> Integration</a:t>
                      </a:r>
                      <a:endParaRPr lang="en-US" sz="1600" dirty="0"/>
                    </a:p>
                  </a:txBody>
                  <a:tcPr/>
                </a:tc>
                <a:tc>
                  <a:txBody>
                    <a:bodyPr/>
                    <a:lstStyle/>
                    <a:p>
                      <a:r>
                        <a:rPr lang="en-US" sz="1600" dirty="0" smtClean="0"/>
                        <a:t>ADMS (Siemens)</a:t>
                      </a:r>
                    </a:p>
                    <a:p>
                      <a:r>
                        <a:rPr lang="en-US" sz="1600" dirty="0" smtClean="0"/>
                        <a:t>End to end AMI solutions</a:t>
                      </a:r>
                    </a:p>
                    <a:p>
                      <a:r>
                        <a:rPr lang="en-US" sz="1600" dirty="0" smtClean="0"/>
                        <a:t>Distribution Ops</a:t>
                      </a:r>
                      <a:r>
                        <a:rPr lang="en-US" sz="1600" baseline="0" dirty="0" smtClean="0"/>
                        <a:t> Analytics</a:t>
                      </a:r>
                    </a:p>
                    <a:p>
                      <a:r>
                        <a:rPr lang="en-US" sz="1600" baseline="0" dirty="0" smtClean="0"/>
                        <a:t>SMOC</a:t>
                      </a:r>
                      <a:endParaRPr lang="en-US" sz="1600" dirty="0"/>
                    </a:p>
                  </a:txBody>
                  <a:tcPr/>
                </a:tc>
              </a:tr>
              <a:tr h="370840">
                <a:tc>
                  <a:txBody>
                    <a:bodyPr/>
                    <a:lstStyle/>
                    <a:p>
                      <a:r>
                        <a:rPr lang="en-US" sz="1600" dirty="0" smtClean="0"/>
                        <a:t>Carve-outs and change in ownerships</a:t>
                      </a:r>
                      <a:endParaRPr lang="en-US" sz="1600" dirty="0"/>
                    </a:p>
                  </a:txBody>
                  <a:tcPr/>
                </a:tc>
                <a:tc>
                  <a:txBody>
                    <a:bodyPr/>
                    <a:lstStyle/>
                    <a:p>
                      <a:r>
                        <a:rPr lang="en-US" sz="1600" dirty="0" smtClean="0"/>
                        <a:t>T&amp;D Integration &amp; Op Models (</a:t>
                      </a:r>
                      <a:r>
                        <a:rPr lang="en-US" sz="1600" dirty="0" err="1" smtClean="0"/>
                        <a:t>OneOK</a:t>
                      </a:r>
                      <a:r>
                        <a:rPr lang="en-US" sz="1600" dirty="0" smtClean="0"/>
                        <a:t>, Xcel, UKPN)</a:t>
                      </a:r>
                    </a:p>
                    <a:p>
                      <a:r>
                        <a:rPr lang="en-US" sz="1600" dirty="0" smtClean="0"/>
                        <a:t>AMI Integration (Exelon Eagle)</a:t>
                      </a:r>
                    </a:p>
                    <a:p>
                      <a:r>
                        <a:rPr lang="en-US" sz="1600" dirty="0" smtClean="0"/>
                        <a:t>SMOC integration</a:t>
                      </a:r>
                      <a:endParaRPr lang="en-US" sz="1600" dirty="0"/>
                    </a:p>
                  </a:txBody>
                  <a:tcPr/>
                </a:tc>
              </a:tr>
            </a:tbl>
          </a:graphicData>
        </a:graphic>
      </p:graphicFrame>
      <p:sp>
        <p:nvSpPr>
          <p:cNvPr id="3" name="Slide Number Placeholder 2"/>
          <p:cNvSpPr>
            <a:spLocks noGrp="1"/>
          </p:cNvSpPr>
          <p:nvPr>
            <p:ph type="sldNum" sz="quarter" idx="4294967295"/>
          </p:nvPr>
        </p:nvSpPr>
        <p:spPr>
          <a:xfrm>
            <a:off x="6651625" y="6534150"/>
            <a:ext cx="2492375" cy="352425"/>
          </a:xfrm>
        </p:spPr>
        <p:txBody>
          <a:bodyPr/>
          <a:lstStyle/>
          <a:p>
            <a:pPr>
              <a:defRPr/>
            </a:pPr>
            <a:fld id="{0185D5F9-D3A1-4A0D-AD4D-4A06DCCC02CE}" type="slidenum">
              <a:rPr lang="en-US" smtClean="0">
                <a:solidFill>
                  <a:prstClr val="black"/>
                </a:solidFill>
              </a:rPr>
              <a:pPr>
                <a:defRPr/>
              </a:pPr>
              <a:t>26</a:t>
            </a:fld>
            <a:endParaRPr lang="en-US" dirty="0">
              <a:solidFill>
                <a:prstClr val="black"/>
              </a:solidFill>
            </a:endParaRPr>
          </a:p>
        </p:txBody>
      </p:sp>
    </p:spTree>
    <p:extLst>
      <p:ext uri="{BB962C8B-B14F-4D97-AF65-F5344CB8AC3E}">
        <p14:creationId xmlns:p14="http://schemas.microsoft.com/office/powerpoint/2010/main" val="155461278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3"/>
          <p:cNvSpPr>
            <a:spLocks noGrp="1"/>
          </p:cNvSpPr>
          <p:nvPr>
            <p:ph type="title"/>
          </p:nvPr>
        </p:nvSpPr>
        <p:spPr>
          <a:xfrm>
            <a:off x="443865" y="230454"/>
            <a:ext cx="8229600" cy="758952"/>
          </a:xfrm>
        </p:spPr>
        <p:txBody>
          <a:bodyPr/>
          <a:lstStyle/>
          <a:p>
            <a:r>
              <a:rPr lang="en-US" b="1" spc="-100" dirty="0" err="1" smtClean="0">
                <a:solidFill>
                  <a:srgbClr val="003344"/>
                </a:solidFill>
                <a:latin typeface="+mj-lt"/>
              </a:rPr>
              <a:t>Tendencias</a:t>
            </a:r>
            <a:r>
              <a:rPr lang="en-US" b="1" spc="-100" dirty="0" smtClean="0">
                <a:solidFill>
                  <a:srgbClr val="003344"/>
                </a:solidFill>
                <a:latin typeface="+mj-lt"/>
              </a:rPr>
              <a:t> y </a:t>
            </a:r>
            <a:r>
              <a:rPr lang="en-US" b="1" spc="-100" dirty="0" err="1" smtClean="0">
                <a:solidFill>
                  <a:srgbClr val="003344"/>
                </a:solidFill>
                <a:latin typeface="+mj-lt"/>
              </a:rPr>
              <a:t>aplicación</a:t>
            </a:r>
            <a:r>
              <a:rPr lang="en-US" b="1" spc="-100" dirty="0" smtClean="0">
                <a:solidFill>
                  <a:srgbClr val="003344"/>
                </a:solidFill>
                <a:latin typeface="+mj-lt"/>
              </a:rPr>
              <a:t> de </a:t>
            </a:r>
            <a:r>
              <a:rPr lang="en-US" b="1" spc="-100" dirty="0" err="1" smtClean="0">
                <a:solidFill>
                  <a:srgbClr val="003344"/>
                </a:solidFill>
                <a:latin typeface="+mj-lt"/>
              </a:rPr>
              <a:t>nuevas</a:t>
            </a:r>
            <a:r>
              <a:rPr lang="en-US" b="1" spc="-100" dirty="0" smtClean="0">
                <a:solidFill>
                  <a:srgbClr val="003344"/>
                </a:solidFill>
                <a:latin typeface="+mj-lt"/>
              </a:rPr>
              <a:t> </a:t>
            </a:r>
            <a:r>
              <a:rPr lang="en-US" b="1" spc="-100" dirty="0" err="1" smtClean="0">
                <a:solidFill>
                  <a:srgbClr val="003344"/>
                </a:solidFill>
                <a:latin typeface="+mj-lt"/>
              </a:rPr>
              <a:t>tecnologias</a:t>
            </a:r>
            <a:r>
              <a:rPr lang="en-US" b="1" spc="-100" dirty="0" smtClean="0">
                <a:solidFill>
                  <a:srgbClr val="003344"/>
                </a:solidFill>
                <a:latin typeface="+mj-lt"/>
              </a:rPr>
              <a:t> en T&amp;D</a:t>
            </a:r>
            <a:endParaRPr lang="en-US" b="1" spc="-100" dirty="0">
              <a:solidFill>
                <a:srgbClr val="003344"/>
              </a:solidFill>
              <a:latin typeface="+mj-lt"/>
            </a:endParaRPr>
          </a:p>
        </p:txBody>
      </p:sp>
      <p:sp>
        <p:nvSpPr>
          <p:cNvPr id="83" name="Slide Number Placeholder 2"/>
          <p:cNvSpPr>
            <a:spLocks noGrp="1"/>
          </p:cNvSpPr>
          <p:nvPr>
            <p:ph type="sldNum" sz="quarter" idx="4294967295"/>
          </p:nvPr>
        </p:nvSpPr>
        <p:spPr>
          <a:xfrm>
            <a:off x="6651625" y="6534150"/>
            <a:ext cx="2492375" cy="352425"/>
          </a:xfrm>
        </p:spPr>
        <p:txBody>
          <a:bodyPr/>
          <a:lstStyle/>
          <a:p>
            <a:pPr>
              <a:defRPr/>
            </a:pPr>
            <a:fld id="{0185D5F9-D3A1-4A0D-AD4D-4A06DCCC02CE}" type="slidenum">
              <a:rPr lang="en-US" smtClean="0">
                <a:solidFill>
                  <a:prstClr val="black"/>
                </a:solidFill>
              </a:rPr>
              <a:pPr>
                <a:defRPr/>
              </a:pPr>
              <a:t>27</a:t>
            </a:fld>
            <a:endParaRPr lang="en-US" dirty="0">
              <a:solidFill>
                <a:prstClr val="black"/>
              </a:solidFill>
            </a:endParaRPr>
          </a:p>
        </p:txBody>
      </p:sp>
      <p:cxnSp>
        <p:nvCxnSpPr>
          <p:cNvPr id="84" name="Straight Connector 83"/>
          <p:cNvCxnSpPr/>
          <p:nvPr/>
        </p:nvCxnSpPr>
        <p:spPr>
          <a:xfrm>
            <a:off x="1136989" y="3427413"/>
            <a:ext cx="6870023" cy="0"/>
          </a:xfrm>
          <a:prstGeom prst="line">
            <a:avLst/>
          </a:prstGeom>
          <a:ln w="317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4561242" y="1312433"/>
            <a:ext cx="1588" cy="4927002"/>
          </a:xfrm>
          <a:prstGeom prst="line">
            <a:avLst/>
          </a:prstGeom>
          <a:ln w="349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6802980" y="1202293"/>
            <a:ext cx="1893345" cy="369332"/>
          </a:xfrm>
          <a:prstGeom prst="rect">
            <a:avLst/>
          </a:prstGeom>
          <a:noFill/>
        </p:spPr>
        <p:txBody>
          <a:bodyPr wrap="square" rtlCol="0">
            <a:spAutoFit/>
          </a:bodyPr>
          <a:lstStyle/>
          <a:p>
            <a:pPr algn="r"/>
            <a:r>
              <a:rPr lang="es-ES_tradnl" b="1" dirty="0" err="1" smtClean="0">
                <a:solidFill>
                  <a:srgbClr val="002060"/>
                </a:solidFill>
              </a:rPr>
              <a:t>Analytics</a:t>
            </a:r>
            <a:endParaRPr lang="es-ES" b="1" dirty="0">
              <a:solidFill>
                <a:srgbClr val="002060"/>
              </a:solidFill>
            </a:endParaRPr>
          </a:p>
        </p:txBody>
      </p:sp>
      <p:sp>
        <p:nvSpPr>
          <p:cNvPr id="87" name="TextBox 86"/>
          <p:cNvSpPr txBox="1"/>
          <p:nvPr/>
        </p:nvSpPr>
        <p:spPr>
          <a:xfrm>
            <a:off x="447675" y="1202293"/>
            <a:ext cx="1893345" cy="369332"/>
          </a:xfrm>
          <a:prstGeom prst="rect">
            <a:avLst/>
          </a:prstGeom>
          <a:noFill/>
        </p:spPr>
        <p:txBody>
          <a:bodyPr wrap="square" rtlCol="0">
            <a:spAutoFit/>
          </a:bodyPr>
          <a:lstStyle/>
          <a:p>
            <a:r>
              <a:rPr lang="es-ES_tradnl" b="1" dirty="0" smtClean="0">
                <a:solidFill>
                  <a:srgbClr val="002060"/>
                </a:solidFill>
              </a:rPr>
              <a:t>Teledetección</a:t>
            </a:r>
            <a:endParaRPr lang="es-ES" b="1" dirty="0">
              <a:solidFill>
                <a:srgbClr val="002060"/>
              </a:solidFill>
            </a:endParaRPr>
          </a:p>
        </p:txBody>
      </p:sp>
      <p:sp>
        <p:nvSpPr>
          <p:cNvPr id="88" name="TextBox 87"/>
          <p:cNvSpPr txBox="1"/>
          <p:nvPr/>
        </p:nvSpPr>
        <p:spPr>
          <a:xfrm>
            <a:off x="447675" y="3591268"/>
            <a:ext cx="1893345" cy="369332"/>
          </a:xfrm>
          <a:prstGeom prst="rect">
            <a:avLst/>
          </a:prstGeom>
          <a:noFill/>
        </p:spPr>
        <p:txBody>
          <a:bodyPr wrap="square" rtlCol="0">
            <a:spAutoFit/>
          </a:bodyPr>
          <a:lstStyle/>
          <a:p>
            <a:r>
              <a:rPr lang="es-ES_tradnl" b="1" dirty="0" err="1" smtClean="0">
                <a:solidFill>
                  <a:srgbClr val="002060"/>
                </a:solidFill>
              </a:rPr>
              <a:t>Mobility</a:t>
            </a:r>
            <a:endParaRPr lang="es-ES" b="1" dirty="0">
              <a:solidFill>
                <a:srgbClr val="002060"/>
              </a:solidFill>
            </a:endParaRPr>
          </a:p>
        </p:txBody>
      </p:sp>
      <p:sp>
        <p:nvSpPr>
          <p:cNvPr id="89" name="TextBox 88"/>
          <p:cNvSpPr txBox="1"/>
          <p:nvPr/>
        </p:nvSpPr>
        <p:spPr>
          <a:xfrm>
            <a:off x="6802980" y="3591268"/>
            <a:ext cx="1893345" cy="369332"/>
          </a:xfrm>
          <a:prstGeom prst="rect">
            <a:avLst/>
          </a:prstGeom>
          <a:noFill/>
        </p:spPr>
        <p:txBody>
          <a:bodyPr wrap="square" rtlCol="0">
            <a:spAutoFit/>
          </a:bodyPr>
          <a:lstStyle/>
          <a:p>
            <a:pPr algn="r"/>
            <a:r>
              <a:rPr lang="es-ES_tradnl" b="1" dirty="0" smtClean="0">
                <a:solidFill>
                  <a:srgbClr val="002060"/>
                </a:solidFill>
              </a:rPr>
              <a:t>Smart</a:t>
            </a:r>
            <a:endParaRPr lang="es-ES" b="1" dirty="0">
              <a:solidFill>
                <a:srgbClr val="002060"/>
              </a:solidFill>
            </a:endParaRPr>
          </a:p>
        </p:txBody>
      </p:sp>
      <p:sp>
        <p:nvSpPr>
          <p:cNvPr id="90" name="Oval 89"/>
          <p:cNvSpPr/>
          <p:nvPr/>
        </p:nvSpPr>
        <p:spPr>
          <a:xfrm>
            <a:off x="6637224" y="2967441"/>
            <a:ext cx="1064946" cy="960768"/>
          </a:xfrm>
          <a:prstGeom prst="ellipse">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_tradnl" sz="1100" dirty="0" err="1" smtClean="0">
                <a:solidFill>
                  <a:srgbClr val="002060"/>
                </a:solidFill>
              </a:rPr>
              <a:t>Theft</a:t>
            </a:r>
            <a:r>
              <a:rPr lang="es-ES_tradnl" sz="1100" dirty="0" smtClean="0">
                <a:solidFill>
                  <a:srgbClr val="002060"/>
                </a:solidFill>
              </a:rPr>
              <a:t> </a:t>
            </a:r>
            <a:r>
              <a:rPr lang="es-ES_tradnl" sz="1100" dirty="0" err="1" smtClean="0">
                <a:solidFill>
                  <a:srgbClr val="002060"/>
                </a:solidFill>
              </a:rPr>
              <a:t>Analytics</a:t>
            </a:r>
            <a:endParaRPr lang="es-ES" sz="1100" dirty="0">
              <a:solidFill>
                <a:srgbClr val="002060"/>
              </a:solidFill>
            </a:endParaRPr>
          </a:p>
        </p:txBody>
      </p:sp>
      <p:sp>
        <p:nvSpPr>
          <p:cNvPr id="91" name="Oval 90"/>
          <p:cNvSpPr/>
          <p:nvPr/>
        </p:nvSpPr>
        <p:spPr>
          <a:xfrm>
            <a:off x="1180256" y="3959892"/>
            <a:ext cx="1559188" cy="1406661"/>
          </a:xfrm>
          <a:prstGeom prst="ellipse">
            <a:avLst/>
          </a:prstGeom>
          <a:solidFill>
            <a:schemeClr val="bg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200" dirty="0" smtClean="0">
                <a:solidFill>
                  <a:srgbClr val="002060"/>
                </a:solidFill>
              </a:rPr>
              <a:t>Dispositivos de movilidad en Trabajos campo</a:t>
            </a:r>
            <a:endParaRPr lang="es-ES" sz="1200" dirty="0">
              <a:solidFill>
                <a:srgbClr val="002060"/>
              </a:solidFill>
            </a:endParaRPr>
          </a:p>
        </p:txBody>
      </p:sp>
      <p:sp>
        <p:nvSpPr>
          <p:cNvPr id="93" name="Oval 92"/>
          <p:cNvSpPr/>
          <p:nvPr/>
        </p:nvSpPr>
        <p:spPr>
          <a:xfrm>
            <a:off x="6860779" y="3937784"/>
            <a:ext cx="1064946" cy="960768"/>
          </a:xfrm>
          <a:prstGeom prst="ellipse">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_tradnl" sz="1100" dirty="0" err="1" smtClean="0">
                <a:solidFill>
                  <a:srgbClr val="002060"/>
                </a:solidFill>
              </a:rPr>
              <a:t>Microgen</a:t>
            </a:r>
            <a:r>
              <a:rPr lang="es-ES_tradnl" sz="1100" dirty="0" smtClean="0">
                <a:solidFill>
                  <a:srgbClr val="002060"/>
                </a:solidFill>
              </a:rPr>
              <a:t>. BT</a:t>
            </a:r>
            <a:endParaRPr lang="es-ES" sz="1100" dirty="0">
              <a:solidFill>
                <a:srgbClr val="002060"/>
              </a:solidFill>
            </a:endParaRPr>
          </a:p>
        </p:txBody>
      </p:sp>
      <p:sp>
        <p:nvSpPr>
          <p:cNvPr id="94" name="Oval 93"/>
          <p:cNvSpPr/>
          <p:nvPr/>
        </p:nvSpPr>
        <p:spPr>
          <a:xfrm>
            <a:off x="1223145" y="1880330"/>
            <a:ext cx="1064946" cy="960768"/>
          </a:xfrm>
          <a:prstGeom prst="ellipse">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_tradnl" sz="1200" dirty="0" smtClean="0">
                <a:solidFill>
                  <a:srgbClr val="002060"/>
                </a:solidFill>
              </a:rPr>
              <a:t>Láser “</a:t>
            </a:r>
            <a:r>
              <a:rPr lang="es-ES_tradnl" sz="1200" dirty="0" err="1" smtClean="0">
                <a:solidFill>
                  <a:srgbClr val="002060"/>
                </a:solidFill>
              </a:rPr>
              <a:t>Lidar</a:t>
            </a:r>
            <a:r>
              <a:rPr lang="es-ES_tradnl" sz="1200" dirty="0" smtClean="0">
                <a:solidFill>
                  <a:srgbClr val="002060"/>
                </a:solidFill>
              </a:rPr>
              <a:t>”</a:t>
            </a:r>
            <a:endParaRPr lang="es-ES" sz="1200" dirty="0">
              <a:solidFill>
                <a:srgbClr val="002060"/>
              </a:solidFill>
            </a:endParaRPr>
          </a:p>
        </p:txBody>
      </p:sp>
      <p:sp>
        <p:nvSpPr>
          <p:cNvPr id="95" name="Oval 94"/>
          <p:cNvSpPr/>
          <p:nvPr/>
        </p:nvSpPr>
        <p:spPr>
          <a:xfrm>
            <a:off x="6652890" y="4961457"/>
            <a:ext cx="1559188" cy="1406661"/>
          </a:xfrm>
          <a:prstGeom prst="ellipse">
            <a:avLst/>
          </a:prstGeom>
          <a:solidFill>
            <a:schemeClr val="bg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400" dirty="0" smtClean="0">
                <a:solidFill>
                  <a:srgbClr val="002060"/>
                </a:solidFill>
              </a:rPr>
              <a:t>Smart Metering en BT</a:t>
            </a:r>
            <a:endParaRPr lang="es-ES" sz="1400" dirty="0">
              <a:solidFill>
                <a:srgbClr val="002060"/>
              </a:solidFill>
            </a:endParaRPr>
          </a:p>
        </p:txBody>
      </p:sp>
      <p:sp>
        <p:nvSpPr>
          <p:cNvPr id="96" name="Oval 95"/>
          <p:cNvSpPr/>
          <p:nvPr/>
        </p:nvSpPr>
        <p:spPr>
          <a:xfrm>
            <a:off x="5834064" y="1282564"/>
            <a:ext cx="1559188" cy="1406661"/>
          </a:xfrm>
          <a:prstGeom prst="ellipse">
            <a:avLst/>
          </a:prstGeom>
          <a:solidFill>
            <a:schemeClr val="bg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400" dirty="0" err="1" smtClean="0">
                <a:solidFill>
                  <a:srgbClr val="002060"/>
                </a:solidFill>
              </a:rPr>
              <a:t>Asset</a:t>
            </a:r>
            <a:r>
              <a:rPr lang="es-ES_tradnl" sz="1400" dirty="0" smtClean="0">
                <a:solidFill>
                  <a:srgbClr val="002060"/>
                </a:solidFill>
              </a:rPr>
              <a:t> </a:t>
            </a:r>
            <a:r>
              <a:rPr lang="es-ES_tradnl" sz="1400" dirty="0" err="1" smtClean="0">
                <a:solidFill>
                  <a:srgbClr val="002060"/>
                </a:solidFill>
              </a:rPr>
              <a:t>Analytics</a:t>
            </a:r>
            <a:endParaRPr lang="es-ES" sz="1400" dirty="0">
              <a:solidFill>
                <a:srgbClr val="002060"/>
              </a:solidFill>
            </a:endParaRPr>
          </a:p>
        </p:txBody>
      </p:sp>
      <p:sp>
        <p:nvSpPr>
          <p:cNvPr id="97" name="Oval 96"/>
          <p:cNvSpPr/>
          <p:nvPr/>
        </p:nvSpPr>
        <p:spPr>
          <a:xfrm>
            <a:off x="3126698" y="1839704"/>
            <a:ext cx="451641" cy="407459"/>
          </a:xfrm>
          <a:prstGeom prst="ellipse">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8" name="TextBox 97"/>
          <p:cNvSpPr txBox="1"/>
          <p:nvPr/>
        </p:nvSpPr>
        <p:spPr>
          <a:xfrm>
            <a:off x="2872542" y="2247163"/>
            <a:ext cx="959951" cy="230832"/>
          </a:xfrm>
          <a:prstGeom prst="rect">
            <a:avLst/>
          </a:prstGeom>
          <a:noFill/>
        </p:spPr>
        <p:txBody>
          <a:bodyPr wrap="square" rtlCol="0">
            <a:spAutoFit/>
          </a:bodyPr>
          <a:lstStyle/>
          <a:p>
            <a:pPr algn="ctr"/>
            <a:r>
              <a:rPr lang="es-ES_tradnl" sz="900" dirty="0" smtClean="0">
                <a:solidFill>
                  <a:srgbClr val="002060"/>
                </a:solidFill>
              </a:rPr>
              <a:t>Fotogrametría</a:t>
            </a:r>
            <a:endParaRPr lang="es-ES" sz="900" dirty="0">
              <a:solidFill>
                <a:srgbClr val="002060"/>
              </a:solidFill>
            </a:endParaRPr>
          </a:p>
        </p:txBody>
      </p:sp>
      <p:sp>
        <p:nvSpPr>
          <p:cNvPr id="99" name="Oval 98"/>
          <p:cNvSpPr/>
          <p:nvPr/>
        </p:nvSpPr>
        <p:spPr>
          <a:xfrm>
            <a:off x="5834064" y="3244095"/>
            <a:ext cx="451641" cy="407459"/>
          </a:xfrm>
          <a:prstGeom prst="ellipse">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0" name="TextBox 99"/>
          <p:cNvSpPr txBox="1"/>
          <p:nvPr/>
        </p:nvSpPr>
        <p:spPr>
          <a:xfrm>
            <a:off x="5579908" y="3651554"/>
            <a:ext cx="959951" cy="230832"/>
          </a:xfrm>
          <a:prstGeom prst="rect">
            <a:avLst/>
          </a:prstGeom>
          <a:noFill/>
        </p:spPr>
        <p:txBody>
          <a:bodyPr wrap="square" rtlCol="0">
            <a:spAutoFit/>
          </a:bodyPr>
          <a:lstStyle/>
          <a:p>
            <a:pPr algn="ctr"/>
            <a:r>
              <a:rPr lang="es-ES_tradnl" sz="900" dirty="0" smtClean="0">
                <a:solidFill>
                  <a:srgbClr val="002060"/>
                </a:solidFill>
              </a:rPr>
              <a:t>Smart City</a:t>
            </a:r>
            <a:endParaRPr lang="es-ES" sz="900" dirty="0">
              <a:solidFill>
                <a:srgbClr val="002060"/>
              </a:solidFill>
            </a:endParaRPr>
          </a:p>
        </p:txBody>
      </p:sp>
      <p:sp>
        <p:nvSpPr>
          <p:cNvPr id="101" name="Oval 100"/>
          <p:cNvSpPr/>
          <p:nvPr/>
        </p:nvSpPr>
        <p:spPr>
          <a:xfrm>
            <a:off x="6310172" y="4169241"/>
            <a:ext cx="451641" cy="407459"/>
          </a:xfrm>
          <a:prstGeom prst="ellipse">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2" name="TextBox 101"/>
          <p:cNvSpPr txBox="1"/>
          <p:nvPr/>
        </p:nvSpPr>
        <p:spPr>
          <a:xfrm>
            <a:off x="6056015" y="4592158"/>
            <a:ext cx="959951" cy="369332"/>
          </a:xfrm>
          <a:prstGeom prst="rect">
            <a:avLst/>
          </a:prstGeom>
          <a:noFill/>
        </p:spPr>
        <p:txBody>
          <a:bodyPr wrap="square" rtlCol="0">
            <a:spAutoFit/>
          </a:bodyPr>
          <a:lstStyle/>
          <a:p>
            <a:pPr algn="ctr"/>
            <a:r>
              <a:rPr lang="es-ES_tradnl" sz="900" dirty="0" smtClean="0">
                <a:solidFill>
                  <a:srgbClr val="002060"/>
                </a:solidFill>
              </a:rPr>
              <a:t>Vehículo Eléctrico</a:t>
            </a:r>
            <a:endParaRPr lang="es-ES" sz="900" dirty="0">
              <a:solidFill>
                <a:srgbClr val="002060"/>
              </a:solidFill>
            </a:endParaRPr>
          </a:p>
        </p:txBody>
      </p:sp>
      <p:sp>
        <p:nvSpPr>
          <p:cNvPr id="103" name="Oval 102"/>
          <p:cNvSpPr/>
          <p:nvPr/>
        </p:nvSpPr>
        <p:spPr>
          <a:xfrm>
            <a:off x="4030356" y="1602612"/>
            <a:ext cx="1064946" cy="960768"/>
          </a:xfrm>
          <a:prstGeom prst="ellipse">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s-ES" sz="1100" dirty="0">
              <a:solidFill>
                <a:srgbClr val="002060"/>
              </a:solidFill>
            </a:endParaRPr>
          </a:p>
        </p:txBody>
      </p:sp>
      <p:sp>
        <p:nvSpPr>
          <p:cNvPr id="104" name="Oval 103"/>
          <p:cNvSpPr/>
          <p:nvPr/>
        </p:nvSpPr>
        <p:spPr>
          <a:xfrm>
            <a:off x="3144067" y="6173200"/>
            <a:ext cx="280434" cy="253000"/>
          </a:xfrm>
          <a:prstGeom prst="ellipse">
            <a:avLst/>
          </a:prstGeom>
          <a:solidFill>
            <a:schemeClr val="bg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105" name="Straight Arrow Connector 104"/>
          <p:cNvCxnSpPr/>
          <p:nvPr/>
        </p:nvCxnSpPr>
        <p:spPr>
          <a:xfrm>
            <a:off x="3424501" y="6299700"/>
            <a:ext cx="26417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3665268" y="6173200"/>
            <a:ext cx="842762" cy="261610"/>
          </a:xfrm>
          <a:prstGeom prst="rect">
            <a:avLst/>
          </a:prstGeom>
          <a:noFill/>
        </p:spPr>
        <p:txBody>
          <a:bodyPr wrap="square" rtlCol="0">
            <a:spAutoFit/>
          </a:bodyPr>
          <a:lstStyle/>
          <a:p>
            <a:r>
              <a:rPr lang="es-ES_tradnl" sz="1050" dirty="0" smtClean="0"/>
              <a:t>Masivo</a:t>
            </a:r>
            <a:endParaRPr lang="es-ES" sz="1050" dirty="0"/>
          </a:p>
        </p:txBody>
      </p:sp>
      <p:sp>
        <p:nvSpPr>
          <p:cNvPr id="107" name="Oval 106"/>
          <p:cNvSpPr/>
          <p:nvPr/>
        </p:nvSpPr>
        <p:spPr>
          <a:xfrm>
            <a:off x="2093197" y="6213299"/>
            <a:ext cx="191541" cy="172803"/>
          </a:xfrm>
          <a:prstGeom prst="ellipse">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8" name="Oval 107"/>
          <p:cNvSpPr/>
          <p:nvPr/>
        </p:nvSpPr>
        <p:spPr>
          <a:xfrm>
            <a:off x="747165" y="6246052"/>
            <a:ext cx="108120" cy="107297"/>
          </a:xfrm>
          <a:prstGeom prst="ellipse">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109" name="Straight Arrow Connector 108"/>
          <p:cNvCxnSpPr/>
          <p:nvPr/>
        </p:nvCxnSpPr>
        <p:spPr>
          <a:xfrm>
            <a:off x="2284738" y="6299700"/>
            <a:ext cx="26417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855285" y="6299700"/>
            <a:ext cx="26417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2480874" y="6173200"/>
            <a:ext cx="842762" cy="261610"/>
          </a:xfrm>
          <a:prstGeom prst="rect">
            <a:avLst/>
          </a:prstGeom>
          <a:noFill/>
        </p:spPr>
        <p:txBody>
          <a:bodyPr wrap="square" rtlCol="0">
            <a:spAutoFit/>
          </a:bodyPr>
          <a:lstStyle/>
          <a:p>
            <a:r>
              <a:rPr lang="es-ES_tradnl" sz="1050" dirty="0" smtClean="0"/>
              <a:t>Piloto</a:t>
            </a:r>
            <a:endParaRPr lang="es-ES" sz="1050" dirty="0"/>
          </a:p>
        </p:txBody>
      </p:sp>
      <p:sp>
        <p:nvSpPr>
          <p:cNvPr id="112" name="TextBox 111"/>
          <p:cNvSpPr txBox="1"/>
          <p:nvPr/>
        </p:nvSpPr>
        <p:spPr>
          <a:xfrm>
            <a:off x="1119457" y="6173200"/>
            <a:ext cx="972687" cy="253916"/>
          </a:xfrm>
          <a:prstGeom prst="rect">
            <a:avLst/>
          </a:prstGeom>
          <a:noFill/>
        </p:spPr>
        <p:txBody>
          <a:bodyPr wrap="square" rtlCol="0">
            <a:spAutoFit/>
          </a:bodyPr>
          <a:lstStyle/>
          <a:p>
            <a:r>
              <a:rPr lang="es-ES_tradnl" sz="1050" dirty="0" smtClean="0"/>
              <a:t>Experimental</a:t>
            </a:r>
            <a:endParaRPr lang="es-ES" sz="1050" dirty="0"/>
          </a:p>
        </p:txBody>
      </p:sp>
      <p:sp>
        <p:nvSpPr>
          <p:cNvPr id="113" name="TextBox 112"/>
          <p:cNvSpPr txBox="1"/>
          <p:nvPr/>
        </p:nvSpPr>
        <p:spPr>
          <a:xfrm>
            <a:off x="639585" y="5933593"/>
            <a:ext cx="2887449" cy="276999"/>
          </a:xfrm>
          <a:prstGeom prst="rect">
            <a:avLst/>
          </a:prstGeom>
          <a:noFill/>
        </p:spPr>
        <p:txBody>
          <a:bodyPr wrap="square" rtlCol="0">
            <a:spAutoFit/>
          </a:bodyPr>
          <a:lstStyle/>
          <a:p>
            <a:r>
              <a:rPr lang="es-ES_tradnl" sz="1200" dirty="0" smtClean="0">
                <a:solidFill>
                  <a:schemeClr val="accent1">
                    <a:lumMod val="50000"/>
                  </a:schemeClr>
                </a:solidFill>
              </a:rPr>
              <a:t>Grado de Implantación:</a:t>
            </a:r>
            <a:endParaRPr lang="es-ES" sz="1200" dirty="0">
              <a:solidFill>
                <a:schemeClr val="accent1">
                  <a:lumMod val="50000"/>
                </a:schemeClr>
              </a:solidFill>
            </a:endParaRPr>
          </a:p>
        </p:txBody>
      </p:sp>
      <p:sp>
        <p:nvSpPr>
          <p:cNvPr id="114" name="Oval 113"/>
          <p:cNvSpPr/>
          <p:nvPr/>
        </p:nvSpPr>
        <p:spPr>
          <a:xfrm>
            <a:off x="7976978" y="4076565"/>
            <a:ext cx="451641" cy="407459"/>
          </a:xfrm>
          <a:prstGeom prst="ellipse">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5" name="TextBox 114"/>
          <p:cNvSpPr txBox="1"/>
          <p:nvPr/>
        </p:nvSpPr>
        <p:spPr>
          <a:xfrm>
            <a:off x="7722821" y="4499482"/>
            <a:ext cx="959951" cy="230832"/>
          </a:xfrm>
          <a:prstGeom prst="rect">
            <a:avLst/>
          </a:prstGeom>
          <a:noFill/>
        </p:spPr>
        <p:txBody>
          <a:bodyPr wrap="square" rtlCol="0">
            <a:spAutoFit/>
          </a:bodyPr>
          <a:lstStyle/>
          <a:p>
            <a:pPr algn="ctr"/>
            <a:r>
              <a:rPr lang="es-ES_tradnl" sz="900" dirty="0" smtClean="0">
                <a:solidFill>
                  <a:srgbClr val="002060"/>
                </a:solidFill>
              </a:rPr>
              <a:t>Smart </a:t>
            </a:r>
            <a:r>
              <a:rPr lang="es-ES_tradnl" sz="900" dirty="0" err="1" smtClean="0">
                <a:solidFill>
                  <a:srgbClr val="002060"/>
                </a:solidFill>
              </a:rPr>
              <a:t>Grid</a:t>
            </a:r>
            <a:endParaRPr lang="es-ES" sz="900" dirty="0">
              <a:solidFill>
                <a:srgbClr val="002060"/>
              </a:solidFill>
            </a:endParaRPr>
          </a:p>
        </p:txBody>
      </p:sp>
      <p:sp>
        <p:nvSpPr>
          <p:cNvPr id="116" name="TextBox 115"/>
          <p:cNvSpPr txBox="1"/>
          <p:nvPr/>
        </p:nvSpPr>
        <p:spPr>
          <a:xfrm>
            <a:off x="3980084" y="1821791"/>
            <a:ext cx="1165492" cy="507831"/>
          </a:xfrm>
          <a:prstGeom prst="rect">
            <a:avLst/>
          </a:prstGeom>
          <a:noFill/>
        </p:spPr>
        <p:txBody>
          <a:bodyPr wrap="square" rtlCol="0">
            <a:spAutoFit/>
          </a:bodyPr>
          <a:lstStyle/>
          <a:p>
            <a:pPr algn="ctr"/>
            <a:r>
              <a:rPr lang="es-ES_tradnl" sz="900" dirty="0" smtClean="0">
                <a:solidFill>
                  <a:srgbClr val="002060"/>
                </a:solidFill>
              </a:rPr>
              <a:t>Monitorización </a:t>
            </a:r>
            <a:r>
              <a:rPr lang="es-ES_tradnl" sz="900" dirty="0">
                <a:solidFill>
                  <a:srgbClr val="002060"/>
                </a:solidFill>
              </a:rPr>
              <a:t>equipamientos </a:t>
            </a:r>
            <a:r>
              <a:rPr lang="es-ES_tradnl" sz="900" dirty="0" smtClean="0">
                <a:solidFill>
                  <a:srgbClr val="002060"/>
                </a:solidFill>
              </a:rPr>
              <a:t> </a:t>
            </a:r>
            <a:r>
              <a:rPr lang="es-ES_tradnl" sz="900" dirty="0">
                <a:solidFill>
                  <a:srgbClr val="002060"/>
                </a:solidFill>
              </a:rPr>
              <a:t>Centrales /</a:t>
            </a:r>
            <a:r>
              <a:rPr lang="es-ES_tradnl" sz="900" dirty="0" smtClean="0">
                <a:solidFill>
                  <a:srgbClr val="002060"/>
                </a:solidFill>
              </a:rPr>
              <a:t>S.E</a:t>
            </a:r>
            <a:r>
              <a:rPr lang="es-ES_tradnl" sz="900" dirty="0">
                <a:solidFill>
                  <a:srgbClr val="002060"/>
                </a:solidFill>
              </a:rPr>
              <a:t>.</a:t>
            </a:r>
            <a:endParaRPr lang="es-ES" sz="900" dirty="0">
              <a:solidFill>
                <a:srgbClr val="002060"/>
              </a:solidFill>
            </a:endParaRPr>
          </a:p>
        </p:txBody>
      </p:sp>
      <p:sp>
        <p:nvSpPr>
          <p:cNvPr id="37" name="Oval 36"/>
          <p:cNvSpPr/>
          <p:nvPr/>
        </p:nvSpPr>
        <p:spPr>
          <a:xfrm>
            <a:off x="4080630" y="3882386"/>
            <a:ext cx="1064946" cy="960768"/>
          </a:xfrm>
          <a:prstGeom prst="ellipse">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_tradnl" sz="1100" dirty="0" err="1">
                <a:solidFill>
                  <a:srgbClr val="002060"/>
                </a:solidFill>
              </a:rPr>
              <a:t>Outages</a:t>
            </a:r>
            <a:r>
              <a:rPr lang="es-ES_tradnl" sz="1100" dirty="0">
                <a:solidFill>
                  <a:srgbClr val="002060"/>
                </a:solidFill>
              </a:rPr>
              <a:t> + </a:t>
            </a:r>
            <a:r>
              <a:rPr lang="es-ES_tradnl" sz="1100" dirty="0" err="1" smtClean="0">
                <a:solidFill>
                  <a:srgbClr val="002060"/>
                </a:solidFill>
              </a:rPr>
              <a:t>e-scheduling+DMS+Oms</a:t>
            </a:r>
            <a:r>
              <a:rPr lang="es-ES_tradnl" sz="1100" dirty="0" smtClean="0">
                <a:solidFill>
                  <a:srgbClr val="002060"/>
                </a:solidFill>
              </a:rPr>
              <a:t> en BT</a:t>
            </a:r>
            <a:endParaRPr lang="es-ES" sz="1100" dirty="0">
              <a:solidFill>
                <a:srgbClr val="002060"/>
              </a:solidFill>
            </a:endParaRPr>
          </a:p>
        </p:txBody>
      </p:sp>
      <p:sp>
        <p:nvSpPr>
          <p:cNvPr id="38" name="Oval 37"/>
          <p:cNvSpPr/>
          <p:nvPr/>
        </p:nvSpPr>
        <p:spPr>
          <a:xfrm>
            <a:off x="4800314" y="4961457"/>
            <a:ext cx="1559188" cy="1406661"/>
          </a:xfrm>
          <a:prstGeom prst="ellipse">
            <a:avLst/>
          </a:prstGeom>
          <a:solidFill>
            <a:schemeClr val="bg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400" dirty="0" smtClean="0">
                <a:solidFill>
                  <a:srgbClr val="002060"/>
                </a:solidFill>
              </a:rPr>
              <a:t>Operación remota de la red de AT</a:t>
            </a:r>
            <a:endParaRPr lang="es-ES" sz="1400" dirty="0">
              <a:solidFill>
                <a:srgbClr val="002060"/>
              </a:solidFill>
            </a:endParaRPr>
          </a:p>
        </p:txBody>
      </p:sp>
    </p:spTree>
    <p:extLst>
      <p:ext uri="{BB962C8B-B14F-4D97-AF65-F5344CB8AC3E}">
        <p14:creationId xmlns:p14="http://schemas.microsoft.com/office/powerpoint/2010/main" val="1922842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dirty="0" smtClean="0"/>
              <a:t>Advanced Asset Analytics – Case Study </a:t>
            </a:r>
            <a:endParaRPr lang="en-US" dirty="0"/>
          </a:p>
        </p:txBody>
      </p:sp>
      <p:sp>
        <p:nvSpPr>
          <p:cNvPr id="5" name="Rectangle 4"/>
          <p:cNvSpPr>
            <a:spLocks noChangeArrowheads="1"/>
          </p:cNvSpPr>
          <p:nvPr/>
        </p:nvSpPr>
        <p:spPr bwMode="auto">
          <a:xfrm>
            <a:off x="361950" y="4727465"/>
            <a:ext cx="8483600" cy="1801854"/>
          </a:xfrm>
          <a:prstGeom prst="rect">
            <a:avLst/>
          </a:prstGeom>
          <a:solidFill>
            <a:schemeClr val="bg1"/>
          </a:solidFill>
          <a:ln w="12700" algn="ctr">
            <a:solidFill>
              <a:srgbClr val="336699"/>
            </a:solidFill>
            <a:miter lim="800000"/>
            <a:headEnd/>
            <a:tailEnd/>
          </a:ln>
        </p:spPr>
        <p:txBody>
          <a:bodyPr anchor="ctr"/>
          <a:lstStyle/>
          <a:p>
            <a:pPr algn="ctr">
              <a:defRPr/>
            </a:pPr>
            <a:endParaRPr lang="en-US" sz="3200" dirty="0">
              <a:solidFill>
                <a:prstClr val="white"/>
              </a:solidFill>
              <a:latin typeface="Arial"/>
            </a:endParaRPr>
          </a:p>
        </p:txBody>
      </p:sp>
      <p:sp>
        <p:nvSpPr>
          <p:cNvPr id="6" name="Rectangle 5"/>
          <p:cNvSpPr>
            <a:spLocks noChangeArrowheads="1"/>
          </p:cNvSpPr>
          <p:nvPr/>
        </p:nvSpPr>
        <p:spPr bwMode="auto">
          <a:xfrm>
            <a:off x="352425" y="2223446"/>
            <a:ext cx="8480425" cy="955675"/>
          </a:xfrm>
          <a:prstGeom prst="rect">
            <a:avLst/>
          </a:prstGeom>
          <a:solidFill>
            <a:schemeClr val="bg1"/>
          </a:solidFill>
          <a:ln w="12700" algn="ctr">
            <a:solidFill>
              <a:srgbClr val="336699"/>
            </a:solidFill>
            <a:miter lim="800000"/>
            <a:headEnd/>
            <a:tailEnd/>
          </a:ln>
        </p:spPr>
        <p:txBody>
          <a:bodyPr anchor="ctr"/>
          <a:lstStyle/>
          <a:p>
            <a:pPr algn="ctr">
              <a:defRPr/>
            </a:pPr>
            <a:endParaRPr lang="en-US" sz="3200" dirty="0">
              <a:solidFill>
                <a:prstClr val="white"/>
              </a:solidFill>
              <a:latin typeface="Arial"/>
            </a:endParaRPr>
          </a:p>
        </p:txBody>
      </p:sp>
      <p:sp>
        <p:nvSpPr>
          <p:cNvPr id="7" name="Text Box 38"/>
          <p:cNvSpPr txBox="1">
            <a:spLocks noChangeArrowheads="1"/>
          </p:cNvSpPr>
          <p:nvPr/>
        </p:nvSpPr>
        <p:spPr bwMode="auto">
          <a:xfrm>
            <a:off x="1388460" y="2262720"/>
            <a:ext cx="1215390" cy="276999"/>
          </a:xfrm>
          <a:prstGeom prst="rect">
            <a:avLst/>
          </a:prstGeom>
          <a:noFill/>
          <a:ln w="12700">
            <a:noFill/>
            <a:miter lim="800000"/>
            <a:headEnd type="none" w="sm" len="sm"/>
            <a:tailEnd type="none" w="sm" len="sm"/>
          </a:ln>
        </p:spPr>
        <p:txBody>
          <a:bodyPr anchor="ctr">
            <a:spAutoFit/>
          </a:bodyPr>
          <a:lstStyle/>
          <a:p>
            <a:pPr marL="119063" indent="-119063" algn="ctr">
              <a:spcBef>
                <a:spcPct val="50000"/>
              </a:spcBef>
            </a:pPr>
            <a:r>
              <a:rPr lang="en-US" sz="1200" b="1" u="sng" dirty="0">
                <a:solidFill>
                  <a:srgbClr val="336699"/>
                </a:solidFill>
              </a:rPr>
              <a:t>Visualization </a:t>
            </a:r>
          </a:p>
        </p:txBody>
      </p:sp>
      <p:sp>
        <p:nvSpPr>
          <p:cNvPr id="8" name="Text Box 51"/>
          <p:cNvSpPr txBox="1">
            <a:spLocks noChangeArrowheads="1"/>
          </p:cNvSpPr>
          <p:nvPr/>
        </p:nvSpPr>
        <p:spPr bwMode="auto">
          <a:xfrm>
            <a:off x="2979494" y="2262720"/>
            <a:ext cx="1104900" cy="276999"/>
          </a:xfrm>
          <a:prstGeom prst="rect">
            <a:avLst/>
          </a:prstGeom>
          <a:noFill/>
          <a:ln w="12700">
            <a:noFill/>
            <a:miter lim="800000"/>
            <a:headEnd type="none" w="sm" len="sm"/>
            <a:tailEnd type="none" w="sm" len="sm"/>
          </a:ln>
        </p:spPr>
        <p:txBody>
          <a:bodyPr anchor="ctr">
            <a:spAutoFit/>
          </a:bodyPr>
          <a:lstStyle>
            <a:defPPr>
              <a:defRPr lang="en-US"/>
            </a:defPPr>
            <a:lvl1pPr marL="119063" indent="-119063" algn="ctr">
              <a:spcBef>
                <a:spcPct val="50000"/>
              </a:spcBef>
              <a:defRPr sz="1200" b="1">
                <a:solidFill>
                  <a:srgbClr val="336699"/>
                </a:solidFill>
              </a:defRPr>
            </a:lvl1pPr>
          </a:lstStyle>
          <a:p>
            <a:r>
              <a:rPr lang="en-US" u="sng" dirty="0" smtClean="0"/>
              <a:t>Reports</a:t>
            </a:r>
            <a:endParaRPr lang="en-US" u="sng" dirty="0"/>
          </a:p>
        </p:txBody>
      </p:sp>
      <p:sp>
        <p:nvSpPr>
          <p:cNvPr id="10" name="Text Box 52"/>
          <p:cNvSpPr txBox="1">
            <a:spLocks noChangeArrowheads="1"/>
          </p:cNvSpPr>
          <p:nvPr/>
        </p:nvSpPr>
        <p:spPr bwMode="auto">
          <a:xfrm>
            <a:off x="4419094" y="2262720"/>
            <a:ext cx="1104900" cy="276999"/>
          </a:xfrm>
          <a:prstGeom prst="rect">
            <a:avLst/>
          </a:prstGeom>
          <a:noFill/>
          <a:ln w="12700">
            <a:noFill/>
            <a:miter lim="800000"/>
            <a:headEnd type="none" w="sm" len="sm"/>
            <a:tailEnd type="none" w="sm" len="sm"/>
          </a:ln>
        </p:spPr>
        <p:txBody>
          <a:bodyPr anchor="ctr">
            <a:spAutoFit/>
          </a:bodyPr>
          <a:lstStyle>
            <a:defPPr>
              <a:defRPr lang="en-US"/>
            </a:defPPr>
            <a:lvl1pPr marL="119063" indent="-119063" algn="ctr">
              <a:spcBef>
                <a:spcPct val="50000"/>
              </a:spcBef>
              <a:defRPr sz="1200" b="1">
                <a:solidFill>
                  <a:srgbClr val="336699"/>
                </a:solidFill>
              </a:defRPr>
            </a:lvl1pPr>
          </a:lstStyle>
          <a:p>
            <a:r>
              <a:rPr lang="en-US" u="sng" dirty="0"/>
              <a:t>Dashboards</a:t>
            </a:r>
          </a:p>
        </p:txBody>
      </p:sp>
      <p:sp>
        <p:nvSpPr>
          <p:cNvPr id="12" name="Rectangle 11"/>
          <p:cNvSpPr>
            <a:spLocks noChangeArrowheads="1"/>
          </p:cNvSpPr>
          <p:nvPr/>
        </p:nvSpPr>
        <p:spPr bwMode="auto">
          <a:xfrm>
            <a:off x="350838" y="3246606"/>
            <a:ext cx="8483600" cy="1390610"/>
          </a:xfrm>
          <a:prstGeom prst="rect">
            <a:avLst/>
          </a:prstGeom>
          <a:solidFill>
            <a:schemeClr val="bg1"/>
          </a:solidFill>
          <a:ln w="12700" algn="ctr">
            <a:solidFill>
              <a:srgbClr val="336699"/>
            </a:solidFill>
            <a:miter lim="800000"/>
            <a:headEnd/>
            <a:tailEnd/>
          </a:ln>
        </p:spPr>
        <p:txBody>
          <a:bodyPr anchor="ctr"/>
          <a:lstStyle/>
          <a:p>
            <a:pPr algn="ctr">
              <a:defRPr/>
            </a:pPr>
            <a:endParaRPr lang="en-US" sz="3200" dirty="0">
              <a:solidFill>
                <a:prstClr val="white"/>
              </a:solidFill>
              <a:latin typeface="Arial"/>
            </a:endParaRPr>
          </a:p>
        </p:txBody>
      </p:sp>
      <p:sp>
        <p:nvSpPr>
          <p:cNvPr id="57" name="Text Box 51"/>
          <p:cNvSpPr txBox="1">
            <a:spLocks noChangeArrowheads="1"/>
          </p:cNvSpPr>
          <p:nvPr/>
        </p:nvSpPr>
        <p:spPr bwMode="auto">
          <a:xfrm>
            <a:off x="6570652" y="4727465"/>
            <a:ext cx="2346961" cy="381541"/>
          </a:xfrm>
          <a:prstGeom prst="rect">
            <a:avLst/>
          </a:prstGeom>
          <a:noFill/>
          <a:ln w="12700">
            <a:noFill/>
            <a:miter lim="800000"/>
            <a:headEnd type="none" w="sm" len="sm"/>
            <a:tailEnd type="none" w="sm" len="sm"/>
          </a:ln>
        </p:spPr>
        <p:txBody>
          <a:bodyPr>
            <a:spAutoFit/>
          </a:bodyPr>
          <a:lstStyle/>
          <a:p>
            <a:pPr algn="ctr">
              <a:spcBef>
                <a:spcPct val="50000"/>
              </a:spcBef>
            </a:pPr>
            <a:r>
              <a:rPr lang="en-US" sz="1200" b="1" dirty="0" smtClean="0">
                <a:solidFill>
                  <a:srgbClr val="336699"/>
                </a:solidFill>
              </a:rPr>
              <a:t>Unstructured Data Sources</a:t>
            </a:r>
            <a:endParaRPr lang="en-US" sz="1200" b="1" dirty="0">
              <a:solidFill>
                <a:srgbClr val="336699"/>
              </a:solidFill>
            </a:endParaRPr>
          </a:p>
        </p:txBody>
      </p:sp>
      <p:sp>
        <p:nvSpPr>
          <p:cNvPr id="68" name="Rectangle 67"/>
          <p:cNvSpPr>
            <a:spLocks noChangeArrowheads="1"/>
          </p:cNvSpPr>
          <p:nvPr/>
        </p:nvSpPr>
        <p:spPr bwMode="auto">
          <a:xfrm>
            <a:off x="1407827" y="5111924"/>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800" dirty="0" smtClean="0">
                <a:solidFill>
                  <a:prstClr val="white"/>
                </a:solidFill>
              </a:rPr>
              <a:t>EAM M&amp;I</a:t>
            </a:r>
            <a:endParaRPr lang="en-US" sz="800" dirty="0">
              <a:solidFill>
                <a:prstClr val="white"/>
              </a:solidFill>
            </a:endParaRPr>
          </a:p>
        </p:txBody>
      </p:sp>
      <p:sp>
        <p:nvSpPr>
          <p:cNvPr id="69" name="Rectangle 68"/>
          <p:cNvSpPr>
            <a:spLocks noChangeArrowheads="1"/>
          </p:cNvSpPr>
          <p:nvPr/>
        </p:nvSpPr>
        <p:spPr bwMode="auto">
          <a:xfrm>
            <a:off x="1407827" y="5328910"/>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800" dirty="0" smtClean="0">
                <a:solidFill>
                  <a:prstClr val="white"/>
                </a:solidFill>
              </a:rPr>
              <a:t>Total Oil Analysis</a:t>
            </a:r>
            <a:endParaRPr lang="en-US" sz="800" dirty="0">
              <a:solidFill>
                <a:prstClr val="white"/>
              </a:solidFill>
            </a:endParaRPr>
          </a:p>
        </p:txBody>
      </p:sp>
      <p:sp>
        <p:nvSpPr>
          <p:cNvPr id="70" name="Rectangle 69"/>
          <p:cNvSpPr>
            <a:spLocks noChangeArrowheads="1"/>
          </p:cNvSpPr>
          <p:nvPr/>
        </p:nvSpPr>
        <p:spPr bwMode="auto">
          <a:xfrm>
            <a:off x="1407827" y="5545896"/>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800" dirty="0" smtClean="0">
                <a:solidFill>
                  <a:prstClr val="white"/>
                </a:solidFill>
              </a:rPr>
              <a:t>Customer Data</a:t>
            </a:r>
            <a:endParaRPr lang="en-US" sz="800" dirty="0">
              <a:solidFill>
                <a:prstClr val="white"/>
              </a:solidFill>
            </a:endParaRPr>
          </a:p>
        </p:txBody>
      </p:sp>
      <p:sp>
        <p:nvSpPr>
          <p:cNvPr id="71" name="Rectangle 70"/>
          <p:cNvSpPr>
            <a:spLocks noChangeArrowheads="1"/>
          </p:cNvSpPr>
          <p:nvPr/>
        </p:nvSpPr>
        <p:spPr bwMode="auto">
          <a:xfrm>
            <a:off x="1407827" y="5762882"/>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800" dirty="0" smtClean="0">
                <a:solidFill>
                  <a:prstClr val="white"/>
                </a:solidFill>
              </a:rPr>
              <a:t>Sensor Data</a:t>
            </a:r>
            <a:endParaRPr lang="en-US" sz="800" dirty="0">
              <a:solidFill>
                <a:prstClr val="white"/>
              </a:solidFill>
            </a:endParaRPr>
          </a:p>
        </p:txBody>
      </p:sp>
      <p:sp>
        <p:nvSpPr>
          <p:cNvPr id="72" name="Rectangle 71"/>
          <p:cNvSpPr>
            <a:spLocks noChangeArrowheads="1"/>
          </p:cNvSpPr>
          <p:nvPr/>
        </p:nvSpPr>
        <p:spPr bwMode="auto">
          <a:xfrm>
            <a:off x="1407827" y="5979868"/>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800" dirty="0" smtClean="0">
                <a:solidFill>
                  <a:prstClr val="white"/>
                </a:solidFill>
              </a:rPr>
              <a:t>Failure Details</a:t>
            </a:r>
            <a:endParaRPr lang="en-US" sz="800" dirty="0">
              <a:solidFill>
                <a:prstClr val="white"/>
              </a:solidFill>
            </a:endParaRPr>
          </a:p>
        </p:txBody>
      </p:sp>
      <p:sp>
        <p:nvSpPr>
          <p:cNvPr id="73" name="Rectangle 72"/>
          <p:cNvSpPr>
            <a:spLocks noChangeArrowheads="1"/>
          </p:cNvSpPr>
          <p:nvPr/>
        </p:nvSpPr>
        <p:spPr bwMode="auto">
          <a:xfrm>
            <a:off x="1407827" y="6196853"/>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800" b="1" dirty="0" smtClean="0">
                <a:solidFill>
                  <a:prstClr val="white"/>
                </a:solidFill>
              </a:rPr>
              <a:t> Financial Data</a:t>
            </a:r>
            <a:endParaRPr lang="en-US" sz="800" b="1" dirty="0">
              <a:solidFill>
                <a:prstClr val="white"/>
              </a:solidFill>
            </a:endParaRPr>
          </a:p>
        </p:txBody>
      </p:sp>
      <p:sp>
        <p:nvSpPr>
          <p:cNvPr id="61" name="Rectangle 67"/>
          <p:cNvSpPr>
            <a:spLocks noChangeArrowheads="1"/>
          </p:cNvSpPr>
          <p:nvPr/>
        </p:nvSpPr>
        <p:spPr bwMode="auto">
          <a:xfrm>
            <a:off x="2568481" y="5119174"/>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r>
              <a:rPr lang="en-US" sz="800" dirty="0" smtClean="0">
                <a:solidFill>
                  <a:prstClr val="white"/>
                </a:solidFill>
              </a:rPr>
              <a:t>AMI / SMI Data</a:t>
            </a:r>
            <a:endParaRPr lang="en-US" sz="800" dirty="0">
              <a:solidFill>
                <a:prstClr val="white"/>
              </a:solidFill>
            </a:endParaRPr>
          </a:p>
        </p:txBody>
      </p:sp>
      <p:sp>
        <p:nvSpPr>
          <p:cNvPr id="62" name="Rectangle 68"/>
          <p:cNvSpPr>
            <a:spLocks noChangeArrowheads="1"/>
          </p:cNvSpPr>
          <p:nvPr/>
        </p:nvSpPr>
        <p:spPr bwMode="auto">
          <a:xfrm>
            <a:off x="2568481" y="5336160"/>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r>
              <a:rPr lang="en-US" sz="800" dirty="0" smtClean="0">
                <a:solidFill>
                  <a:prstClr val="white"/>
                </a:solidFill>
              </a:rPr>
              <a:t>Performance Data</a:t>
            </a:r>
            <a:endParaRPr lang="en-US" sz="800" dirty="0">
              <a:solidFill>
                <a:prstClr val="white"/>
              </a:solidFill>
            </a:endParaRPr>
          </a:p>
        </p:txBody>
      </p:sp>
      <p:sp>
        <p:nvSpPr>
          <p:cNvPr id="63" name="Rectangle 69"/>
          <p:cNvSpPr>
            <a:spLocks noChangeArrowheads="1"/>
          </p:cNvSpPr>
          <p:nvPr/>
        </p:nvSpPr>
        <p:spPr bwMode="auto">
          <a:xfrm>
            <a:off x="2568481" y="5553146"/>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r>
              <a:rPr lang="en-US" sz="800" dirty="0" smtClean="0">
                <a:solidFill>
                  <a:prstClr val="white"/>
                </a:solidFill>
              </a:rPr>
              <a:t>Load Data</a:t>
            </a:r>
            <a:endParaRPr lang="en-US" sz="800" dirty="0">
              <a:solidFill>
                <a:prstClr val="white"/>
              </a:solidFill>
            </a:endParaRPr>
          </a:p>
        </p:txBody>
      </p:sp>
      <p:sp>
        <p:nvSpPr>
          <p:cNvPr id="64" name="Rectangle 70"/>
          <p:cNvSpPr>
            <a:spLocks noChangeArrowheads="1"/>
          </p:cNvSpPr>
          <p:nvPr/>
        </p:nvSpPr>
        <p:spPr bwMode="auto">
          <a:xfrm>
            <a:off x="2568481" y="5770132"/>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r>
              <a:rPr lang="en-US" sz="800" dirty="0" smtClean="0">
                <a:solidFill>
                  <a:prstClr val="white"/>
                </a:solidFill>
              </a:rPr>
              <a:t>SCADA Data</a:t>
            </a:r>
            <a:endParaRPr lang="en-US" sz="800" dirty="0">
              <a:solidFill>
                <a:prstClr val="white"/>
              </a:solidFill>
            </a:endParaRPr>
          </a:p>
        </p:txBody>
      </p:sp>
      <p:sp>
        <p:nvSpPr>
          <p:cNvPr id="65" name="Rectangle 71"/>
          <p:cNvSpPr>
            <a:spLocks noChangeArrowheads="1"/>
          </p:cNvSpPr>
          <p:nvPr/>
        </p:nvSpPr>
        <p:spPr bwMode="auto">
          <a:xfrm>
            <a:off x="2568481" y="5987118"/>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r>
              <a:rPr lang="en-US" sz="800" dirty="0" smtClean="0">
                <a:solidFill>
                  <a:prstClr val="white"/>
                </a:solidFill>
              </a:rPr>
              <a:t>Delivery </a:t>
            </a:r>
            <a:r>
              <a:rPr lang="en-US" sz="800" dirty="0" err="1" smtClean="0">
                <a:solidFill>
                  <a:prstClr val="white"/>
                </a:solidFill>
              </a:rPr>
              <a:t>Pnt</a:t>
            </a:r>
            <a:r>
              <a:rPr lang="en-US" sz="800" dirty="0">
                <a:solidFill>
                  <a:prstClr val="white"/>
                </a:solidFill>
              </a:rPr>
              <a:t> </a:t>
            </a:r>
            <a:r>
              <a:rPr lang="en-US" sz="800" dirty="0" err="1" smtClean="0">
                <a:solidFill>
                  <a:prstClr val="white"/>
                </a:solidFill>
              </a:rPr>
              <a:t>Perf</a:t>
            </a:r>
            <a:endParaRPr lang="en-US" sz="800" dirty="0">
              <a:solidFill>
                <a:prstClr val="white"/>
              </a:solidFill>
            </a:endParaRPr>
          </a:p>
        </p:txBody>
      </p:sp>
      <p:sp>
        <p:nvSpPr>
          <p:cNvPr id="66" name="Rectangle 72"/>
          <p:cNvSpPr>
            <a:spLocks noChangeArrowheads="1"/>
          </p:cNvSpPr>
          <p:nvPr/>
        </p:nvSpPr>
        <p:spPr bwMode="auto">
          <a:xfrm>
            <a:off x="2568289" y="6204124"/>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750" b="1" dirty="0" smtClean="0">
                <a:solidFill>
                  <a:prstClr val="white"/>
                </a:solidFill>
              </a:rPr>
              <a:t>Outage Data</a:t>
            </a:r>
            <a:endParaRPr lang="en-US" sz="750" b="1" dirty="0">
              <a:solidFill>
                <a:prstClr val="white"/>
              </a:solidFill>
            </a:endParaRPr>
          </a:p>
        </p:txBody>
      </p:sp>
      <p:sp>
        <p:nvSpPr>
          <p:cNvPr id="75" name="Text Box 51"/>
          <p:cNvSpPr txBox="1">
            <a:spLocks noChangeArrowheads="1"/>
          </p:cNvSpPr>
          <p:nvPr/>
        </p:nvSpPr>
        <p:spPr bwMode="auto">
          <a:xfrm>
            <a:off x="1459928" y="4727465"/>
            <a:ext cx="2159572" cy="215369"/>
          </a:xfrm>
          <a:prstGeom prst="rect">
            <a:avLst/>
          </a:prstGeom>
          <a:noFill/>
          <a:ln w="12700">
            <a:noFill/>
            <a:miter lim="800000"/>
            <a:headEnd type="none" w="sm" len="sm"/>
            <a:tailEnd type="none" w="sm" len="sm"/>
          </a:ln>
        </p:spPr>
        <p:txBody>
          <a:bodyPr>
            <a:spAutoFit/>
          </a:bodyPr>
          <a:lstStyle/>
          <a:p>
            <a:pPr algn="ctr">
              <a:spcBef>
                <a:spcPct val="50000"/>
              </a:spcBef>
            </a:pPr>
            <a:r>
              <a:rPr lang="en-US" sz="1200" b="1" dirty="0" smtClean="0">
                <a:solidFill>
                  <a:srgbClr val="336699"/>
                </a:solidFill>
              </a:rPr>
              <a:t>Structured Data Sources</a:t>
            </a:r>
            <a:endParaRPr lang="en-US" sz="1200" b="1" dirty="0">
              <a:solidFill>
                <a:srgbClr val="336699"/>
              </a:solidFill>
            </a:endParaRPr>
          </a:p>
        </p:txBody>
      </p:sp>
      <p:cxnSp>
        <p:nvCxnSpPr>
          <p:cNvPr id="78" name="Straight Connector 77"/>
          <p:cNvCxnSpPr/>
          <p:nvPr/>
        </p:nvCxnSpPr>
        <p:spPr>
          <a:xfrm>
            <a:off x="6043407" y="3385105"/>
            <a:ext cx="0" cy="1173258"/>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TextBox 147"/>
          <p:cNvSpPr txBox="1">
            <a:spLocks noChangeArrowheads="1"/>
          </p:cNvSpPr>
          <p:nvPr/>
        </p:nvSpPr>
        <p:spPr bwMode="auto">
          <a:xfrm rot="16200000">
            <a:off x="130676" y="2478735"/>
            <a:ext cx="959716" cy="445097"/>
          </a:xfrm>
          <a:prstGeom prst="rect">
            <a:avLst/>
          </a:prstGeom>
          <a:noFill/>
          <a:ln w="9525">
            <a:noFill/>
            <a:miter lim="800000"/>
            <a:headEnd/>
            <a:tailEnd/>
          </a:ln>
        </p:spPr>
        <p:txBody>
          <a:bodyPr>
            <a:spAutoFit/>
          </a:bodyPr>
          <a:lstStyle/>
          <a:p>
            <a:pPr algn="ctr">
              <a:spcBef>
                <a:spcPct val="2000"/>
              </a:spcBef>
            </a:pPr>
            <a:r>
              <a:rPr lang="en-US" sz="1400" b="1" dirty="0" smtClean="0">
                <a:solidFill>
                  <a:srgbClr val="336699"/>
                </a:solidFill>
              </a:rPr>
              <a:t>Front End/ RIA</a:t>
            </a:r>
            <a:endParaRPr lang="en-US" sz="1400" b="1" dirty="0">
              <a:solidFill>
                <a:srgbClr val="336699"/>
              </a:solidFill>
            </a:endParaRPr>
          </a:p>
        </p:txBody>
      </p:sp>
      <p:sp>
        <p:nvSpPr>
          <p:cNvPr id="128" name="TextBox 147"/>
          <p:cNvSpPr txBox="1">
            <a:spLocks noChangeArrowheads="1"/>
          </p:cNvSpPr>
          <p:nvPr/>
        </p:nvSpPr>
        <p:spPr bwMode="auto">
          <a:xfrm rot="16200000">
            <a:off x="-70731" y="3719363"/>
            <a:ext cx="1362530" cy="445097"/>
          </a:xfrm>
          <a:prstGeom prst="rect">
            <a:avLst/>
          </a:prstGeom>
          <a:noFill/>
          <a:ln w="9525">
            <a:noFill/>
            <a:miter lim="800000"/>
            <a:headEnd/>
            <a:tailEnd/>
          </a:ln>
        </p:spPr>
        <p:txBody>
          <a:bodyPr>
            <a:spAutoFit/>
          </a:bodyPr>
          <a:lstStyle/>
          <a:p>
            <a:pPr algn="ctr">
              <a:spcBef>
                <a:spcPct val="2000"/>
              </a:spcBef>
            </a:pPr>
            <a:r>
              <a:rPr lang="en-US" sz="1400" b="1" dirty="0" smtClean="0">
                <a:solidFill>
                  <a:srgbClr val="336699"/>
                </a:solidFill>
              </a:rPr>
              <a:t>Data Delivery Environment</a:t>
            </a:r>
            <a:endParaRPr lang="en-US" sz="1400" b="1" dirty="0">
              <a:solidFill>
                <a:srgbClr val="336699"/>
              </a:solidFill>
            </a:endParaRPr>
          </a:p>
        </p:txBody>
      </p:sp>
      <p:sp>
        <p:nvSpPr>
          <p:cNvPr id="151" name="TextBox 147"/>
          <p:cNvSpPr txBox="1">
            <a:spLocks noChangeArrowheads="1"/>
          </p:cNvSpPr>
          <p:nvPr/>
        </p:nvSpPr>
        <p:spPr bwMode="auto">
          <a:xfrm rot="16200000">
            <a:off x="-220739" y="5405844"/>
            <a:ext cx="1662547" cy="445097"/>
          </a:xfrm>
          <a:prstGeom prst="rect">
            <a:avLst/>
          </a:prstGeom>
          <a:noFill/>
          <a:ln w="9525">
            <a:noFill/>
            <a:miter lim="800000"/>
            <a:headEnd/>
            <a:tailEnd/>
          </a:ln>
        </p:spPr>
        <p:txBody>
          <a:bodyPr>
            <a:spAutoFit/>
          </a:bodyPr>
          <a:lstStyle/>
          <a:p>
            <a:pPr algn="ctr">
              <a:spcBef>
                <a:spcPct val="2000"/>
              </a:spcBef>
            </a:pPr>
            <a:r>
              <a:rPr lang="en-US" sz="1400" b="1" dirty="0" smtClean="0">
                <a:solidFill>
                  <a:srgbClr val="336699"/>
                </a:solidFill>
              </a:rPr>
              <a:t>Client Source Data Integration</a:t>
            </a:r>
            <a:endParaRPr lang="en-US" sz="1400" b="1" dirty="0">
              <a:solidFill>
                <a:srgbClr val="336699"/>
              </a:solidFill>
            </a:endParaRPr>
          </a:p>
        </p:txBody>
      </p:sp>
      <p:sp>
        <p:nvSpPr>
          <p:cNvPr id="154" name="Text Box 52"/>
          <p:cNvSpPr txBox="1">
            <a:spLocks noChangeArrowheads="1"/>
          </p:cNvSpPr>
          <p:nvPr/>
        </p:nvSpPr>
        <p:spPr bwMode="auto">
          <a:xfrm>
            <a:off x="6269033" y="2262720"/>
            <a:ext cx="1957397" cy="276999"/>
          </a:xfrm>
          <a:prstGeom prst="rect">
            <a:avLst/>
          </a:prstGeom>
          <a:noFill/>
          <a:ln w="12700">
            <a:noFill/>
            <a:miter lim="800000"/>
            <a:headEnd type="none" w="sm" len="sm"/>
            <a:tailEnd type="none" w="sm" len="sm"/>
          </a:ln>
        </p:spPr>
        <p:txBody>
          <a:bodyPr anchor="ctr">
            <a:spAutoFit/>
          </a:bodyPr>
          <a:lstStyle/>
          <a:p>
            <a:pPr algn="ctr">
              <a:spcBef>
                <a:spcPct val="50000"/>
              </a:spcBef>
            </a:pPr>
            <a:r>
              <a:rPr lang="en-US" sz="1200" b="1" u="sng" dirty="0" smtClean="0">
                <a:solidFill>
                  <a:srgbClr val="336699"/>
                </a:solidFill>
              </a:rPr>
              <a:t>Vendor Components</a:t>
            </a:r>
            <a:endParaRPr lang="en-US" sz="1200" b="1" u="sng" dirty="0">
              <a:solidFill>
                <a:srgbClr val="336699"/>
              </a:solidFill>
            </a:endParaRPr>
          </a:p>
        </p:txBody>
      </p:sp>
      <p:sp>
        <p:nvSpPr>
          <p:cNvPr id="159" name="Text Box 52"/>
          <p:cNvSpPr txBox="1">
            <a:spLocks noChangeArrowheads="1"/>
          </p:cNvSpPr>
          <p:nvPr/>
        </p:nvSpPr>
        <p:spPr bwMode="auto">
          <a:xfrm>
            <a:off x="6269033" y="3246606"/>
            <a:ext cx="1957397" cy="276999"/>
          </a:xfrm>
          <a:prstGeom prst="rect">
            <a:avLst/>
          </a:prstGeom>
          <a:noFill/>
          <a:ln w="12700">
            <a:noFill/>
            <a:miter lim="800000"/>
            <a:headEnd type="none" w="sm" len="sm"/>
            <a:tailEnd type="none" w="sm" len="sm"/>
          </a:ln>
        </p:spPr>
        <p:txBody>
          <a:bodyPr anchor="ctr">
            <a:spAutoFit/>
          </a:bodyPr>
          <a:lstStyle/>
          <a:p>
            <a:pPr algn="ctr">
              <a:spcBef>
                <a:spcPct val="50000"/>
              </a:spcBef>
            </a:pPr>
            <a:r>
              <a:rPr lang="en-US" sz="1200" b="1" u="sng" dirty="0" smtClean="0">
                <a:solidFill>
                  <a:srgbClr val="336699"/>
                </a:solidFill>
              </a:rPr>
              <a:t>Vendor Components</a:t>
            </a:r>
            <a:endParaRPr lang="en-US" sz="1200" b="1" u="sng" dirty="0">
              <a:solidFill>
                <a:srgbClr val="336699"/>
              </a:solidFill>
            </a:endParaRPr>
          </a:p>
        </p:txBody>
      </p:sp>
      <p:sp>
        <p:nvSpPr>
          <p:cNvPr id="161" name="Text Box 51"/>
          <p:cNvSpPr txBox="1">
            <a:spLocks noChangeArrowheads="1"/>
          </p:cNvSpPr>
          <p:nvPr/>
        </p:nvSpPr>
        <p:spPr bwMode="auto">
          <a:xfrm>
            <a:off x="4360840" y="4727465"/>
            <a:ext cx="2133600" cy="461665"/>
          </a:xfrm>
          <a:prstGeom prst="rect">
            <a:avLst/>
          </a:prstGeom>
          <a:noFill/>
          <a:ln w="12700">
            <a:noFill/>
            <a:miter lim="800000"/>
            <a:headEnd type="none" w="sm" len="sm"/>
            <a:tailEnd type="none" w="sm" len="sm"/>
          </a:ln>
        </p:spPr>
        <p:txBody>
          <a:bodyPr>
            <a:spAutoFit/>
          </a:bodyPr>
          <a:lstStyle/>
          <a:p>
            <a:pPr algn="ctr"/>
            <a:r>
              <a:rPr lang="en-US" sz="1200" b="1" dirty="0" smtClean="0">
                <a:solidFill>
                  <a:srgbClr val="336699"/>
                </a:solidFill>
              </a:rPr>
              <a:t>Multi-Resolution </a:t>
            </a:r>
            <a:r>
              <a:rPr lang="en-US" sz="1200" b="1" dirty="0">
                <a:solidFill>
                  <a:srgbClr val="336699"/>
                </a:solidFill>
              </a:rPr>
              <a:t>Asset Data </a:t>
            </a:r>
            <a:r>
              <a:rPr lang="en-US" sz="1200" b="1" dirty="0" smtClean="0">
                <a:solidFill>
                  <a:srgbClr val="336699"/>
                </a:solidFill>
              </a:rPr>
              <a:t>Exchange</a:t>
            </a:r>
            <a:endParaRPr lang="en-US" sz="1200" b="1" dirty="0">
              <a:solidFill>
                <a:srgbClr val="336699"/>
              </a:solidFill>
            </a:endParaRPr>
          </a:p>
        </p:txBody>
      </p:sp>
      <p:sp>
        <p:nvSpPr>
          <p:cNvPr id="162" name="Rectangle 67"/>
          <p:cNvSpPr>
            <a:spLocks noChangeArrowheads="1"/>
          </p:cNvSpPr>
          <p:nvPr/>
        </p:nvSpPr>
        <p:spPr bwMode="auto">
          <a:xfrm>
            <a:off x="4534720" y="5188588"/>
            <a:ext cx="1785841" cy="1225252"/>
          </a:xfrm>
          <a:prstGeom prst="rect">
            <a:avLst/>
          </a:prstGeom>
          <a:solidFill>
            <a:schemeClr val="accent4">
              <a:lumMod val="50000"/>
            </a:schemeClr>
          </a:solidFill>
          <a:ln w="6350" algn="ctr">
            <a:solidFill>
              <a:srgbClr val="557799"/>
            </a:solidFill>
            <a:miter lim="800000"/>
            <a:headEnd/>
            <a:tailEnd/>
          </a:ln>
        </p:spPr>
        <p:txBody>
          <a:bodyPr anchor="ctr"/>
          <a:lstStyle/>
          <a:p>
            <a:pPr algn="ctr"/>
            <a:endParaRPr lang="en-US" sz="1200" dirty="0">
              <a:solidFill>
                <a:prstClr val="white"/>
              </a:solidFill>
            </a:endParaRPr>
          </a:p>
        </p:txBody>
      </p:sp>
      <p:cxnSp>
        <p:nvCxnSpPr>
          <p:cNvPr id="164" name="Straight Arrow Connector 163"/>
          <p:cNvCxnSpPr/>
          <p:nvPr/>
        </p:nvCxnSpPr>
        <p:spPr>
          <a:xfrm>
            <a:off x="3737615" y="5441186"/>
            <a:ext cx="768161" cy="0"/>
          </a:xfrm>
          <a:prstGeom prst="straightConnector1">
            <a:avLst/>
          </a:prstGeom>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65" name="Straight Arrow Connector 164"/>
          <p:cNvCxnSpPr/>
          <p:nvPr/>
        </p:nvCxnSpPr>
        <p:spPr>
          <a:xfrm>
            <a:off x="6346209" y="5441186"/>
            <a:ext cx="768161" cy="0"/>
          </a:xfrm>
          <a:prstGeom prst="straightConnector1">
            <a:avLst/>
          </a:prstGeom>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6346210" y="6102523"/>
            <a:ext cx="768161" cy="0"/>
          </a:xfrm>
          <a:prstGeom prst="straightConnector1">
            <a:avLst/>
          </a:prstGeom>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p:nvPr/>
        </p:nvCxnSpPr>
        <p:spPr>
          <a:xfrm flipH="1">
            <a:off x="3737616" y="6102523"/>
            <a:ext cx="768161" cy="0"/>
          </a:xfrm>
          <a:prstGeom prst="straightConnector1">
            <a:avLst/>
          </a:prstGeom>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74" name="Rectangle 173"/>
          <p:cNvSpPr/>
          <p:nvPr/>
        </p:nvSpPr>
        <p:spPr>
          <a:xfrm>
            <a:off x="1292106" y="5035540"/>
            <a:ext cx="2451906" cy="142725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cxnSp>
        <p:nvCxnSpPr>
          <p:cNvPr id="179" name="Straight Connector 178"/>
          <p:cNvCxnSpPr/>
          <p:nvPr/>
        </p:nvCxnSpPr>
        <p:spPr>
          <a:xfrm>
            <a:off x="6043407" y="2352338"/>
            <a:ext cx="0" cy="728501"/>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82" name="Rectangle 181"/>
          <p:cNvSpPr>
            <a:spLocks noChangeArrowheads="1"/>
          </p:cNvSpPr>
          <p:nvPr/>
        </p:nvSpPr>
        <p:spPr bwMode="auto">
          <a:xfrm>
            <a:off x="7255515" y="5119174"/>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1050" b="1" dirty="0" smtClean="0">
                <a:solidFill>
                  <a:prstClr val="white"/>
                </a:solidFill>
              </a:rPr>
              <a:t>GIS</a:t>
            </a:r>
            <a:endParaRPr lang="en-US" sz="1050" b="1" dirty="0">
              <a:solidFill>
                <a:prstClr val="white"/>
              </a:solidFill>
            </a:endParaRPr>
          </a:p>
        </p:txBody>
      </p:sp>
      <p:sp>
        <p:nvSpPr>
          <p:cNvPr id="183" name="Rectangle 182"/>
          <p:cNvSpPr>
            <a:spLocks noChangeArrowheads="1"/>
          </p:cNvSpPr>
          <p:nvPr/>
        </p:nvSpPr>
        <p:spPr bwMode="auto">
          <a:xfrm>
            <a:off x="7255515" y="5336160"/>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950" b="1" dirty="0" smtClean="0">
                <a:solidFill>
                  <a:prstClr val="white"/>
                </a:solidFill>
              </a:rPr>
              <a:t>Raster Imagery</a:t>
            </a:r>
            <a:endParaRPr lang="en-US" sz="950" b="1" dirty="0">
              <a:solidFill>
                <a:prstClr val="white"/>
              </a:solidFill>
            </a:endParaRPr>
          </a:p>
        </p:txBody>
      </p:sp>
      <p:sp>
        <p:nvSpPr>
          <p:cNvPr id="184" name="Rectangle 183"/>
          <p:cNvSpPr>
            <a:spLocks noChangeArrowheads="1"/>
          </p:cNvSpPr>
          <p:nvPr/>
        </p:nvSpPr>
        <p:spPr bwMode="auto">
          <a:xfrm>
            <a:off x="7255515" y="5553146"/>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1050" b="1" dirty="0" smtClean="0">
                <a:solidFill>
                  <a:prstClr val="white"/>
                </a:solidFill>
              </a:rPr>
              <a:t>Photos</a:t>
            </a:r>
            <a:endParaRPr lang="en-US" sz="1050" b="1" dirty="0">
              <a:solidFill>
                <a:prstClr val="white"/>
              </a:solidFill>
            </a:endParaRPr>
          </a:p>
        </p:txBody>
      </p:sp>
      <p:sp>
        <p:nvSpPr>
          <p:cNvPr id="185" name="Rectangle 184"/>
          <p:cNvSpPr>
            <a:spLocks noChangeArrowheads="1"/>
          </p:cNvSpPr>
          <p:nvPr/>
        </p:nvSpPr>
        <p:spPr bwMode="auto">
          <a:xfrm>
            <a:off x="7255515" y="5770132"/>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1050" b="1" dirty="0" smtClean="0">
                <a:solidFill>
                  <a:prstClr val="white"/>
                </a:solidFill>
              </a:rPr>
              <a:t>Audio/Video</a:t>
            </a:r>
            <a:endParaRPr lang="en-US" sz="1050" b="1" dirty="0">
              <a:solidFill>
                <a:prstClr val="white"/>
              </a:solidFill>
            </a:endParaRPr>
          </a:p>
        </p:txBody>
      </p:sp>
      <p:sp>
        <p:nvSpPr>
          <p:cNvPr id="186" name="Rectangle 185"/>
          <p:cNvSpPr>
            <a:spLocks noChangeArrowheads="1"/>
          </p:cNvSpPr>
          <p:nvPr/>
        </p:nvSpPr>
        <p:spPr bwMode="auto">
          <a:xfrm>
            <a:off x="7255515" y="5987118"/>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1050" b="1" dirty="0" smtClean="0">
                <a:solidFill>
                  <a:prstClr val="white"/>
                </a:solidFill>
              </a:rPr>
              <a:t>Documents</a:t>
            </a:r>
            <a:endParaRPr lang="en-US" sz="1050" b="1" dirty="0">
              <a:solidFill>
                <a:prstClr val="white"/>
              </a:solidFill>
            </a:endParaRPr>
          </a:p>
        </p:txBody>
      </p:sp>
      <p:sp>
        <p:nvSpPr>
          <p:cNvPr id="187" name="Rectangle 186"/>
          <p:cNvSpPr>
            <a:spLocks noChangeArrowheads="1"/>
          </p:cNvSpPr>
          <p:nvPr/>
        </p:nvSpPr>
        <p:spPr bwMode="auto">
          <a:xfrm>
            <a:off x="7255515" y="6204124"/>
            <a:ext cx="1087438" cy="182562"/>
          </a:xfrm>
          <a:prstGeom prst="rect">
            <a:avLst/>
          </a:prstGeom>
          <a:solidFill>
            <a:srgbClr val="7F0000"/>
          </a:solidFill>
          <a:ln w="6350" algn="ctr">
            <a:solidFill>
              <a:srgbClr val="557799"/>
            </a:solidFill>
            <a:prstDash val="solid"/>
            <a:miter lim="800000"/>
            <a:headEnd/>
            <a:tailEnd/>
          </a:ln>
        </p:spPr>
        <p:txBody>
          <a:bodyPr anchor="ctr">
            <a:noAutofit/>
          </a:bodyPr>
          <a:lstStyle/>
          <a:p>
            <a:pPr algn="ctr">
              <a:defRPr/>
            </a:pPr>
            <a:r>
              <a:rPr lang="en-US" sz="1050" b="1" dirty="0" smtClean="0">
                <a:solidFill>
                  <a:prstClr val="white"/>
                </a:solidFill>
              </a:rPr>
              <a:t>Emails</a:t>
            </a:r>
            <a:endParaRPr lang="en-US" sz="1050" b="1" dirty="0">
              <a:solidFill>
                <a:prstClr val="white"/>
              </a:solidFill>
            </a:endParaRPr>
          </a:p>
        </p:txBody>
      </p:sp>
      <p:sp>
        <p:nvSpPr>
          <p:cNvPr id="194" name="Rectangle 193"/>
          <p:cNvSpPr/>
          <p:nvPr/>
        </p:nvSpPr>
        <p:spPr>
          <a:xfrm>
            <a:off x="7139794" y="5035540"/>
            <a:ext cx="1332977" cy="142725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prstClr val="white"/>
              </a:solidFill>
            </a:endParaRPr>
          </a:p>
        </p:txBody>
      </p:sp>
      <p:pic>
        <p:nvPicPr>
          <p:cNvPr id="195"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7056" y="2553367"/>
            <a:ext cx="769777" cy="530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575123" y="2553367"/>
            <a:ext cx="792842" cy="530522"/>
          </a:xfrm>
          <a:prstGeom prst="rect">
            <a:avLst/>
          </a:prstGeom>
        </p:spPr>
      </p:pic>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516843" y="2547108"/>
            <a:ext cx="958624" cy="530352"/>
          </a:xfrm>
          <a:prstGeom prst="rect">
            <a:avLst/>
          </a:prstGeom>
        </p:spPr>
      </p:pic>
      <p:sp>
        <p:nvSpPr>
          <p:cNvPr id="9" name="TextBox 8"/>
          <p:cNvSpPr txBox="1"/>
          <p:nvPr/>
        </p:nvSpPr>
        <p:spPr>
          <a:xfrm>
            <a:off x="6018665" y="3478189"/>
            <a:ext cx="2324290" cy="1015663"/>
          </a:xfrm>
          <a:prstGeom prst="rect">
            <a:avLst/>
          </a:prstGeom>
          <a:noFill/>
        </p:spPr>
        <p:txBody>
          <a:bodyPr wrap="square" rtlCol="0">
            <a:spAutoFit/>
          </a:bodyPr>
          <a:lstStyle/>
          <a:p>
            <a:pPr marL="517525" indent="-285750">
              <a:buFont typeface="Arial" pitchFamily="34" charset="0"/>
              <a:buChar char="•"/>
            </a:pPr>
            <a:r>
              <a:rPr lang="en-US" sz="1000" dirty="0" smtClean="0">
                <a:solidFill>
                  <a:prstClr val="black"/>
                </a:solidFill>
              </a:rPr>
              <a:t>STI STAS</a:t>
            </a:r>
            <a:endParaRPr lang="en-US" sz="1000" dirty="0">
              <a:solidFill>
                <a:prstClr val="black"/>
              </a:solidFill>
            </a:endParaRPr>
          </a:p>
          <a:p>
            <a:pPr marL="517525" indent="-285750">
              <a:buFont typeface="Arial" pitchFamily="34" charset="0"/>
              <a:buChar char="•"/>
            </a:pPr>
            <a:r>
              <a:rPr lang="en-US" sz="1000" dirty="0" smtClean="0">
                <a:solidFill>
                  <a:prstClr val="black"/>
                </a:solidFill>
              </a:rPr>
              <a:t>Business Intelligence tools</a:t>
            </a:r>
          </a:p>
          <a:p>
            <a:pPr marL="517525" indent="-285750">
              <a:buFont typeface="Arial" pitchFamily="34" charset="0"/>
              <a:buChar char="•"/>
            </a:pPr>
            <a:r>
              <a:rPr lang="en-US" sz="1000" dirty="0" smtClean="0">
                <a:solidFill>
                  <a:prstClr val="black"/>
                </a:solidFill>
              </a:rPr>
              <a:t>Client’s existing EAM platform</a:t>
            </a:r>
          </a:p>
          <a:p>
            <a:pPr marL="517525" indent="-285750">
              <a:buFont typeface="Arial" pitchFamily="34" charset="0"/>
              <a:buChar char="•"/>
            </a:pPr>
            <a:r>
              <a:rPr lang="en-US" sz="1000" dirty="0" smtClean="0">
                <a:solidFill>
                  <a:prstClr val="black"/>
                </a:solidFill>
              </a:rPr>
              <a:t>Additional Asset Analytics Server/</a:t>
            </a:r>
            <a:r>
              <a:rPr lang="en-US" sz="1000" dirty="0" err="1" smtClean="0">
                <a:solidFill>
                  <a:prstClr val="black"/>
                </a:solidFill>
              </a:rPr>
              <a:t>Datamart</a:t>
            </a:r>
            <a:r>
              <a:rPr lang="en-US" sz="1000" dirty="0" smtClean="0">
                <a:solidFill>
                  <a:prstClr val="black"/>
                </a:solidFill>
              </a:rPr>
              <a:t> providers </a:t>
            </a:r>
            <a:endParaRPr lang="en-US" sz="1000" dirty="0">
              <a:solidFill>
                <a:prstClr val="black"/>
              </a:solidFill>
            </a:endParaRPr>
          </a:p>
        </p:txBody>
      </p:sp>
      <p:sp>
        <p:nvSpPr>
          <p:cNvPr id="67" name="TextBox 66"/>
          <p:cNvSpPr txBox="1"/>
          <p:nvPr/>
        </p:nvSpPr>
        <p:spPr>
          <a:xfrm>
            <a:off x="6018664" y="2480571"/>
            <a:ext cx="2324290" cy="400110"/>
          </a:xfrm>
          <a:prstGeom prst="rect">
            <a:avLst/>
          </a:prstGeom>
          <a:noFill/>
        </p:spPr>
        <p:txBody>
          <a:bodyPr wrap="square" rtlCol="0">
            <a:spAutoFit/>
          </a:bodyPr>
          <a:lstStyle/>
          <a:p>
            <a:pPr marL="517525" indent="-285750">
              <a:buFont typeface="Arial" pitchFamily="34" charset="0"/>
              <a:buChar char="•"/>
            </a:pPr>
            <a:r>
              <a:rPr lang="en-US" sz="1000" dirty="0" smtClean="0">
                <a:solidFill>
                  <a:prstClr val="black"/>
                </a:solidFill>
              </a:rPr>
              <a:t>STI STAS Viewer within Browser (Internet Explorer)</a:t>
            </a:r>
          </a:p>
        </p:txBody>
      </p:sp>
      <p:sp>
        <p:nvSpPr>
          <p:cNvPr id="56" name="Flowchart: Magnetic Disk 55"/>
          <p:cNvSpPr/>
          <p:nvPr/>
        </p:nvSpPr>
        <p:spPr>
          <a:xfrm>
            <a:off x="3971699" y="4043305"/>
            <a:ext cx="788207" cy="556002"/>
          </a:xfrm>
          <a:prstGeom prst="flowChartMagneticDisk">
            <a:avLst/>
          </a:prstGeom>
          <a:solidFill>
            <a:schemeClr val="tx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prstClr val="white"/>
                </a:solidFill>
              </a:rPr>
              <a:t>BI/BW</a:t>
            </a:r>
            <a:endParaRPr lang="en-US" sz="1000" dirty="0">
              <a:solidFill>
                <a:prstClr val="white"/>
              </a:solidFill>
            </a:endParaRPr>
          </a:p>
        </p:txBody>
      </p:sp>
      <p:sp>
        <p:nvSpPr>
          <p:cNvPr id="58" name="Flowchart: Magnetic Disk 57"/>
          <p:cNvSpPr/>
          <p:nvPr/>
        </p:nvSpPr>
        <p:spPr>
          <a:xfrm>
            <a:off x="1643162" y="4043305"/>
            <a:ext cx="788207" cy="556002"/>
          </a:xfrm>
          <a:prstGeom prst="flowChartMagneticDisk">
            <a:avLst/>
          </a:prstGeom>
          <a:solidFill>
            <a:schemeClr val="tx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prstClr val="white"/>
                </a:solidFill>
              </a:rPr>
              <a:t>EAM</a:t>
            </a:r>
            <a:endParaRPr lang="en-US" sz="1000" dirty="0">
              <a:solidFill>
                <a:prstClr val="white"/>
              </a:solidFill>
            </a:endParaRPr>
          </a:p>
        </p:txBody>
      </p:sp>
      <p:sp>
        <p:nvSpPr>
          <p:cNvPr id="11" name="Trapezoid 10"/>
          <p:cNvSpPr/>
          <p:nvPr/>
        </p:nvSpPr>
        <p:spPr>
          <a:xfrm>
            <a:off x="2747503" y="3659039"/>
            <a:ext cx="908062" cy="586780"/>
          </a:xfrm>
          <a:prstGeom prst="trapezoid">
            <a:avLst/>
          </a:prstGeom>
          <a:solidFill>
            <a:schemeClr val="tx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prstClr val="white"/>
                </a:solidFill>
              </a:rPr>
              <a:t>Asset Analytics </a:t>
            </a:r>
            <a:r>
              <a:rPr lang="en-US" sz="1000" dirty="0" err="1" smtClean="0">
                <a:solidFill>
                  <a:prstClr val="white"/>
                </a:solidFill>
              </a:rPr>
              <a:t>Datamart</a:t>
            </a:r>
            <a:endParaRPr lang="en-US" sz="1000" dirty="0">
              <a:solidFill>
                <a:prstClr val="white"/>
              </a:solidFill>
            </a:endParaRPr>
          </a:p>
        </p:txBody>
      </p:sp>
      <p:sp>
        <p:nvSpPr>
          <p:cNvPr id="13" name="Rounded Rectangle 12"/>
          <p:cNvSpPr/>
          <p:nvPr/>
        </p:nvSpPr>
        <p:spPr>
          <a:xfrm>
            <a:off x="1509836" y="3342534"/>
            <a:ext cx="1054859" cy="465193"/>
          </a:xfrm>
          <a:prstGeom prst="roundRect">
            <a:avLst/>
          </a:prstGeom>
          <a:solidFill>
            <a:srgbClr val="359B4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prstClr val="white"/>
                </a:solidFill>
              </a:rPr>
              <a:t>Asset Analytics Server</a:t>
            </a:r>
            <a:endParaRPr lang="en-US" sz="1000" dirty="0">
              <a:solidFill>
                <a:prstClr val="white"/>
              </a:solidFill>
            </a:endParaRPr>
          </a:p>
        </p:txBody>
      </p:sp>
      <p:sp>
        <p:nvSpPr>
          <p:cNvPr id="60" name="Rounded Rectangle 59"/>
          <p:cNvSpPr/>
          <p:nvPr/>
        </p:nvSpPr>
        <p:spPr>
          <a:xfrm>
            <a:off x="3838373" y="3331952"/>
            <a:ext cx="1054859" cy="465193"/>
          </a:xfrm>
          <a:prstGeom prst="roundRect">
            <a:avLst/>
          </a:prstGeom>
          <a:solidFill>
            <a:srgbClr val="359B4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prstClr val="white"/>
                </a:solidFill>
              </a:rPr>
              <a:t>BI/BW Server</a:t>
            </a:r>
            <a:endParaRPr lang="en-US" sz="1000" dirty="0">
              <a:solidFill>
                <a:prstClr val="white"/>
              </a:solidFill>
            </a:endParaRPr>
          </a:p>
        </p:txBody>
      </p:sp>
      <p:cxnSp>
        <p:nvCxnSpPr>
          <p:cNvPr id="15" name="Straight Arrow Connector 14"/>
          <p:cNvCxnSpPr>
            <a:stCxn id="58" idx="4"/>
          </p:cNvCxnSpPr>
          <p:nvPr/>
        </p:nvCxnSpPr>
        <p:spPr>
          <a:xfrm flipV="1">
            <a:off x="2431369" y="4245819"/>
            <a:ext cx="310750" cy="7548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56" idx="2"/>
          </p:cNvCxnSpPr>
          <p:nvPr/>
        </p:nvCxnSpPr>
        <p:spPr>
          <a:xfrm flipH="1" flipV="1">
            <a:off x="3655919" y="4245819"/>
            <a:ext cx="315780" cy="7548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11" idx="0"/>
            <a:endCxn id="60" idx="1"/>
          </p:cNvCxnSpPr>
          <p:nvPr/>
        </p:nvCxnSpPr>
        <p:spPr>
          <a:xfrm flipV="1">
            <a:off x="3201534" y="3564549"/>
            <a:ext cx="636839" cy="9449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endCxn id="13" idx="3"/>
          </p:cNvCxnSpPr>
          <p:nvPr/>
        </p:nvCxnSpPr>
        <p:spPr>
          <a:xfrm flipH="1" flipV="1">
            <a:off x="2564695" y="3575131"/>
            <a:ext cx="636839" cy="8390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2" name="Content Placeholder 3"/>
          <p:cNvSpPr>
            <a:spLocks noGrp="1"/>
          </p:cNvSpPr>
          <p:nvPr/>
        </p:nvSpPr>
        <p:spPr>
          <a:xfrm>
            <a:off x="468780" y="1203793"/>
            <a:ext cx="8456145" cy="775132"/>
          </a:xfrm>
          <a:prstGeom prst="rect">
            <a:avLst/>
          </a:prstGeom>
        </p:spPr>
        <p:txBody>
          <a:bodyPr vert="horz" wrap="square" lIns="91440" tIns="45720" rIns="91440" bIns="45720" rtlCol="0" anchor="t" anchorCtr="0">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Clr>
                <a:prstClr val="black"/>
              </a:buClr>
              <a:buFont typeface="Arial" pitchFamily="34" charset="0"/>
              <a:buNone/>
            </a:pPr>
            <a:r>
              <a:rPr lang="en-US" sz="1400" dirty="0" smtClean="0">
                <a:solidFill>
                  <a:srgbClr val="0033CC"/>
                </a:solidFill>
                <a:latin typeface="Arial"/>
              </a:rPr>
              <a:t>Accenture’s Advanced Asset Analytics brings together detailed High Performance Utility Model processes and comprehensive analytics to deliver a four-tier solution that includes a Front End/Rich Internet Application, an Advanced Data Delivery Environment, and a cascading framework for data rationalization of both structured and unstructured asset data sources.</a:t>
            </a:r>
            <a:endParaRPr lang="en-US" sz="1400" dirty="0">
              <a:solidFill>
                <a:srgbClr val="0033CC"/>
              </a:solidFill>
              <a:latin typeface="Arial"/>
            </a:endParaRPr>
          </a:p>
        </p:txBody>
      </p:sp>
      <p:pic>
        <p:nvPicPr>
          <p:cNvPr id="5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96251" y="5128699"/>
            <a:ext cx="2017546" cy="1305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9" name="Slide Number Placeholder 4"/>
          <p:cNvSpPr>
            <a:spLocks noGrp="1"/>
          </p:cNvSpPr>
          <p:nvPr>
            <p:ph type="sldNum" sz="quarter" idx="12"/>
          </p:nvPr>
        </p:nvSpPr>
        <p:spPr>
          <a:xfrm>
            <a:off x="8257032" y="6501384"/>
            <a:ext cx="536575" cy="246062"/>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defRPr sz="1200" i="1">
                <a:solidFill>
                  <a:schemeClr val="tx1"/>
                </a:solidFill>
                <a:latin typeface="Arial" pitchFamily="34" charset="0"/>
                <a:ea typeface="MS PGothic" pitchFamily="34" charset="-128"/>
              </a:defRPr>
            </a:lvl1pPr>
            <a:lvl2pPr marL="742950" indent="-285750" eaLnBrk="0" hangingPunct="0">
              <a:defRPr sz="1200" i="1">
                <a:solidFill>
                  <a:schemeClr val="tx1"/>
                </a:solidFill>
                <a:latin typeface="Arial" pitchFamily="34" charset="0"/>
                <a:ea typeface="MS PGothic" pitchFamily="34" charset="-128"/>
              </a:defRPr>
            </a:lvl2pPr>
            <a:lvl3pPr marL="1143000" indent="-228600" eaLnBrk="0" hangingPunct="0">
              <a:defRPr sz="1200" i="1">
                <a:solidFill>
                  <a:schemeClr val="tx1"/>
                </a:solidFill>
                <a:latin typeface="Arial" pitchFamily="34" charset="0"/>
                <a:ea typeface="MS PGothic" pitchFamily="34" charset="-128"/>
              </a:defRPr>
            </a:lvl3pPr>
            <a:lvl4pPr marL="1600200" indent="-228600" eaLnBrk="0" hangingPunct="0">
              <a:defRPr sz="1200" i="1">
                <a:solidFill>
                  <a:schemeClr val="tx1"/>
                </a:solidFill>
                <a:latin typeface="Arial" pitchFamily="34" charset="0"/>
                <a:ea typeface="MS PGothic" pitchFamily="34" charset="-128"/>
              </a:defRPr>
            </a:lvl4pPr>
            <a:lvl5pPr marL="2057400" indent="-228600" eaLnBrk="0" hangingPunct="0">
              <a:defRPr sz="12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2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2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2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200" i="1">
                <a:solidFill>
                  <a:schemeClr val="tx1"/>
                </a:solidFill>
                <a:latin typeface="Arial" pitchFamily="34" charset="0"/>
                <a:ea typeface="MS PGothic" pitchFamily="34" charset="-128"/>
              </a:defRPr>
            </a:lvl9pPr>
          </a:lstStyle>
          <a:p>
            <a:fld id="{5AEC5AE5-2498-47CD-AE7E-DF183F9A30BE}" type="slidenum">
              <a:rPr lang="en-US" sz="900" i="0" smtClean="0">
                <a:solidFill>
                  <a:prstClr val="black"/>
                </a:solidFill>
              </a:rPr>
              <a:pPr/>
              <a:t>28</a:t>
            </a:fld>
            <a:r>
              <a:rPr lang="en-US" sz="900" i="0" dirty="0" smtClean="0">
                <a:solidFill>
                  <a:prstClr val="black"/>
                </a:solidFill>
              </a:rPr>
              <a:t/>
            </a:r>
            <a:br>
              <a:rPr lang="en-US" sz="900" i="0" dirty="0" smtClean="0">
                <a:solidFill>
                  <a:prstClr val="black"/>
                </a:solidFill>
              </a:rPr>
            </a:br>
            <a:endParaRPr lang="en-US" sz="900" i="0" dirty="0" smtClean="0">
              <a:solidFill>
                <a:prstClr val="black"/>
              </a:solidFill>
            </a:endParaRPr>
          </a:p>
        </p:txBody>
      </p:sp>
    </p:spTree>
    <p:extLst>
      <p:ext uri="{BB962C8B-B14F-4D97-AF65-F5344CB8AC3E}">
        <p14:creationId xmlns:p14="http://schemas.microsoft.com/office/powerpoint/2010/main" val="34361309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sset Analysis  / Age Forecasting – Screen Shots</a:t>
            </a:r>
            <a:endParaRPr lang="en-US" dirty="0"/>
          </a:p>
        </p:txBody>
      </p:sp>
      <p:pic>
        <p:nvPicPr>
          <p:cNvPr id="4" name="Picture 3" descr="8. Dx_Tx_Stations_DetailedInfo.png"/>
          <p:cNvPicPr>
            <a:picLocks noChangeAspect="1"/>
          </p:cNvPicPr>
          <p:nvPr/>
        </p:nvPicPr>
        <p:blipFill rotWithShape="1">
          <a:blip r:embed="rId2" cstate="print"/>
          <a:srcRect r="1112"/>
          <a:stretch/>
        </p:blipFill>
        <p:spPr>
          <a:xfrm>
            <a:off x="332546" y="1078173"/>
            <a:ext cx="5891242" cy="2942215"/>
          </a:xfrm>
          <a:prstGeom prst="rect">
            <a:avLst/>
          </a:prstGeom>
          <a:ln>
            <a:solidFill>
              <a:srgbClr val="999977"/>
            </a:solidFill>
          </a:ln>
          <a:effectLst>
            <a:outerShdw blurRad="50800" dist="38100" dir="2700000">
              <a:srgbClr val="000000">
                <a:alpha val="43000"/>
              </a:srgbClr>
            </a:outerShdw>
          </a:effectLst>
        </p:spPr>
      </p:pic>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1559" y="2837369"/>
            <a:ext cx="3940564" cy="31524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descr="image003"/>
          <p:cNvPicPr>
            <a:picLocks noChangeAspect="1" noChangeArrowheads="1"/>
          </p:cNvPicPr>
          <p:nvPr/>
        </p:nvPicPr>
        <p:blipFill rotWithShape="1">
          <a:blip r:embed="rId4" cstate="print"/>
          <a:srcRect l="2264" b="14792"/>
          <a:stretch/>
        </p:blipFill>
        <p:spPr bwMode="auto">
          <a:xfrm>
            <a:off x="204717" y="3547052"/>
            <a:ext cx="4926842" cy="2862029"/>
          </a:xfrm>
          <a:prstGeom prst="rect">
            <a:avLst/>
          </a:prstGeom>
          <a:noFill/>
          <a:ln w="9525">
            <a:noFill/>
            <a:miter lim="800000"/>
            <a:headEnd/>
            <a:tailEnd/>
          </a:ln>
        </p:spPr>
      </p:pic>
      <p:sp>
        <p:nvSpPr>
          <p:cNvPr id="7" name="Slide Number Placeholder 4"/>
          <p:cNvSpPr>
            <a:spLocks noGrp="1"/>
          </p:cNvSpPr>
          <p:nvPr>
            <p:ph type="sldNum" sz="quarter" idx="12"/>
          </p:nvPr>
        </p:nvSpPr>
        <p:spPr>
          <a:xfrm>
            <a:off x="8257032" y="6501384"/>
            <a:ext cx="536575" cy="246062"/>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defRPr sz="1200" i="1">
                <a:solidFill>
                  <a:schemeClr val="tx1"/>
                </a:solidFill>
                <a:latin typeface="Arial" pitchFamily="34" charset="0"/>
                <a:ea typeface="MS PGothic" pitchFamily="34" charset="-128"/>
              </a:defRPr>
            </a:lvl1pPr>
            <a:lvl2pPr marL="742950" indent="-285750" eaLnBrk="0" hangingPunct="0">
              <a:defRPr sz="1200" i="1">
                <a:solidFill>
                  <a:schemeClr val="tx1"/>
                </a:solidFill>
                <a:latin typeface="Arial" pitchFamily="34" charset="0"/>
                <a:ea typeface="MS PGothic" pitchFamily="34" charset="-128"/>
              </a:defRPr>
            </a:lvl2pPr>
            <a:lvl3pPr marL="1143000" indent="-228600" eaLnBrk="0" hangingPunct="0">
              <a:defRPr sz="1200" i="1">
                <a:solidFill>
                  <a:schemeClr val="tx1"/>
                </a:solidFill>
                <a:latin typeface="Arial" pitchFamily="34" charset="0"/>
                <a:ea typeface="MS PGothic" pitchFamily="34" charset="-128"/>
              </a:defRPr>
            </a:lvl3pPr>
            <a:lvl4pPr marL="1600200" indent="-228600" eaLnBrk="0" hangingPunct="0">
              <a:defRPr sz="1200" i="1">
                <a:solidFill>
                  <a:schemeClr val="tx1"/>
                </a:solidFill>
                <a:latin typeface="Arial" pitchFamily="34" charset="0"/>
                <a:ea typeface="MS PGothic" pitchFamily="34" charset="-128"/>
              </a:defRPr>
            </a:lvl4pPr>
            <a:lvl5pPr marL="2057400" indent="-228600" eaLnBrk="0" hangingPunct="0">
              <a:defRPr sz="12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2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2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2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200" i="1">
                <a:solidFill>
                  <a:schemeClr val="tx1"/>
                </a:solidFill>
                <a:latin typeface="Arial" pitchFamily="34" charset="0"/>
                <a:ea typeface="MS PGothic" pitchFamily="34" charset="-128"/>
              </a:defRPr>
            </a:lvl9pPr>
          </a:lstStyle>
          <a:p>
            <a:fld id="{5AEC5AE5-2498-47CD-AE7E-DF183F9A30BE}" type="slidenum">
              <a:rPr lang="en-US" sz="900" i="0" smtClean="0">
                <a:solidFill>
                  <a:prstClr val="black"/>
                </a:solidFill>
              </a:rPr>
              <a:pPr/>
              <a:t>29</a:t>
            </a:fld>
            <a:r>
              <a:rPr lang="en-US" sz="900" i="0" dirty="0" smtClean="0">
                <a:solidFill>
                  <a:prstClr val="black"/>
                </a:solidFill>
              </a:rPr>
              <a:t/>
            </a:r>
            <a:br>
              <a:rPr lang="en-US" sz="900" i="0" dirty="0" smtClean="0">
                <a:solidFill>
                  <a:prstClr val="black"/>
                </a:solidFill>
              </a:rPr>
            </a:br>
            <a:endParaRPr lang="en-US" sz="900" i="0" dirty="0" smtClean="0">
              <a:solidFill>
                <a:prstClr val="black"/>
              </a:solidFill>
            </a:endParaRPr>
          </a:p>
        </p:txBody>
      </p:sp>
    </p:spTree>
    <p:extLst>
      <p:ext uri="{BB962C8B-B14F-4D97-AF65-F5344CB8AC3E}">
        <p14:creationId xmlns:p14="http://schemas.microsoft.com/office/powerpoint/2010/main" val="109393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en-AU" dirty="0" err="1" smtClean="0"/>
              <a:t>Esquema</a:t>
            </a:r>
            <a:r>
              <a:rPr lang="en-AU" dirty="0" smtClean="0"/>
              <a:t> General</a:t>
            </a:r>
            <a:endParaRPr lang="en-AU" dirty="0"/>
          </a:p>
        </p:txBody>
      </p:sp>
      <p:sp>
        <p:nvSpPr>
          <p:cNvPr id="40" name="Slide Number Placeholder 39"/>
          <p:cNvSpPr>
            <a:spLocks noGrp="1"/>
          </p:cNvSpPr>
          <p:nvPr>
            <p:ph type="sldNum" sz="quarter" idx="4"/>
          </p:nvPr>
        </p:nvSpPr>
        <p:spPr/>
        <p:txBody>
          <a:bodyPr/>
          <a:lstStyle/>
          <a:p>
            <a:pPr>
              <a:defRPr/>
            </a:pPr>
            <a:fld id="{90CBDC3A-D49F-4631-A8C7-55D59B33E5FA}" type="slidenum">
              <a:rPr lang="en-US" smtClean="0"/>
              <a:pPr>
                <a:defRPr/>
              </a:pPr>
              <a:t>3</a:t>
            </a:fld>
            <a:endParaRPr lang="en-US" dirty="0"/>
          </a:p>
        </p:txBody>
      </p:sp>
      <p:sp>
        <p:nvSpPr>
          <p:cNvPr id="10" name="Rectangle 5"/>
          <p:cNvSpPr>
            <a:spLocks noChangeArrowheads="1"/>
          </p:cNvSpPr>
          <p:nvPr>
            <p:custDataLst>
              <p:tags r:id="rId1"/>
            </p:custDataLst>
          </p:nvPr>
        </p:nvSpPr>
        <p:spPr bwMode="auto">
          <a:xfrm>
            <a:off x="2821546" y="1420009"/>
            <a:ext cx="6083930" cy="5038363"/>
          </a:xfrm>
          <a:prstGeom prst="rect">
            <a:avLst/>
          </a:prstGeom>
          <a:solidFill>
            <a:srgbClr val="003344"/>
          </a:solidFill>
          <a:ln w="12700">
            <a:noFill/>
            <a:miter lim="800000"/>
            <a:headEnd/>
            <a:tailEnd/>
          </a:ln>
        </p:spPr>
        <p:txBody>
          <a:bodyPr wrap="none" lIns="90488" tIns="44450" rIns="90488" bIns="44450"/>
          <a:lstStyle/>
          <a:p>
            <a:endParaRPr lang="en-US" sz="1400" b="1" dirty="0">
              <a:solidFill>
                <a:schemeClr val="bg1"/>
              </a:solidFill>
            </a:endParaRPr>
          </a:p>
        </p:txBody>
      </p:sp>
      <p:pic>
        <p:nvPicPr>
          <p:cNvPr id="30" name="Picture 5"/>
          <p:cNvPicPr>
            <a:picLocks noChangeAspect="1" noChangeArrowheads="1"/>
          </p:cNvPicPr>
          <p:nvPr/>
        </p:nvPicPr>
        <p:blipFill>
          <a:blip r:embed="rId3" cstate="print"/>
          <a:srcRect/>
          <a:stretch>
            <a:fillRect/>
          </a:stretch>
        </p:blipFill>
        <p:spPr bwMode="auto">
          <a:xfrm>
            <a:off x="2935148" y="1549407"/>
            <a:ext cx="5851698" cy="4796850"/>
          </a:xfrm>
          <a:prstGeom prst="rect">
            <a:avLst/>
          </a:prstGeom>
          <a:noFill/>
          <a:ln w="9525">
            <a:noFill/>
            <a:miter lim="800000"/>
            <a:headEnd/>
            <a:tailEnd/>
          </a:ln>
        </p:spPr>
      </p:pic>
      <p:sp>
        <p:nvSpPr>
          <p:cNvPr id="31" name="TextBox 30"/>
          <p:cNvSpPr txBox="1"/>
          <p:nvPr/>
        </p:nvSpPr>
        <p:spPr>
          <a:xfrm>
            <a:off x="4850780" y="1822435"/>
            <a:ext cx="1010216" cy="794164"/>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txBody>
          <a:bodyPr wrap="square" lIns="72000" rIns="36000" rtlCol="0" anchor="ctr">
            <a:noAutofit/>
          </a:bodyPr>
          <a:lstStyle/>
          <a:p>
            <a:pPr algn="ctr"/>
            <a:r>
              <a:rPr lang="es-ES" sz="1200" dirty="0" smtClean="0"/>
              <a:t>Subestación de Transporte </a:t>
            </a:r>
          </a:p>
        </p:txBody>
      </p:sp>
      <p:sp>
        <p:nvSpPr>
          <p:cNvPr id="32" name="TextBox 31"/>
          <p:cNvSpPr txBox="1"/>
          <p:nvPr/>
        </p:nvSpPr>
        <p:spPr>
          <a:xfrm>
            <a:off x="4708383" y="5672847"/>
            <a:ext cx="1152611" cy="520041"/>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txBody>
          <a:bodyPr wrap="square" lIns="36000" rIns="36000" rtlCol="0" anchor="ctr">
            <a:noAutofit/>
          </a:bodyPr>
          <a:lstStyle/>
          <a:p>
            <a:pPr algn="ctr"/>
            <a:r>
              <a:rPr lang="es-ES" sz="1200" dirty="0" smtClean="0"/>
              <a:t>Subestación de Distribución</a:t>
            </a:r>
            <a:endParaRPr lang="en-US" sz="1200" dirty="0" smtClean="0"/>
          </a:p>
        </p:txBody>
      </p:sp>
      <p:sp>
        <p:nvSpPr>
          <p:cNvPr id="33" name="TextBox 32"/>
          <p:cNvSpPr txBox="1"/>
          <p:nvPr/>
        </p:nvSpPr>
        <p:spPr>
          <a:xfrm>
            <a:off x="3034354" y="1617904"/>
            <a:ext cx="1207635" cy="409062"/>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txBody>
          <a:bodyPr wrap="square" lIns="36000" rIns="36000" rtlCol="0" anchor="ctr">
            <a:noAutofit/>
          </a:bodyPr>
          <a:lstStyle/>
          <a:p>
            <a:pPr algn="ctr"/>
            <a:r>
              <a:rPr lang="es-ES" sz="1200" dirty="0" smtClean="0"/>
              <a:t>Central Térmica de Generación</a:t>
            </a:r>
          </a:p>
        </p:txBody>
      </p:sp>
      <p:sp>
        <p:nvSpPr>
          <p:cNvPr id="34" name="TextBox 33"/>
          <p:cNvSpPr txBox="1"/>
          <p:nvPr/>
        </p:nvSpPr>
        <p:spPr>
          <a:xfrm>
            <a:off x="6722120" y="1822435"/>
            <a:ext cx="1071862" cy="272068"/>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txBody>
          <a:bodyPr wrap="square" lIns="36000" rIns="36000" rtlCol="0" anchor="ctr">
            <a:noAutofit/>
          </a:bodyPr>
          <a:lstStyle/>
          <a:p>
            <a:pPr algn="ctr"/>
            <a:r>
              <a:rPr lang="es-ES" sz="1200" dirty="0" smtClean="0"/>
              <a:t>Parque Eólico</a:t>
            </a:r>
          </a:p>
        </p:txBody>
      </p:sp>
      <p:sp>
        <p:nvSpPr>
          <p:cNvPr id="35" name="TextBox 34"/>
          <p:cNvSpPr txBox="1"/>
          <p:nvPr/>
        </p:nvSpPr>
        <p:spPr>
          <a:xfrm>
            <a:off x="3775595" y="3631396"/>
            <a:ext cx="932788" cy="372073"/>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txBody>
          <a:bodyPr wrap="square" lIns="36000" rIns="36000" rtlCol="0" anchor="ctr">
            <a:noAutofit/>
          </a:bodyPr>
          <a:lstStyle/>
          <a:p>
            <a:pPr algn="ctr"/>
            <a:r>
              <a:rPr lang="es-ES" sz="1200" dirty="0" smtClean="0"/>
              <a:t>Red de Transporte</a:t>
            </a:r>
          </a:p>
        </p:txBody>
      </p:sp>
      <p:sp>
        <p:nvSpPr>
          <p:cNvPr id="36" name="TextBox 35"/>
          <p:cNvSpPr txBox="1"/>
          <p:nvPr/>
        </p:nvSpPr>
        <p:spPr>
          <a:xfrm>
            <a:off x="7793982" y="4343356"/>
            <a:ext cx="900519" cy="488831"/>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txBody>
          <a:bodyPr wrap="square" lIns="36000" rIns="36000" rtlCol="0" anchor="ctr">
            <a:noAutofit/>
          </a:bodyPr>
          <a:lstStyle/>
          <a:p>
            <a:pPr algn="ctr"/>
            <a:r>
              <a:rPr lang="es-ES" sz="1200" dirty="0" smtClean="0"/>
              <a:t>Red de Distribución</a:t>
            </a:r>
          </a:p>
        </p:txBody>
      </p:sp>
      <p:sp>
        <p:nvSpPr>
          <p:cNvPr id="37" name="TextBox 36"/>
          <p:cNvSpPr txBox="1"/>
          <p:nvPr/>
        </p:nvSpPr>
        <p:spPr>
          <a:xfrm>
            <a:off x="7793982" y="2842203"/>
            <a:ext cx="900518" cy="436078"/>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txBody>
          <a:bodyPr wrap="square" lIns="36000" rIns="36000" rtlCol="0" anchor="ctr">
            <a:noAutofit/>
          </a:bodyPr>
          <a:lstStyle/>
          <a:p>
            <a:pPr algn="ctr"/>
            <a:r>
              <a:rPr lang="es-ES" sz="1200" dirty="0" smtClean="0"/>
              <a:t>Consumo Industrial</a:t>
            </a:r>
          </a:p>
        </p:txBody>
      </p:sp>
      <p:sp>
        <p:nvSpPr>
          <p:cNvPr id="38" name="TextBox 37"/>
          <p:cNvSpPr txBox="1"/>
          <p:nvPr/>
        </p:nvSpPr>
        <p:spPr>
          <a:xfrm>
            <a:off x="7793983" y="5859245"/>
            <a:ext cx="900518" cy="436078"/>
          </a:xfrm>
          <a:prstGeom prst="rect">
            <a:avLst/>
          </a:prstGeom>
          <a:solidFill>
            <a:schemeClr val="bg1"/>
          </a:solidFill>
          <a:ln>
            <a:solidFill>
              <a:srgbClr val="003344"/>
            </a:solidFill>
          </a:ln>
          <a:effectLst>
            <a:outerShdw blurRad="50800" dist="38100" dir="5400000" algn="t" rotWithShape="0">
              <a:prstClr val="black">
                <a:alpha val="40000"/>
              </a:prstClr>
            </a:outerShdw>
          </a:effectLst>
        </p:spPr>
        <p:txBody>
          <a:bodyPr wrap="square" lIns="36000" rIns="36000" rtlCol="0" anchor="ctr">
            <a:noAutofit/>
          </a:bodyPr>
          <a:lstStyle/>
          <a:p>
            <a:pPr algn="ctr"/>
            <a:r>
              <a:rPr lang="es-ES" sz="1200" dirty="0" smtClean="0"/>
              <a:t>Consumo Doméstico</a:t>
            </a:r>
          </a:p>
        </p:txBody>
      </p:sp>
      <p:sp>
        <p:nvSpPr>
          <p:cNvPr id="39" name="TextBox 38"/>
          <p:cNvSpPr txBox="1"/>
          <p:nvPr/>
        </p:nvSpPr>
        <p:spPr>
          <a:xfrm>
            <a:off x="3064545" y="5300443"/>
            <a:ext cx="842495" cy="455374"/>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txBody>
          <a:bodyPr wrap="square" lIns="36000" rIns="36000" rtlCol="0" anchor="ctr">
            <a:noAutofit/>
          </a:bodyPr>
          <a:lstStyle/>
          <a:p>
            <a:pPr algn="ctr"/>
            <a:r>
              <a:rPr lang="es-ES" sz="1200" dirty="0" smtClean="0"/>
              <a:t>Centro de Control</a:t>
            </a:r>
          </a:p>
        </p:txBody>
      </p:sp>
      <p:sp>
        <p:nvSpPr>
          <p:cNvPr id="41" name="Rectangle 9"/>
          <p:cNvSpPr txBox="1">
            <a:spLocks noChangeArrowheads="1"/>
          </p:cNvSpPr>
          <p:nvPr/>
        </p:nvSpPr>
        <p:spPr bwMode="auto">
          <a:xfrm>
            <a:off x="150608" y="1113654"/>
            <a:ext cx="2592592" cy="4963629"/>
          </a:xfrm>
          <a:prstGeom prst="rect">
            <a:avLst/>
          </a:prstGeom>
          <a:noFill/>
          <a:ln w="9525" algn="ctr">
            <a:noFill/>
            <a:miter lim="800000"/>
            <a:headEnd/>
            <a:tailEnd/>
          </a:ln>
        </p:spPr>
        <p:txBody>
          <a:bodyPr vert="horz" wrap="square" lIns="0" tIns="72000" rIns="72000" bIns="0" numCol="1" anchor="t" anchorCtr="0" compatLnSpc="1">
            <a:prstTxWarp prst="textNoShape">
              <a:avLst/>
            </a:prstTxWarp>
          </a:bodyPr>
          <a:lstStyle/>
          <a:p>
            <a:pPr marL="265113" marR="0" lvl="0" indent="-265113" algn="l" defTabSz="914400" rtl="0" eaLnBrk="0" fontAlgn="base" latinLnBrk="0" hangingPunct="0">
              <a:lnSpc>
                <a:spcPct val="100000"/>
              </a:lnSpc>
              <a:spcBef>
                <a:spcPts val="600"/>
              </a:spcBef>
              <a:spcAft>
                <a:spcPct val="0"/>
              </a:spcAft>
              <a:buClr>
                <a:srgbClr val="003399"/>
              </a:buClr>
              <a:buSzTx/>
              <a:tabLst/>
              <a:defRPr/>
            </a:pPr>
            <a:r>
              <a:rPr kumimoji="0" lang="es-ES" sz="2000" i="0" u="none" strike="noStrike" kern="0" cap="none" spc="0" normalizeH="0" noProof="0" dirty="0" smtClean="0">
                <a:ln>
                  <a:noFill/>
                </a:ln>
                <a:solidFill>
                  <a:schemeClr val="accent1"/>
                </a:solidFill>
                <a:effectLst/>
                <a:uLnTx/>
                <a:uFillTx/>
                <a:latin typeface="+mn-lt"/>
                <a:ea typeface="+mn-ea"/>
                <a:cs typeface="+mn-cs"/>
              </a:rPr>
              <a:t>Sistemas Eléctricos.</a:t>
            </a:r>
          </a:p>
          <a:p>
            <a:pPr marL="265113" marR="0" lvl="0" indent="-265113" algn="l" defTabSz="914400" rtl="0" eaLnBrk="0" fontAlgn="base" latinLnBrk="0" hangingPunct="0">
              <a:lnSpc>
                <a:spcPct val="100000"/>
              </a:lnSpc>
              <a:spcBef>
                <a:spcPts val="600"/>
              </a:spcBef>
              <a:spcAft>
                <a:spcPct val="0"/>
              </a:spcAft>
              <a:buClr>
                <a:srgbClr val="003399"/>
              </a:buClr>
              <a:buSzTx/>
              <a:tabLst/>
              <a:defRPr/>
            </a:pPr>
            <a:r>
              <a:rPr lang="es-ES" sz="2000" kern="0" baseline="0" dirty="0" smtClean="0">
                <a:solidFill>
                  <a:schemeClr val="accent1"/>
                </a:solidFill>
                <a:latin typeface="+mn-lt"/>
                <a:cs typeface="+mn-cs"/>
              </a:rPr>
              <a:t>Características</a:t>
            </a:r>
            <a:r>
              <a:rPr kumimoji="0" lang="es-ES" sz="2000" i="0" u="none" strike="noStrike" kern="0" cap="none" spc="0" normalizeH="0" baseline="0" noProof="0" dirty="0" smtClean="0">
                <a:ln>
                  <a:noFill/>
                </a:ln>
                <a:solidFill>
                  <a:schemeClr val="accent1"/>
                </a:solidFill>
                <a:effectLst/>
                <a:uLnTx/>
                <a:uFillTx/>
                <a:latin typeface="+mn-lt"/>
                <a:ea typeface="+mn-ea"/>
                <a:cs typeface="+mn-cs"/>
              </a:rPr>
              <a:t>:</a:t>
            </a:r>
            <a:r>
              <a:rPr lang="es-ES" kern="0" dirty="0" smtClean="0">
                <a:solidFill>
                  <a:schemeClr val="accent1"/>
                </a:solidFill>
              </a:rPr>
              <a:t> </a:t>
            </a:r>
            <a:endParaRPr lang="es-ES" kern="0" dirty="0">
              <a:solidFill>
                <a:schemeClr val="accent1"/>
              </a:solidFill>
            </a:endParaRPr>
          </a:p>
          <a:p>
            <a:pPr marL="285750" marR="0" lvl="0" indent="-285750" algn="l" defTabSz="914400" rtl="0" eaLnBrk="0" fontAlgn="base" latinLnBrk="0" hangingPunct="0">
              <a:lnSpc>
                <a:spcPct val="100000"/>
              </a:lnSpc>
              <a:spcBef>
                <a:spcPts val="600"/>
              </a:spcBef>
              <a:spcAft>
                <a:spcPct val="0"/>
              </a:spcAft>
              <a:buClr>
                <a:schemeClr val="accent1"/>
              </a:buClr>
              <a:buSzTx/>
              <a:buFont typeface="Arial" pitchFamily="34" charset="0"/>
              <a:buChar char="•"/>
              <a:tabLst/>
              <a:defRPr/>
            </a:pPr>
            <a:r>
              <a:rPr lang="es-ES" kern="0" dirty="0" smtClean="0">
                <a:solidFill>
                  <a:schemeClr val="accent1"/>
                </a:solidFill>
              </a:rPr>
              <a:t>Gran tamaño.</a:t>
            </a:r>
          </a:p>
          <a:p>
            <a:pPr marL="285750" marR="0" lvl="0" indent="-285750" algn="l" defTabSz="914400" rtl="0" eaLnBrk="0" fontAlgn="base" latinLnBrk="0" hangingPunct="0">
              <a:lnSpc>
                <a:spcPct val="100000"/>
              </a:lnSpc>
              <a:spcBef>
                <a:spcPts val="600"/>
              </a:spcBef>
              <a:spcAft>
                <a:spcPct val="0"/>
              </a:spcAft>
              <a:buClr>
                <a:schemeClr val="accent1"/>
              </a:buClr>
              <a:buSzTx/>
              <a:buFont typeface="Arial" pitchFamily="34" charset="0"/>
              <a:buChar char="•"/>
              <a:tabLst/>
              <a:defRPr/>
            </a:pPr>
            <a:r>
              <a:rPr lang="es-ES" kern="0" dirty="0" smtClean="0">
                <a:solidFill>
                  <a:schemeClr val="accent1"/>
                </a:solidFill>
              </a:rPr>
              <a:t>Complejos.</a:t>
            </a:r>
            <a:endParaRPr lang="es-ES" kern="0" dirty="0">
              <a:solidFill>
                <a:schemeClr val="accent1"/>
              </a:solidFill>
            </a:endParaRPr>
          </a:p>
          <a:p>
            <a:pPr marL="285750" marR="0" lvl="0" indent="-285750" algn="l" defTabSz="914400" rtl="0" eaLnBrk="0" fontAlgn="base" latinLnBrk="0" hangingPunct="0">
              <a:lnSpc>
                <a:spcPct val="100000"/>
              </a:lnSpc>
              <a:spcBef>
                <a:spcPts val="600"/>
              </a:spcBef>
              <a:spcAft>
                <a:spcPct val="0"/>
              </a:spcAft>
              <a:buClr>
                <a:schemeClr val="accent1"/>
              </a:buClr>
              <a:buSzTx/>
              <a:buFont typeface="Arial" pitchFamily="34" charset="0"/>
              <a:buChar char="•"/>
              <a:tabLst/>
              <a:defRPr/>
            </a:pPr>
            <a:r>
              <a:rPr lang="es-ES" kern="0" dirty="0" smtClean="0">
                <a:solidFill>
                  <a:schemeClr val="accent1"/>
                </a:solidFill>
                <a:latin typeface="+mn-lt"/>
              </a:rPr>
              <a:t>Dinámicos: </a:t>
            </a:r>
            <a:r>
              <a:rPr lang="es-ES" kern="0" dirty="0" smtClean="0">
                <a:solidFill>
                  <a:schemeClr val="accent1"/>
                </a:solidFill>
              </a:rPr>
              <a:t>equilibrio constante generación/demanda.</a:t>
            </a:r>
            <a:endParaRPr lang="es-ES" kern="0" dirty="0">
              <a:solidFill>
                <a:schemeClr val="accent1"/>
              </a:solidFill>
            </a:endParaRPr>
          </a:p>
          <a:p>
            <a:pPr marL="285750" marR="0" lvl="0" indent="-285750" algn="l" defTabSz="914400" rtl="0" eaLnBrk="0" fontAlgn="base" latinLnBrk="0" hangingPunct="0">
              <a:lnSpc>
                <a:spcPct val="100000"/>
              </a:lnSpc>
              <a:spcBef>
                <a:spcPts val="600"/>
              </a:spcBef>
              <a:spcAft>
                <a:spcPct val="0"/>
              </a:spcAft>
              <a:buClr>
                <a:schemeClr val="accent1"/>
              </a:buClr>
              <a:buSzTx/>
              <a:buFont typeface="Arial" pitchFamily="34" charset="0"/>
              <a:buChar char="•"/>
              <a:tabLst/>
              <a:defRPr/>
            </a:pPr>
            <a:r>
              <a:rPr lang="es-ES" kern="0" dirty="0" smtClean="0">
                <a:solidFill>
                  <a:schemeClr val="accent1"/>
                </a:solidFill>
              </a:rPr>
              <a:t>Fallo de cualquier elemento afecta a la estabilidad del sistema.</a:t>
            </a:r>
            <a:endParaRPr lang="es-ES" kern="0" dirty="0">
              <a:solidFill>
                <a:schemeClr val="accent1"/>
              </a:solidFill>
              <a:latin typeface="+mn-lt"/>
            </a:endParaRPr>
          </a:p>
          <a:p>
            <a:pPr marL="285750" marR="0" lvl="0" indent="-285750" algn="l" defTabSz="914400" rtl="0" eaLnBrk="0" fontAlgn="base" latinLnBrk="0" hangingPunct="0">
              <a:lnSpc>
                <a:spcPct val="100000"/>
              </a:lnSpc>
              <a:spcBef>
                <a:spcPts val="600"/>
              </a:spcBef>
              <a:spcAft>
                <a:spcPct val="0"/>
              </a:spcAft>
              <a:buClr>
                <a:schemeClr val="accent1"/>
              </a:buClr>
              <a:buSzTx/>
              <a:buFont typeface="Arial" pitchFamily="34" charset="0"/>
              <a:buChar char="•"/>
              <a:tabLst/>
              <a:defRPr/>
            </a:pPr>
            <a:r>
              <a:rPr lang="es-ES" kern="0" dirty="0" smtClean="0">
                <a:solidFill>
                  <a:schemeClr val="accent1"/>
                </a:solidFill>
                <a:latin typeface="+mn-lt"/>
              </a:rPr>
              <a:t>Intensivos en capital y largos periodos recuperación de inversiones.</a:t>
            </a:r>
          </a:p>
        </p:txBody>
      </p:sp>
    </p:spTree>
    <p:extLst>
      <p:ext uri="{BB962C8B-B14F-4D97-AF65-F5344CB8AC3E}">
        <p14:creationId xmlns:p14="http://schemas.microsoft.com/office/powerpoint/2010/main" val="18411948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3865" y="230454"/>
            <a:ext cx="8229600" cy="758952"/>
          </a:xfrm>
        </p:spPr>
        <p:txBody>
          <a:bodyPr/>
          <a:lstStyle/>
          <a:p>
            <a:r>
              <a:rPr lang="en-US" dirty="0" smtClean="0"/>
              <a:t>Leading Utilities focus on the end-to-end Outage Management and Communication Processes</a:t>
            </a:r>
            <a:endParaRPr lang="en-US" dirty="0"/>
          </a:p>
        </p:txBody>
      </p:sp>
      <p:pic>
        <p:nvPicPr>
          <p:cNvPr id="8"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4038600" y="3347745"/>
            <a:ext cx="317499" cy="317499"/>
          </a:xfrm>
          <a:prstGeom prst="rect">
            <a:avLst/>
          </a:prstGeom>
          <a:noFill/>
        </p:spPr>
      </p:pic>
      <p:sp>
        <p:nvSpPr>
          <p:cNvPr id="45" name="Rounded Rectangle 44"/>
          <p:cNvSpPr/>
          <p:nvPr/>
        </p:nvSpPr>
        <p:spPr>
          <a:xfrm>
            <a:off x="533400" y="1306252"/>
            <a:ext cx="1295400" cy="457200"/>
          </a:xfrm>
          <a:prstGeom prst="roundRect">
            <a:avLst/>
          </a:prstGeom>
          <a:solidFill>
            <a:schemeClr val="tx1">
              <a:lumMod val="40000"/>
              <a:lumOff val="60000"/>
            </a:schemeClr>
          </a:solidFill>
          <a:ln w="12700">
            <a:solidFill>
              <a:schemeClr val="tx1"/>
            </a:solidFill>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b="1" dirty="0" smtClean="0">
                <a:solidFill>
                  <a:prstClr val="black">
                    <a:lumMod val="50000"/>
                  </a:prstClr>
                </a:solidFill>
                <a:latin typeface="Arial Narrow" pitchFamily="34" charset="0"/>
              </a:rPr>
              <a:t>Ongoing Preparation</a:t>
            </a:r>
          </a:p>
        </p:txBody>
      </p:sp>
      <p:pic>
        <p:nvPicPr>
          <p:cNvPr id="46" name="Picture 6" descr="C:\Users\claudio.pinto\Desktop\MC900433941.PNG"/>
          <p:cNvPicPr>
            <a:picLocks noChangeAspect="1" noChangeArrowheads="1"/>
          </p:cNvPicPr>
          <p:nvPr/>
        </p:nvPicPr>
        <p:blipFill>
          <a:blip r:embed="rId3" cstate="print"/>
          <a:srcRect/>
          <a:stretch>
            <a:fillRect/>
          </a:stretch>
        </p:blipFill>
        <p:spPr bwMode="auto">
          <a:xfrm>
            <a:off x="914400" y="2449246"/>
            <a:ext cx="533400" cy="533400"/>
          </a:xfrm>
          <a:prstGeom prst="rect">
            <a:avLst/>
          </a:prstGeom>
          <a:noFill/>
        </p:spPr>
      </p:pic>
      <p:pic>
        <p:nvPicPr>
          <p:cNvPr id="47" name="Picture 7" descr="C:\Users\claudio.pinto\Desktop\MC900433932.PNG"/>
          <p:cNvPicPr>
            <a:picLocks noChangeAspect="1" noChangeArrowheads="1"/>
          </p:cNvPicPr>
          <p:nvPr/>
        </p:nvPicPr>
        <p:blipFill>
          <a:blip r:embed="rId4" cstate="print"/>
          <a:srcRect/>
          <a:stretch>
            <a:fillRect/>
          </a:stretch>
        </p:blipFill>
        <p:spPr bwMode="auto">
          <a:xfrm>
            <a:off x="762000" y="3516050"/>
            <a:ext cx="457200" cy="457200"/>
          </a:xfrm>
          <a:prstGeom prst="rect">
            <a:avLst/>
          </a:prstGeom>
          <a:noFill/>
        </p:spPr>
      </p:pic>
      <p:pic>
        <p:nvPicPr>
          <p:cNvPr id="49"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1295400" y="3668450"/>
            <a:ext cx="304800" cy="304800"/>
          </a:xfrm>
          <a:prstGeom prst="rect">
            <a:avLst/>
          </a:prstGeom>
          <a:noFill/>
        </p:spPr>
      </p:pic>
      <p:pic>
        <p:nvPicPr>
          <p:cNvPr id="50"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1219201" y="3592251"/>
            <a:ext cx="304800" cy="304800"/>
          </a:xfrm>
          <a:prstGeom prst="rect">
            <a:avLst/>
          </a:prstGeom>
          <a:noFill/>
        </p:spPr>
      </p:pic>
      <p:pic>
        <p:nvPicPr>
          <p:cNvPr id="51"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1143000" y="3516050"/>
            <a:ext cx="304800" cy="304800"/>
          </a:xfrm>
          <a:prstGeom prst="rect">
            <a:avLst/>
          </a:prstGeom>
          <a:noFill/>
        </p:spPr>
      </p:pic>
      <p:sp>
        <p:nvSpPr>
          <p:cNvPr id="57" name="Rounded Rectangle 56"/>
          <p:cNvSpPr/>
          <p:nvPr/>
        </p:nvSpPr>
        <p:spPr>
          <a:xfrm>
            <a:off x="2286000" y="1306252"/>
            <a:ext cx="1143000" cy="457200"/>
          </a:xfrm>
          <a:prstGeom prst="roundRect">
            <a:avLst/>
          </a:prstGeom>
          <a:solidFill>
            <a:schemeClr val="tx1">
              <a:lumMod val="40000"/>
              <a:lumOff val="60000"/>
            </a:schemeClr>
          </a:solidFill>
          <a:ln w="12700">
            <a:solidFill>
              <a:schemeClr val="tx1"/>
            </a:solidFill>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b="1" dirty="0" smtClean="0">
                <a:solidFill>
                  <a:prstClr val="black">
                    <a:lumMod val="50000"/>
                  </a:prstClr>
                </a:solidFill>
                <a:latin typeface="Arial Narrow" pitchFamily="34" charset="0"/>
              </a:rPr>
              <a:t>Pre-event Planning</a:t>
            </a:r>
          </a:p>
        </p:txBody>
      </p:sp>
      <p:pic>
        <p:nvPicPr>
          <p:cNvPr id="58" name="Picture 6" descr="C:\Users\claudio.pinto\Desktop\MC900441705.PNG"/>
          <p:cNvPicPr>
            <a:picLocks noChangeAspect="1" noChangeArrowheads="1"/>
          </p:cNvPicPr>
          <p:nvPr/>
        </p:nvPicPr>
        <p:blipFill>
          <a:blip r:embed="rId5" cstate="print"/>
          <a:srcRect/>
          <a:stretch>
            <a:fillRect/>
          </a:stretch>
        </p:blipFill>
        <p:spPr bwMode="auto">
          <a:xfrm>
            <a:off x="2514600" y="2100914"/>
            <a:ext cx="609600" cy="609600"/>
          </a:xfrm>
          <a:prstGeom prst="rect">
            <a:avLst/>
          </a:prstGeom>
          <a:noFill/>
        </p:spPr>
      </p:pic>
      <p:pic>
        <p:nvPicPr>
          <p:cNvPr id="60" name="Picture 7" descr="C:\Users\claudio.pinto\Desktop\MC900433932.PNG"/>
          <p:cNvPicPr>
            <a:picLocks noChangeAspect="1" noChangeArrowheads="1"/>
          </p:cNvPicPr>
          <p:nvPr/>
        </p:nvPicPr>
        <p:blipFill>
          <a:blip r:embed="rId4" cstate="print"/>
          <a:srcRect/>
          <a:stretch>
            <a:fillRect/>
          </a:stretch>
        </p:blipFill>
        <p:spPr bwMode="auto">
          <a:xfrm flipH="1">
            <a:off x="2513694" y="3276572"/>
            <a:ext cx="457200" cy="457200"/>
          </a:xfrm>
          <a:prstGeom prst="rect">
            <a:avLst/>
          </a:prstGeom>
          <a:noFill/>
        </p:spPr>
      </p:pic>
      <p:pic>
        <p:nvPicPr>
          <p:cNvPr id="61" name="Picture 3" descr="C:\Users\claudio.pinto\Desktop\MC900434894.PNG"/>
          <p:cNvPicPr>
            <a:picLocks noChangeAspect="1" noChangeArrowheads="1"/>
          </p:cNvPicPr>
          <p:nvPr/>
        </p:nvPicPr>
        <p:blipFill>
          <a:blip r:embed="rId6" cstate="print">
            <a:lum bright="-40000"/>
          </a:blip>
          <a:srcRect/>
          <a:stretch>
            <a:fillRect/>
          </a:stretch>
        </p:blipFill>
        <p:spPr bwMode="auto">
          <a:xfrm>
            <a:off x="2427516" y="4082250"/>
            <a:ext cx="457200" cy="511494"/>
          </a:xfrm>
          <a:prstGeom prst="rect">
            <a:avLst/>
          </a:prstGeom>
          <a:noFill/>
        </p:spPr>
      </p:pic>
      <p:pic>
        <p:nvPicPr>
          <p:cNvPr id="62" name="Picture 3" descr="C:\Users\claudio.pinto\Desktop\MC900434894.PNG"/>
          <p:cNvPicPr>
            <a:picLocks noChangeAspect="1" noChangeArrowheads="1"/>
          </p:cNvPicPr>
          <p:nvPr/>
        </p:nvPicPr>
        <p:blipFill>
          <a:blip r:embed="rId6" cstate="print">
            <a:lum/>
          </a:blip>
          <a:srcRect/>
          <a:stretch>
            <a:fillRect/>
          </a:stretch>
        </p:blipFill>
        <p:spPr bwMode="auto">
          <a:xfrm>
            <a:off x="2579916" y="4234650"/>
            <a:ext cx="457200" cy="511494"/>
          </a:xfrm>
          <a:prstGeom prst="rect">
            <a:avLst/>
          </a:prstGeom>
          <a:noFill/>
        </p:spPr>
      </p:pic>
      <p:pic>
        <p:nvPicPr>
          <p:cNvPr id="65" name="Picture 2" descr="C:\Users\claudio.pinto\Desktop\MC900440407.PNG"/>
          <p:cNvPicPr>
            <a:picLocks noChangeAspect="1" noChangeArrowheads="1"/>
          </p:cNvPicPr>
          <p:nvPr/>
        </p:nvPicPr>
        <p:blipFill>
          <a:blip r:embed="rId7" cstate="print"/>
          <a:srcRect/>
          <a:stretch>
            <a:fillRect/>
          </a:stretch>
        </p:blipFill>
        <p:spPr bwMode="auto">
          <a:xfrm>
            <a:off x="2895600" y="1872314"/>
            <a:ext cx="457200" cy="457200"/>
          </a:xfrm>
          <a:prstGeom prst="rect">
            <a:avLst/>
          </a:prstGeom>
          <a:noFill/>
        </p:spPr>
      </p:pic>
      <p:sp>
        <p:nvSpPr>
          <p:cNvPr id="67" name="Rounded Rectangle 66"/>
          <p:cNvSpPr/>
          <p:nvPr/>
        </p:nvSpPr>
        <p:spPr>
          <a:xfrm>
            <a:off x="3962400" y="1306252"/>
            <a:ext cx="2590800" cy="457200"/>
          </a:xfrm>
          <a:prstGeom prst="roundRect">
            <a:avLst/>
          </a:prstGeom>
          <a:solidFill>
            <a:schemeClr val="tx1">
              <a:lumMod val="40000"/>
              <a:lumOff val="60000"/>
            </a:schemeClr>
          </a:solidFill>
          <a:ln w="12700">
            <a:solidFill>
              <a:schemeClr val="tx1"/>
            </a:solidFill>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b="1" dirty="0" smtClean="0">
                <a:solidFill>
                  <a:prstClr val="black">
                    <a:lumMod val="50000"/>
                  </a:prstClr>
                </a:solidFill>
                <a:latin typeface="Arial Narrow" pitchFamily="34" charset="0"/>
              </a:rPr>
              <a:t>Restoration</a:t>
            </a:r>
          </a:p>
        </p:txBody>
      </p:sp>
      <p:pic>
        <p:nvPicPr>
          <p:cNvPr id="69" name="Picture 3" descr="C:\Users\claudio.pinto\Desktop\MC900433807.PNG"/>
          <p:cNvPicPr>
            <a:picLocks noChangeAspect="1" noChangeArrowheads="1"/>
          </p:cNvPicPr>
          <p:nvPr/>
        </p:nvPicPr>
        <p:blipFill>
          <a:blip r:embed="rId8" cstate="print"/>
          <a:srcRect/>
          <a:stretch>
            <a:fillRect/>
          </a:stretch>
        </p:blipFill>
        <p:spPr bwMode="auto">
          <a:xfrm>
            <a:off x="4267200" y="1785645"/>
            <a:ext cx="635002" cy="635002"/>
          </a:xfrm>
          <a:prstGeom prst="rect">
            <a:avLst/>
          </a:prstGeom>
          <a:noFill/>
        </p:spPr>
      </p:pic>
      <p:pic>
        <p:nvPicPr>
          <p:cNvPr id="70" name="Picture 24" descr="C:\Users\claudio.pinto\Desktop\MC900434843.PNG"/>
          <p:cNvPicPr>
            <a:picLocks noChangeAspect="1" noChangeArrowheads="1"/>
          </p:cNvPicPr>
          <p:nvPr/>
        </p:nvPicPr>
        <p:blipFill>
          <a:blip r:embed="rId9" cstate="print"/>
          <a:srcRect/>
          <a:stretch>
            <a:fillRect/>
          </a:stretch>
        </p:blipFill>
        <p:spPr bwMode="auto">
          <a:xfrm>
            <a:off x="4114800" y="2928645"/>
            <a:ext cx="647700" cy="647700"/>
          </a:xfrm>
          <a:prstGeom prst="rect">
            <a:avLst/>
          </a:prstGeom>
          <a:noFill/>
        </p:spPr>
      </p:pic>
      <p:pic>
        <p:nvPicPr>
          <p:cNvPr id="72" name="Picture 11" descr="C:\Users\claudio.pinto\Desktop\MC900431640.PNG"/>
          <p:cNvPicPr>
            <a:picLocks noChangeAspect="1" noChangeArrowheads="1"/>
          </p:cNvPicPr>
          <p:nvPr/>
        </p:nvPicPr>
        <p:blipFill>
          <a:blip r:embed="rId10" cstate="print"/>
          <a:srcRect/>
          <a:stretch>
            <a:fillRect/>
          </a:stretch>
        </p:blipFill>
        <p:spPr bwMode="auto">
          <a:xfrm rot="10800000" flipH="1" flipV="1">
            <a:off x="7518399" y="1839651"/>
            <a:ext cx="359180" cy="359180"/>
          </a:xfrm>
          <a:prstGeom prst="rect">
            <a:avLst/>
          </a:prstGeom>
          <a:noFill/>
        </p:spPr>
      </p:pic>
      <p:pic>
        <p:nvPicPr>
          <p:cNvPr id="74" name="Picture 3" descr="C:\Users\claudio.pinto\Desktop\MC900434894.PNG"/>
          <p:cNvPicPr>
            <a:picLocks noChangeAspect="1" noChangeArrowheads="1"/>
          </p:cNvPicPr>
          <p:nvPr/>
        </p:nvPicPr>
        <p:blipFill>
          <a:blip r:embed="rId6" cstate="print"/>
          <a:srcRect/>
          <a:stretch>
            <a:fillRect/>
          </a:stretch>
        </p:blipFill>
        <p:spPr bwMode="auto">
          <a:xfrm>
            <a:off x="5181600" y="4147845"/>
            <a:ext cx="482101" cy="539352"/>
          </a:xfrm>
          <a:prstGeom prst="rect">
            <a:avLst/>
          </a:prstGeom>
          <a:noFill/>
        </p:spPr>
      </p:pic>
      <p:pic>
        <p:nvPicPr>
          <p:cNvPr id="75" name="Picture 12" descr="C:\Users\claudio.pinto\Desktop\MC900431633.PNG"/>
          <p:cNvPicPr>
            <a:picLocks noChangeAspect="1" noChangeArrowheads="1"/>
          </p:cNvPicPr>
          <p:nvPr/>
        </p:nvPicPr>
        <p:blipFill>
          <a:blip r:embed="rId11" cstate="print"/>
          <a:srcRect/>
          <a:stretch>
            <a:fillRect/>
          </a:stretch>
        </p:blipFill>
        <p:spPr bwMode="auto">
          <a:xfrm>
            <a:off x="5559833" y="4159750"/>
            <a:ext cx="228600" cy="228600"/>
          </a:xfrm>
          <a:prstGeom prst="rect">
            <a:avLst/>
          </a:prstGeom>
          <a:noFill/>
        </p:spPr>
      </p:pic>
      <p:pic>
        <p:nvPicPr>
          <p:cNvPr id="76"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3962401" y="3271546"/>
            <a:ext cx="317499" cy="317499"/>
          </a:xfrm>
          <a:prstGeom prst="rect">
            <a:avLst/>
          </a:prstGeom>
          <a:noFill/>
        </p:spPr>
      </p:pic>
      <p:pic>
        <p:nvPicPr>
          <p:cNvPr id="77"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3886200" y="3119145"/>
            <a:ext cx="380999" cy="380999"/>
          </a:xfrm>
          <a:prstGeom prst="rect">
            <a:avLst/>
          </a:prstGeom>
          <a:noFill/>
        </p:spPr>
      </p:pic>
      <p:sp>
        <p:nvSpPr>
          <p:cNvPr id="81" name="Curved Down Arrow 80"/>
          <p:cNvSpPr/>
          <p:nvPr/>
        </p:nvSpPr>
        <p:spPr>
          <a:xfrm rot="16736306" flipH="1">
            <a:off x="3641676" y="2493224"/>
            <a:ext cx="884552" cy="261242"/>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pic>
        <p:nvPicPr>
          <p:cNvPr id="83"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5547929" y="4528844"/>
            <a:ext cx="234552" cy="234552"/>
          </a:xfrm>
          <a:prstGeom prst="rect">
            <a:avLst/>
          </a:prstGeom>
          <a:noFill/>
        </p:spPr>
      </p:pic>
      <p:pic>
        <p:nvPicPr>
          <p:cNvPr id="89"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5562592" y="2275084"/>
            <a:ext cx="304800" cy="304800"/>
          </a:xfrm>
          <a:prstGeom prst="rect">
            <a:avLst/>
          </a:prstGeom>
          <a:noFill/>
        </p:spPr>
      </p:pic>
      <p:pic>
        <p:nvPicPr>
          <p:cNvPr id="90"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7043850" y="2116221"/>
            <a:ext cx="398349" cy="398349"/>
          </a:xfrm>
          <a:prstGeom prst="rect">
            <a:avLst/>
          </a:prstGeom>
          <a:noFill/>
        </p:spPr>
      </p:pic>
      <p:pic>
        <p:nvPicPr>
          <p:cNvPr id="91"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7196250" y="2268621"/>
            <a:ext cx="398349" cy="398349"/>
          </a:xfrm>
          <a:prstGeom prst="rect">
            <a:avLst/>
          </a:prstGeom>
          <a:noFill/>
        </p:spPr>
      </p:pic>
      <p:pic>
        <p:nvPicPr>
          <p:cNvPr id="92"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7348650" y="2421021"/>
            <a:ext cx="398349" cy="398349"/>
          </a:xfrm>
          <a:prstGeom prst="rect">
            <a:avLst/>
          </a:prstGeom>
          <a:noFill/>
        </p:spPr>
      </p:pic>
      <p:sp>
        <p:nvSpPr>
          <p:cNvPr id="98" name="Rounded Rectangle 97"/>
          <p:cNvSpPr/>
          <p:nvPr/>
        </p:nvSpPr>
        <p:spPr>
          <a:xfrm>
            <a:off x="7010400" y="1306252"/>
            <a:ext cx="1676400" cy="457200"/>
          </a:xfrm>
          <a:prstGeom prst="roundRect">
            <a:avLst/>
          </a:prstGeom>
          <a:solidFill>
            <a:schemeClr val="tx1">
              <a:lumMod val="40000"/>
              <a:lumOff val="60000"/>
            </a:schemeClr>
          </a:solidFill>
          <a:ln w="12700">
            <a:solidFill>
              <a:schemeClr val="tx1"/>
            </a:solidFill>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b="1" dirty="0" smtClean="0">
                <a:solidFill>
                  <a:prstClr val="black">
                    <a:lumMod val="50000"/>
                  </a:prstClr>
                </a:solidFill>
                <a:latin typeface="Arial Narrow" pitchFamily="34" charset="0"/>
              </a:rPr>
              <a:t>Close Out</a:t>
            </a:r>
          </a:p>
        </p:txBody>
      </p:sp>
      <p:sp>
        <p:nvSpPr>
          <p:cNvPr id="106" name="Curved Down Arrow 105"/>
          <p:cNvSpPr/>
          <p:nvPr/>
        </p:nvSpPr>
        <p:spPr>
          <a:xfrm rot="5400000">
            <a:off x="7848600" y="2601650"/>
            <a:ext cx="990598" cy="381001"/>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107" name="Curved Down Arrow 106"/>
          <p:cNvSpPr/>
          <p:nvPr/>
        </p:nvSpPr>
        <p:spPr>
          <a:xfrm rot="5400000">
            <a:off x="7728860" y="4016791"/>
            <a:ext cx="1001479" cy="304800"/>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cxnSp>
        <p:nvCxnSpPr>
          <p:cNvPr id="118" name="Straight Connector 117"/>
          <p:cNvCxnSpPr/>
          <p:nvPr/>
        </p:nvCxnSpPr>
        <p:spPr>
          <a:xfrm>
            <a:off x="2057400" y="1251822"/>
            <a:ext cx="0" cy="377190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1" name="Curved Down Arrow 120"/>
          <p:cNvSpPr/>
          <p:nvPr/>
        </p:nvSpPr>
        <p:spPr>
          <a:xfrm rot="5400000" flipV="1">
            <a:off x="1845130" y="2901013"/>
            <a:ext cx="990600" cy="304800"/>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122" name="Curved Down Arrow 121"/>
          <p:cNvSpPr/>
          <p:nvPr/>
        </p:nvSpPr>
        <p:spPr>
          <a:xfrm rot="5400000">
            <a:off x="2911924" y="3902502"/>
            <a:ext cx="838203" cy="304800"/>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123" name="Curved Down Arrow 122"/>
          <p:cNvSpPr/>
          <p:nvPr/>
        </p:nvSpPr>
        <p:spPr>
          <a:xfrm rot="5400000" flipV="1">
            <a:off x="266700" y="2258744"/>
            <a:ext cx="609602" cy="228601"/>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124" name="Curved Down Arrow 123"/>
          <p:cNvSpPr/>
          <p:nvPr/>
        </p:nvSpPr>
        <p:spPr>
          <a:xfrm rot="5400000">
            <a:off x="1181098" y="3173148"/>
            <a:ext cx="762004" cy="228600"/>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125" name="Curved Down Arrow 124"/>
          <p:cNvSpPr/>
          <p:nvPr/>
        </p:nvSpPr>
        <p:spPr>
          <a:xfrm rot="5400000">
            <a:off x="1333500" y="4163750"/>
            <a:ext cx="914400" cy="381000"/>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129" name="Rectangle 128"/>
          <p:cNvSpPr/>
          <p:nvPr/>
        </p:nvSpPr>
        <p:spPr>
          <a:xfrm>
            <a:off x="762000" y="3135046"/>
            <a:ext cx="7620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Event Simulation</a:t>
            </a:r>
            <a:endParaRPr lang="en-US" sz="800" b="1" dirty="0">
              <a:solidFill>
                <a:prstClr val="black">
                  <a:lumMod val="50000"/>
                </a:prstClr>
              </a:solidFill>
            </a:endParaRPr>
          </a:p>
        </p:txBody>
      </p:sp>
      <p:sp>
        <p:nvSpPr>
          <p:cNvPr id="130" name="Rectangle 129"/>
          <p:cNvSpPr/>
          <p:nvPr/>
        </p:nvSpPr>
        <p:spPr>
          <a:xfrm>
            <a:off x="3670299" y="1974701"/>
            <a:ext cx="6858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black">
                    <a:lumMod val="50000"/>
                  </a:prstClr>
                </a:solidFill>
              </a:rPr>
              <a:t>Outage</a:t>
            </a:r>
            <a:endParaRPr lang="en-US" sz="900" dirty="0">
              <a:solidFill>
                <a:prstClr val="black">
                  <a:lumMod val="50000"/>
                </a:prstClr>
              </a:solidFill>
            </a:endParaRPr>
          </a:p>
        </p:txBody>
      </p:sp>
      <p:sp>
        <p:nvSpPr>
          <p:cNvPr id="131" name="Rectangle 130"/>
          <p:cNvSpPr/>
          <p:nvPr/>
        </p:nvSpPr>
        <p:spPr>
          <a:xfrm>
            <a:off x="2645226" y="3853514"/>
            <a:ext cx="8382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Mobilization</a:t>
            </a:r>
          </a:p>
        </p:txBody>
      </p:sp>
      <p:sp>
        <p:nvSpPr>
          <p:cNvPr id="136" name="Rectangle 135"/>
          <p:cNvSpPr/>
          <p:nvPr/>
        </p:nvSpPr>
        <p:spPr>
          <a:xfrm>
            <a:off x="609600" y="2296850"/>
            <a:ext cx="9144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Storm Role Planning</a:t>
            </a:r>
            <a:endParaRPr lang="en-US" sz="800" b="1" dirty="0">
              <a:solidFill>
                <a:prstClr val="black">
                  <a:lumMod val="50000"/>
                </a:prstClr>
              </a:solidFill>
            </a:endParaRPr>
          </a:p>
        </p:txBody>
      </p:sp>
      <p:sp>
        <p:nvSpPr>
          <p:cNvPr id="137" name="Rectangle 136"/>
          <p:cNvSpPr/>
          <p:nvPr/>
        </p:nvSpPr>
        <p:spPr>
          <a:xfrm>
            <a:off x="729340" y="3962362"/>
            <a:ext cx="9144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Restoration Priorities</a:t>
            </a:r>
          </a:p>
        </p:txBody>
      </p:sp>
      <p:sp>
        <p:nvSpPr>
          <p:cNvPr id="138" name="Rectangle 137"/>
          <p:cNvSpPr/>
          <p:nvPr/>
        </p:nvSpPr>
        <p:spPr>
          <a:xfrm>
            <a:off x="2906482" y="2492795"/>
            <a:ext cx="762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Incident Command System (ICS)</a:t>
            </a:r>
          </a:p>
        </p:txBody>
      </p:sp>
      <p:sp>
        <p:nvSpPr>
          <p:cNvPr id="140" name="Rectangle 139"/>
          <p:cNvSpPr/>
          <p:nvPr/>
        </p:nvSpPr>
        <p:spPr>
          <a:xfrm>
            <a:off x="3951512" y="3075603"/>
            <a:ext cx="10668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prstClr val="black">
                    <a:lumMod val="50000"/>
                  </a:prstClr>
                </a:solidFill>
              </a:rPr>
              <a:t>OMS</a:t>
            </a:r>
            <a:endParaRPr lang="en-US" sz="900" b="1" dirty="0">
              <a:solidFill>
                <a:prstClr val="black">
                  <a:lumMod val="50000"/>
                </a:prstClr>
              </a:solidFill>
            </a:endParaRPr>
          </a:p>
        </p:txBody>
      </p:sp>
      <p:sp>
        <p:nvSpPr>
          <p:cNvPr id="141" name="Rectangle 140"/>
          <p:cNvSpPr/>
          <p:nvPr/>
        </p:nvSpPr>
        <p:spPr>
          <a:xfrm>
            <a:off x="5301334" y="2884685"/>
            <a:ext cx="882162" cy="2068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Outage Closeout</a:t>
            </a:r>
            <a:endParaRPr lang="en-US" sz="800" b="1" dirty="0">
              <a:solidFill>
                <a:prstClr val="black">
                  <a:lumMod val="50000"/>
                </a:prstClr>
              </a:solidFill>
            </a:endParaRPr>
          </a:p>
        </p:txBody>
      </p:sp>
      <p:sp>
        <p:nvSpPr>
          <p:cNvPr id="142" name="Rectangle 141"/>
          <p:cNvSpPr/>
          <p:nvPr/>
        </p:nvSpPr>
        <p:spPr>
          <a:xfrm>
            <a:off x="7622413" y="2427872"/>
            <a:ext cx="6858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Lessons Learned</a:t>
            </a:r>
          </a:p>
        </p:txBody>
      </p:sp>
      <p:sp>
        <p:nvSpPr>
          <p:cNvPr id="144" name="Rectangle 143"/>
          <p:cNvSpPr/>
          <p:nvPr/>
        </p:nvSpPr>
        <p:spPr>
          <a:xfrm>
            <a:off x="6932968" y="3690644"/>
            <a:ext cx="10668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Stakeholder Reporting</a:t>
            </a:r>
            <a:endParaRPr lang="en-US" sz="800" b="1" dirty="0">
              <a:solidFill>
                <a:prstClr val="black">
                  <a:lumMod val="50000"/>
                </a:prstClr>
              </a:solidFill>
            </a:endParaRPr>
          </a:p>
        </p:txBody>
      </p:sp>
      <p:sp>
        <p:nvSpPr>
          <p:cNvPr id="146" name="Rectangle 145"/>
          <p:cNvSpPr/>
          <p:nvPr/>
        </p:nvSpPr>
        <p:spPr>
          <a:xfrm>
            <a:off x="1981200" y="1904256"/>
            <a:ext cx="783772"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Storm Predictive Modeling</a:t>
            </a:r>
          </a:p>
        </p:txBody>
      </p:sp>
      <p:sp>
        <p:nvSpPr>
          <p:cNvPr id="147" name="Curved Right Arrow 146"/>
          <p:cNvSpPr/>
          <p:nvPr/>
        </p:nvSpPr>
        <p:spPr>
          <a:xfrm rot="18926910">
            <a:off x="4481611" y="3781264"/>
            <a:ext cx="457200" cy="1015766"/>
          </a:xfrm>
          <a:prstGeom prst="curvedRight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150" name="Rectangle 149"/>
          <p:cNvSpPr/>
          <p:nvPr/>
        </p:nvSpPr>
        <p:spPr>
          <a:xfrm>
            <a:off x="3744688" y="4419562"/>
            <a:ext cx="9144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Damage Assessment &amp; Site Safety</a:t>
            </a:r>
          </a:p>
        </p:txBody>
      </p:sp>
      <p:pic>
        <p:nvPicPr>
          <p:cNvPr id="151" name="Picture 6" descr="C:\Users\claudio.pinto\Desktop\MC900433941.PNG"/>
          <p:cNvPicPr>
            <a:picLocks noChangeAspect="1" noChangeArrowheads="1"/>
          </p:cNvPicPr>
          <p:nvPr/>
        </p:nvPicPr>
        <p:blipFill>
          <a:blip r:embed="rId3" cstate="print"/>
          <a:srcRect/>
          <a:stretch>
            <a:fillRect/>
          </a:stretch>
        </p:blipFill>
        <p:spPr bwMode="auto">
          <a:xfrm>
            <a:off x="4865910" y="2928645"/>
            <a:ext cx="533400" cy="533400"/>
          </a:xfrm>
          <a:prstGeom prst="rect">
            <a:avLst/>
          </a:prstGeom>
          <a:noFill/>
        </p:spPr>
      </p:pic>
      <p:sp>
        <p:nvSpPr>
          <p:cNvPr id="152" name="Rectangle 151"/>
          <p:cNvSpPr/>
          <p:nvPr/>
        </p:nvSpPr>
        <p:spPr>
          <a:xfrm>
            <a:off x="4713510" y="3592250"/>
            <a:ext cx="8382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Work Planning &amp; Dispatch</a:t>
            </a:r>
            <a:endParaRPr lang="en-US" sz="800" b="1" dirty="0">
              <a:solidFill>
                <a:prstClr val="black">
                  <a:lumMod val="50000"/>
                </a:prstClr>
              </a:solidFill>
            </a:endParaRPr>
          </a:p>
        </p:txBody>
      </p:sp>
      <p:sp>
        <p:nvSpPr>
          <p:cNvPr id="153" name="Curved Up Arrow 152"/>
          <p:cNvSpPr/>
          <p:nvPr/>
        </p:nvSpPr>
        <p:spPr>
          <a:xfrm rot="16902140">
            <a:off x="5394734" y="3400267"/>
            <a:ext cx="1690902" cy="551349"/>
          </a:xfrm>
          <a:prstGeom prst="curvedUpArrow">
            <a:avLst>
              <a:gd name="adj1" fmla="val 25000"/>
              <a:gd name="adj2" fmla="val 45848"/>
              <a:gd name="adj3" fmla="val 25000"/>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154" name="Curved Down Arrow 153"/>
          <p:cNvSpPr/>
          <p:nvPr/>
        </p:nvSpPr>
        <p:spPr>
          <a:xfrm rot="10800000" flipH="1" flipV="1">
            <a:off x="6324600" y="1076237"/>
            <a:ext cx="990600" cy="382415"/>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solidFill>
            </a:endParaRPr>
          </a:p>
        </p:txBody>
      </p:sp>
      <p:sp>
        <p:nvSpPr>
          <p:cNvPr id="155" name="Curved Down Arrow 154"/>
          <p:cNvSpPr/>
          <p:nvPr/>
        </p:nvSpPr>
        <p:spPr>
          <a:xfrm rot="10800000" flipH="1" flipV="1">
            <a:off x="3200400" y="1076237"/>
            <a:ext cx="1066800" cy="382415"/>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solidFill>
            </a:endParaRPr>
          </a:p>
        </p:txBody>
      </p:sp>
      <p:sp>
        <p:nvSpPr>
          <p:cNvPr id="156" name="Curved Down Arrow 155"/>
          <p:cNvSpPr/>
          <p:nvPr/>
        </p:nvSpPr>
        <p:spPr>
          <a:xfrm rot="10800000" flipH="1" flipV="1">
            <a:off x="1600201" y="1076237"/>
            <a:ext cx="990600" cy="382415"/>
          </a:xfrm>
          <a:prstGeom prst="curvedDown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solidFill>
            </a:endParaRPr>
          </a:p>
        </p:txBody>
      </p:sp>
      <p:sp>
        <p:nvSpPr>
          <p:cNvPr id="158" name="Rectangle 157"/>
          <p:cNvSpPr/>
          <p:nvPr/>
        </p:nvSpPr>
        <p:spPr>
          <a:xfrm>
            <a:off x="5464628" y="4071220"/>
            <a:ext cx="9906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Mobile </a:t>
            </a:r>
          </a:p>
          <a:p>
            <a:pPr algn="ctr"/>
            <a:r>
              <a:rPr lang="en-US" sz="800" b="1" dirty="0">
                <a:solidFill>
                  <a:prstClr val="black">
                    <a:lumMod val="50000"/>
                  </a:prstClr>
                </a:solidFill>
              </a:rPr>
              <a:t>D</a:t>
            </a:r>
            <a:r>
              <a:rPr lang="en-US" sz="800" b="1" dirty="0" smtClean="0">
                <a:solidFill>
                  <a:prstClr val="black">
                    <a:lumMod val="50000"/>
                  </a:prstClr>
                </a:solidFill>
              </a:rPr>
              <a:t>evice</a:t>
            </a:r>
            <a:endParaRPr lang="en-US" sz="800" b="1" dirty="0">
              <a:solidFill>
                <a:prstClr val="black">
                  <a:lumMod val="50000"/>
                </a:prstClr>
              </a:solidFill>
            </a:endParaRPr>
          </a:p>
        </p:txBody>
      </p:sp>
      <p:pic>
        <p:nvPicPr>
          <p:cNvPr id="160" name="Picture 5" descr="C:\Users\claudio.pinto\Desktop\MC900433953.PNG"/>
          <p:cNvPicPr>
            <a:picLocks noChangeAspect="1" noChangeArrowheads="1"/>
          </p:cNvPicPr>
          <p:nvPr/>
        </p:nvPicPr>
        <p:blipFill>
          <a:blip r:embed="rId12" cstate="print"/>
          <a:srcRect/>
          <a:stretch>
            <a:fillRect/>
          </a:stretch>
        </p:blipFill>
        <p:spPr bwMode="auto">
          <a:xfrm>
            <a:off x="7816544" y="1902062"/>
            <a:ext cx="402168" cy="402168"/>
          </a:xfrm>
          <a:prstGeom prst="rect">
            <a:avLst/>
          </a:prstGeom>
          <a:noFill/>
        </p:spPr>
      </p:pic>
      <p:pic>
        <p:nvPicPr>
          <p:cNvPr id="165"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5714992" y="2427484"/>
            <a:ext cx="304800" cy="304800"/>
          </a:xfrm>
          <a:prstGeom prst="rect">
            <a:avLst/>
          </a:prstGeom>
          <a:noFill/>
        </p:spPr>
      </p:pic>
      <p:pic>
        <p:nvPicPr>
          <p:cNvPr id="166" name="Picture 10" descr="C:\Users\claudio.pinto\Desktop\MC900432599.PNG"/>
          <p:cNvPicPr>
            <a:picLocks noChangeAspect="1" noChangeArrowheads="1"/>
          </p:cNvPicPr>
          <p:nvPr/>
        </p:nvPicPr>
        <p:blipFill>
          <a:blip r:embed="rId2" cstate="print"/>
          <a:srcRect/>
          <a:stretch>
            <a:fillRect/>
          </a:stretch>
        </p:blipFill>
        <p:spPr bwMode="auto">
          <a:xfrm rot="10800000" flipH="1" flipV="1">
            <a:off x="5867392" y="2579884"/>
            <a:ext cx="304800" cy="304800"/>
          </a:xfrm>
          <a:prstGeom prst="rect">
            <a:avLst/>
          </a:prstGeom>
          <a:noFill/>
        </p:spPr>
      </p:pic>
      <p:sp>
        <p:nvSpPr>
          <p:cNvPr id="168" name="Rectangle 167"/>
          <p:cNvSpPr/>
          <p:nvPr/>
        </p:nvSpPr>
        <p:spPr>
          <a:xfrm>
            <a:off x="4607424" y="4125650"/>
            <a:ext cx="9906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ETR</a:t>
            </a:r>
          </a:p>
        </p:txBody>
      </p:sp>
      <p:cxnSp>
        <p:nvCxnSpPr>
          <p:cNvPr id="171" name="Straight Connector 170"/>
          <p:cNvCxnSpPr/>
          <p:nvPr/>
        </p:nvCxnSpPr>
        <p:spPr>
          <a:xfrm>
            <a:off x="3681185" y="1263614"/>
            <a:ext cx="0" cy="377190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6747701" y="1254965"/>
            <a:ext cx="0" cy="377190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3" name="Rectangle 172"/>
          <p:cNvSpPr/>
          <p:nvPr/>
        </p:nvSpPr>
        <p:spPr>
          <a:xfrm>
            <a:off x="293915" y="4550191"/>
            <a:ext cx="9144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Storm Readiness</a:t>
            </a:r>
          </a:p>
        </p:txBody>
      </p:sp>
      <p:pic>
        <p:nvPicPr>
          <p:cNvPr id="174" name="Picture 8" descr="C:\Users\claudio.pinto\Desktop\MC900432625.PNG"/>
          <p:cNvPicPr>
            <a:picLocks noChangeAspect="1" noChangeArrowheads="1"/>
          </p:cNvPicPr>
          <p:nvPr/>
        </p:nvPicPr>
        <p:blipFill>
          <a:blip r:embed="rId13" cstate="print"/>
          <a:srcRect/>
          <a:stretch>
            <a:fillRect/>
          </a:stretch>
        </p:blipFill>
        <p:spPr bwMode="auto">
          <a:xfrm rot="10800000" flipH="1" flipV="1">
            <a:off x="1208311" y="1865848"/>
            <a:ext cx="402168" cy="402168"/>
          </a:xfrm>
          <a:prstGeom prst="rect">
            <a:avLst/>
          </a:prstGeom>
          <a:noFill/>
        </p:spPr>
      </p:pic>
      <p:pic>
        <p:nvPicPr>
          <p:cNvPr id="175" name="Picture 5" descr="C:\Users\claudio.pinto\Desktop\MC900433953.PNG"/>
          <p:cNvPicPr>
            <a:picLocks noChangeAspect="1" noChangeArrowheads="1"/>
          </p:cNvPicPr>
          <p:nvPr/>
        </p:nvPicPr>
        <p:blipFill>
          <a:blip r:embed="rId12" cstate="print"/>
          <a:srcRect/>
          <a:stretch>
            <a:fillRect/>
          </a:stretch>
        </p:blipFill>
        <p:spPr bwMode="auto">
          <a:xfrm>
            <a:off x="833362" y="1785829"/>
            <a:ext cx="402168" cy="402168"/>
          </a:xfrm>
          <a:prstGeom prst="rect">
            <a:avLst/>
          </a:prstGeom>
          <a:noFill/>
        </p:spPr>
      </p:pic>
      <p:pic>
        <p:nvPicPr>
          <p:cNvPr id="176" name="Picture 5" descr="C:\Users\claudio.pinto\Desktop\MC900433953.PNG"/>
          <p:cNvPicPr>
            <a:picLocks noChangeAspect="1" noChangeArrowheads="1"/>
          </p:cNvPicPr>
          <p:nvPr/>
        </p:nvPicPr>
        <p:blipFill>
          <a:blip r:embed="rId12" cstate="print"/>
          <a:srcRect/>
          <a:stretch>
            <a:fillRect/>
          </a:stretch>
        </p:blipFill>
        <p:spPr bwMode="auto">
          <a:xfrm>
            <a:off x="2737156" y="2940761"/>
            <a:ext cx="402168" cy="402168"/>
          </a:xfrm>
          <a:prstGeom prst="rect">
            <a:avLst/>
          </a:prstGeom>
          <a:noFill/>
        </p:spPr>
      </p:pic>
      <p:pic>
        <p:nvPicPr>
          <p:cNvPr id="177" name="Picture 8" descr="C:\Users\claudio.pinto\Desktop\MC900432625.PNG"/>
          <p:cNvPicPr>
            <a:picLocks noChangeAspect="1" noChangeArrowheads="1"/>
          </p:cNvPicPr>
          <p:nvPr/>
        </p:nvPicPr>
        <p:blipFill>
          <a:blip r:embed="rId13" cstate="print"/>
          <a:srcRect/>
          <a:stretch>
            <a:fillRect/>
          </a:stretch>
        </p:blipFill>
        <p:spPr bwMode="auto">
          <a:xfrm rot="10800000" flipH="1" flipV="1">
            <a:off x="2857500" y="3202020"/>
            <a:ext cx="402168" cy="402168"/>
          </a:xfrm>
          <a:prstGeom prst="rect">
            <a:avLst/>
          </a:prstGeom>
          <a:noFill/>
        </p:spPr>
      </p:pic>
      <p:sp>
        <p:nvSpPr>
          <p:cNvPr id="178" name="Rectangle 177"/>
          <p:cNvSpPr/>
          <p:nvPr/>
        </p:nvSpPr>
        <p:spPr>
          <a:xfrm>
            <a:off x="4180112" y="2558530"/>
            <a:ext cx="8382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Outage Analysis &amp; Prediction</a:t>
            </a:r>
            <a:endParaRPr lang="en-US" sz="800" b="1" dirty="0">
              <a:solidFill>
                <a:prstClr val="black">
                  <a:lumMod val="50000"/>
                </a:prstClr>
              </a:solidFill>
            </a:endParaRPr>
          </a:p>
        </p:txBody>
      </p:sp>
      <p:sp>
        <p:nvSpPr>
          <p:cNvPr id="179" name="Rectangle 178"/>
          <p:cNvSpPr/>
          <p:nvPr/>
        </p:nvSpPr>
        <p:spPr>
          <a:xfrm>
            <a:off x="4942110" y="4763400"/>
            <a:ext cx="9144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Outage Restoration</a:t>
            </a:r>
          </a:p>
        </p:txBody>
      </p:sp>
      <p:sp>
        <p:nvSpPr>
          <p:cNvPr id="180" name="Rectangle 179"/>
          <p:cNvSpPr/>
          <p:nvPr/>
        </p:nvSpPr>
        <p:spPr>
          <a:xfrm>
            <a:off x="7175515" y="2895564"/>
            <a:ext cx="1019603" cy="195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After Action Implementation</a:t>
            </a:r>
          </a:p>
        </p:txBody>
      </p:sp>
      <p:sp>
        <p:nvSpPr>
          <p:cNvPr id="181" name="Rectangle 180"/>
          <p:cNvSpPr/>
          <p:nvPr/>
        </p:nvSpPr>
        <p:spPr>
          <a:xfrm>
            <a:off x="7643559" y="3973386"/>
            <a:ext cx="781982" cy="224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Predictive Model Update</a:t>
            </a:r>
            <a:endParaRPr lang="en-US" sz="800" b="1" dirty="0">
              <a:solidFill>
                <a:prstClr val="black">
                  <a:lumMod val="50000"/>
                </a:prstClr>
              </a:solidFill>
            </a:endParaRPr>
          </a:p>
        </p:txBody>
      </p:sp>
      <p:pic>
        <p:nvPicPr>
          <p:cNvPr id="182" name="Picture 8" descr="C:\Users\claudio.pinto\Desktop\MC900432625.PNG"/>
          <p:cNvPicPr>
            <a:picLocks noChangeAspect="1" noChangeArrowheads="1"/>
          </p:cNvPicPr>
          <p:nvPr/>
        </p:nvPicPr>
        <p:blipFill>
          <a:blip r:embed="rId13" cstate="print"/>
          <a:srcRect/>
          <a:stretch>
            <a:fillRect/>
          </a:stretch>
        </p:blipFill>
        <p:spPr bwMode="auto">
          <a:xfrm rot="10800000" flipH="1" flipV="1">
            <a:off x="7752647" y="3266761"/>
            <a:ext cx="347510" cy="347510"/>
          </a:xfrm>
          <a:prstGeom prst="rect">
            <a:avLst/>
          </a:prstGeom>
          <a:noFill/>
        </p:spPr>
      </p:pic>
      <p:pic>
        <p:nvPicPr>
          <p:cNvPr id="183" name="Picture 9" descr="C:\Users\claudio.pinto\Desktop\MC900432622.PNG"/>
          <p:cNvPicPr>
            <a:picLocks noChangeAspect="1" noChangeArrowheads="1"/>
          </p:cNvPicPr>
          <p:nvPr/>
        </p:nvPicPr>
        <p:blipFill>
          <a:blip r:embed="rId14" cstate="print"/>
          <a:srcRect/>
          <a:stretch>
            <a:fillRect/>
          </a:stretch>
        </p:blipFill>
        <p:spPr bwMode="auto">
          <a:xfrm>
            <a:off x="7466368" y="3249775"/>
            <a:ext cx="329823" cy="329823"/>
          </a:xfrm>
          <a:prstGeom prst="rect">
            <a:avLst/>
          </a:prstGeom>
          <a:noFill/>
        </p:spPr>
      </p:pic>
      <p:pic>
        <p:nvPicPr>
          <p:cNvPr id="184" name="Picture 11" descr="C:\Users\claudio.pinto\Desktop\MC900431640.PNG"/>
          <p:cNvPicPr>
            <a:picLocks noChangeAspect="1" noChangeArrowheads="1"/>
          </p:cNvPicPr>
          <p:nvPr/>
        </p:nvPicPr>
        <p:blipFill>
          <a:blip r:embed="rId10" cstate="print"/>
          <a:srcRect/>
          <a:stretch>
            <a:fillRect/>
          </a:stretch>
        </p:blipFill>
        <p:spPr bwMode="auto">
          <a:xfrm flipH="1">
            <a:off x="7182927" y="3249775"/>
            <a:ext cx="329823" cy="329823"/>
          </a:xfrm>
          <a:prstGeom prst="rect">
            <a:avLst/>
          </a:prstGeom>
          <a:noFill/>
        </p:spPr>
      </p:pic>
      <p:pic>
        <p:nvPicPr>
          <p:cNvPr id="185" name="Picture 6" descr="C:\Users\claudio.pinto\Desktop\MC900441705.PNG"/>
          <p:cNvPicPr>
            <a:picLocks noChangeAspect="1" noChangeArrowheads="1"/>
          </p:cNvPicPr>
          <p:nvPr/>
        </p:nvPicPr>
        <p:blipFill>
          <a:blip r:embed="rId5" cstate="print"/>
          <a:srcRect/>
          <a:stretch>
            <a:fillRect/>
          </a:stretch>
        </p:blipFill>
        <p:spPr bwMode="auto">
          <a:xfrm>
            <a:off x="7393189" y="4278050"/>
            <a:ext cx="609600" cy="609600"/>
          </a:xfrm>
          <a:prstGeom prst="rect">
            <a:avLst/>
          </a:prstGeom>
          <a:noFill/>
        </p:spPr>
      </p:pic>
      <p:sp>
        <p:nvSpPr>
          <p:cNvPr id="111" name="Rounded Rectangle 110"/>
          <p:cNvSpPr/>
          <p:nvPr/>
        </p:nvSpPr>
        <p:spPr>
          <a:xfrm>
            <a:off x="533400" y="5133201"/>
            <a:ext cx="1295400" cy="457200"/>
          </a:xfrm>
          <a:prstGeom prst="roundRect">
            <a:avLst/>
          </a:prstGeom>
          <a:solidFill>
            <a:schemeClr val="tx1">
              <a:lumMod val="40000"/>
              <a:lumOff val="60000"/>
            </a:schemeClr>
          </a:solidFill>
          <a:ln w="12700">
            <a:solidFill>
              <a:schemeClr val="tx1"/>
            </a:solidFill>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b="1" dirty="0" smtClean="0">
                <a:solidFill>
                  <a:prstClr val="black">
                    <a:lumMod val="50000"/>
                  </a:prstClr>
                </a:solidFill>
                <a:latin typeface="Arial Narrow" pitchFamily="34" charset="0"/>
              </a:rPr>
              <a:t>Outage Communications</a:t>
            </a:r>
          </a:p>
        </p:txBody>
      </p:sp>
      <p:pic>
        <p:nvPicPr>
          <p:cNvPr id="112" name="Picture 4" descr="C:\Users\claudio.pinto\Desktop\MC900434874.PNG"/>
          <p:cNvPicPr>
            <a:picLocks noChangeAspect="1" noChangeArrowheads="1"/>
          </p:cNvPicPr>
          <p:nvPr/>
        </p:nvPicPr>
        <p:blipFill>
          <a:blip r:embed="rId15" cstate="print"/>
          <a:srcRect/>
          <a:stretch>
            <a:fillRect/>
          </a:stretch>
        </p:blipFill>
        <p:spPr bwMode="auto">
          <a:xfrm>
            <a:off x="1918610" y="5407879"/>
            <a:ext cx="457200" cy="457200"/>
          </a:xfrm>
          <a:prstGeom prst="rect">
            <a:avLst/>
          </a:prstGeom>
          <a:noFill/>
        </p:spPr>
      </p:pic>
      <p:pic>
        <p:nvPicPr>
          <p:cNvPr id="113" name="Picture 112" descr="C:\Users\claudio.pinto\Desktop\MC900442124.PNG"/>
          <p:cNvPicPr>
            <a:picLocks noChangeAspect="1" noChangeArrowheads="1"/>
          </p:cNvPicPr>
          <p:nvPr/>
        </p:nvPicPr>
        <p:blipFill>
          <a:blip r:embed="rId16" cstate="print"/>
          <a:srcRect/>
          <a:stretch>
            <a:fillRect/>
          </a:stretch>
        </p:blipFill>
        <p:spPr bwMode="auto">
          <a:xfrm>
            <a:off x="1842410" y="5865079"/>
            <a:ext cx="304800" cy="304800"/>
          </a:xfrm>
          <a:prstGeom prst="rect">
            <a:avLst/>
          </a:prstGeom>
          <a:noFill/>
        </p:spPr>
      </p:pic>
      <p:pic>
        <p:nvPicPr>
          <p:cNvPr id="114" name="Picture 113" descr="C:\Users\claudio.pinto\Desktop\MC900442135.PNG"/>
          <p:cNvPicPr>
            <a:picLocks noChangeAspect="1" noChangeArrowheads="1"/>
          </p:cNvPicPr>
          <p:nvPr/>
        </p:nvPicPr>
        <p:blipFill>
          <a:blip r:embed="rId17" cstate="print"/>
          <a:srcRect/>
          <a:stretch>
            <a:fillRect/>
          </a:stretch>
        </p:blipFill>
        <p:spPr bwMode="auto">
          <a:xfrm>
            <a:off x="2147210" y="5865079"/>
            <a:ext cx="304800" cy="304800"/>
          </a:xfrm>
          <a:prstGeom prst="rect">
            <a:avLst/>
          </a:prstGeom>
          <a:noFill/>
        </p:spPr>
      </p:pic>
      <p:pic>
        <p:nvPicPr>
          <p:cNvPr id="115" name="Picture 3" descr="C:\Users\claudio.pinto\Desktop\MC900434894.PNG"/>
          <p:cNvPicPr>
            <a:picLocks noChangeAspect="1" noChangeArrowheads="1"/>
          </p:cNvPicPr>
          <p:nvPr/>
        </p:nvPicPr>
        <p:blipFill>
          <a:blip r:embed="rId6" cstate="print"/>
          <a:srcRect/>
          <a:stretch>
            <a:fillRect/>
          </a:stretch>
        </p:blipFill>
        <p:spPr bwMode="auto">
          <a:xfrm>
            <a:off x="3884182" y="5211945"/>
            <a:ext cx="365760" cy="409196"/>
          </a:xfrm>
          <a:prstGeom prst="rect">
            <a:avLst/>
          </a:prstGeom>
          <a:noFill/>
        </p:spPr>
      </p:pic>
      <p:pic>
        <p:nvPicPr>
          <p:cNvPr id="116" name="Picture 7" descr="C:\Users\claudio.pinto\Desktop\MC900433932.PNG"/>
          <p:cNvPicPr>
            <a:picLocks noChangeAspect="1" noChangeArrowheads="1"/>
          </p:cNvPicPr>
          <p:nvPr/>
        </p:nvPicPr>
        <p:blipFill>
          <a:blip r:embed="rId4" cstate="print"/>
          <a:srcRect/>
          <a:stretch>
            <a:fillRect/>
          </a:stretch>
        </p:blipFill>
        <p:spPr bwMode="auto">
          <a:xfrm>
            <a:off x="3210555" y="5211945"/>
            <a:ext cx="426720" cy="426720"/>
          </a:xfrm>
          <a:prstGeom prst="rect">
            <a:avLst/>
          </a:prstGeom>
          <a:noFill/>
        </p:spPr>
      </p:pic>
      <p:pic>
        <p:nvPicPr>
          <p:cNvPr id="117" name="Picture 16" descr="C:\Users\claudio.pinto\Desktop\MC900434813.PNG"/>
          <p:cNvPicPr>
            <a:picLocks noChangeAspect="1" noChangeArrowheads="1"/>
          </p:cNvPicPr>
          <p:nvPr/>
        </p:nvPicPr>
        <p:blipFill>
          <a:blip r:embed="rId18" cstate="print"/>
          <a:srcRect/>
          <a:stretch>
            <a:fillRect/>
          </a:stretch>
        </p:blipFill>
        <p:spPr bwMode="auto">
          <a:xfrm>
            <a:off x="4042321" y="5820551"/>
            <a:ext cx="457200" cy="457200"/>
          </a:xfrm>
          <a:prstGeom prst="rect">
            <a:avLst/>
          </a:prstGeom>
          <a:noFill/>
        </p:spPr>
      </p:pic>
      <p:pic>
        <p:nvPicPr>
          <p:cNvPr id="119" name="Picture 20" descr="C:\Users\claudio.pinto\Desktop\MC900433928.PNG"/>
          <p:cNvPicPr>
            <a:picLocks noChangeAspect="1" noChangeArrowheads="1"/>
          </p:cNvPicPr>
          <p:nvPr/>
        </p:nvPicPr>
        <p:blipFill>
          <a:blip r:embed="rId19" cstate="print"/>
          <a:srcRect/>
          <a:stretch>
            <a:fillRect/>
          </a:stretch>
        </p:blipFill>
        <p:spPr bwMode="auto">
          <a:xfrm>
            <a:off x="3663296" y="5868051"/>
            <a:ext cx="413658" cy="413658"/>
          </a:xfrm>
          <a:prstGeom prst="rect">
            <a:avLst/>
          </a:prstGeom>
          <a:noFill/>
        </p:spPr>
      </p:pic>
      <p:pic>
        <p:nvPicPr>
          <p:cNvPr id="120" name="Picture 21" descr="C:\Users\claudio.pinto\Desktop\MC900433940.PNG"/>
          <p:cNvPicPr>
            <a:picLocks noChangeAspect="1" noChangeArrowheads="1"/>
          </p:cNvPicPr>
          <p:nvPr/>
        </p:nvPicPr>
        <p:blipFill>
          <a:blip r:embed="rId20" cstate="print"/>
          <a:srcRect/>
          <a:stretch>
            <a:fillRect/>
          </a:stretch>
        </p:blipFill>
        <p:spPr bwMode="auto">
          <a:xfrm>
            <a:off x="3358496" y="5868051"/>
            <a:ext cx="413658" cy="413658"/>
          </a:xfrm>
          <a:prstGeom prst="rect">
            <a:avLst/>
          </a:prstGeom>
          <a:noFill/>
        </p:spPr>
      </p:pic>
      <p:sp>
        <p:nvSpPr>
          <p:cNvPr id="135" name="Right Arrow 134"/>
          <p:cNvSpPr/>
          <p:nvPr/>
        </p:nvSpPr>
        <p:spPr>
          <a:xfrm>
            <a:off x="1309010" y="5788879"/>
            <a:ext cx="457200" cy="76200"/>
          </a:xfrm>
          <a:prstGeom prst="right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143" name="Right Arrow 142"/>
          <p:cNvSpPr/>
          <p:nvPr/>
        </p:nvSpPr>
        <p:spPr>
          <a:xfrm rot="1456737">
            <a:off x="2536286" y="5962677"/>
            <a:ext cx="519199" cy="95772"/>
          </a:xfrm>
          <a:prstGeom prst="right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pic>
        <p:nvPicPr>
          <p:cNvPr id="149" name="Picture 24" descr="C:\Users\claudio.pinto\Desktop\MC900434843.PNG"/>
          <p:cNvPicPr>
            <a:picLocks noChangeAspect="1" noChangeArrowheads="1"/>
          </p:cNvPicPr>
          <p:nvPr/>
        </p:nvPicPr>
        <p:blipFill>
          <a:blip r:embed="rId9" cstate="print"/>
          <a:srcRect/>
          <a:stretch>
            <a:fillRect/>
          </a:stretch>
        </p:blipFill>
        <p:spPr bwMode="auto">
          <a:xfrm>
            <a:off x="718210" y="5636479"/>
            <a:ext cx="436206" cy="436206"/>
          </a:xfrm>
          <a:prstGeom prst="rect">
            <a:avLst/>
          </a:prstGeom>
          <a:noFill/>
        </p:spPr>
      </p:pic>
      <p:sp>
        <p:nvSpPr>
          <p:cNvPr id="161" name="Rectangle 160"/>
          <p:cNvSpPr/>
          <p:nvPr/>
        </p:nvSpPr>
        <p:spPr>
          <a:xfrm>
            <a:off x="318410" y="6191651"/>
            <a:ext cx="12954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Outage Communications System</a:t>
            </a:r>
            <a:endParaRPr lang="en-US" sz="800" b="1" dirty="0">
              <a:solidFill>
                <a:prstClr val="black">
                  <a:lumMod val="50000"/>
                </a:prstClr>
              </a:solidFill>
            </a:endParaRPr>
          </a:p>
        </p:txBody>
      </p:sp>
      <p:sp>
        <p:nvSpPr>
          <p:cNvPr id="162" name="Rectangle 161"/>
          <p:cNvSpPr/>
          <p:nvPr/>
        </p:nvSpPr>
        <p:spPr>
          <a:xfrm>
            <a:off x="3098228" y="5571173"/>
            <a:ext cx="15240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Internal Communication</a:t>
            </a:r>
          </a:p>
        </p:txBody>
      </p:sp>
      <p:sp>
        <p:nvSpPr>
          <p:cNvPr id="163" name="Rectangle 162"/>
          <p:cNvSpPr/>
          <p:nvPr/>
        </p:nvSpPr>
        <p:spPr>
          <a:xfrm>
            <a:off x="1613810" y="6224309"/>
            <a:ext cx="10668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Channel Management</a:t>
            </a:r>
          </a:p>
        </p:txBody>
      </p:sp>
      <p:sp>
        <p:nvSpPr>
          <p:cNvPr id="167" name="Rectangle 166"/>
          <p:cNvSpPr/>
          <p:nvPr/>
        </p:nvSpPr>
        <p:spPr>
          <a:xfrm>
            <a:off x="2965634" y="6325251"/>
            <a:ext cx="18288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External Communication</a:t>
            </a:r>
          </a:p>
        </p:txBody>
      </p:sp>
      <p:pic>
        <p:nvPicPr>
          <p:cNvPr id="169" name="Picture 8" descr="C:\Users\claudio.pinto\Desktop\MC900432625.PNG"/>
          <p:cNvPicPr>
            <a:picLocks noChangeAspect="1" noChangeArrowheads="1"/>
          </p:cNvPicPr>
          <p:nvPr/>
        </p:nvPicPr>
        <p:blipFill>
          <a:blip r:embed="rId13" cstate="print"/>
          <a:srcRect/>
          <a:stretch>
            <a:fillRect/>
          </a:stretch>
        </p:blipFill>
        <p:spPr bwMode="auto">
          <a:xfrm rot="10800000" flipH="1" flipV="1">
            <a:off x="3546977" y="5245018"/>
            <a:ext cx="347510" cy="347510"/>
          </a:xfrm>
          <a:prstGeom prst="rect">
            <a:avLst/>
          </a:prstGeom>
          <a:noFill/>
        </p:spPr>
      </p:pic>
      <p:pic>
        <p:nvPicPr>
          <p:cNvPr id="170" name="Picture 8" descr="C:\Users\claudio.pinto\Desktop\MC900432625.PNG"/>
          <p:cNvPicPr>
            <a:picLocks noChangeAspect="1" noChangeArrowheads="1"/>
          </p:cNvPicPr>
          <p:nvPr/>
        </p:nvPicPr>
        <p:blipFill>
          <a:blip r:embed="rId13" cstate="print"/>
          <a:srcRect/>
          <a:stretch>
            <a:fillRect/>
          </a:stretch>
        </p:blipFill>
        <p:spPr bwMode="auto">
          <a:xfrm rot="10800000" flipH="1" flipV="1">
            <a:off x="3109799" y="5933368"/>
            <a:ext cx="347510" cy="347510"/>
          </a:xfrm>
          <a:prstGeom prst="rect">
            <a:avLst/>
          </a:prstGeom>
          <a:noFill/>
        </p:spPr>
      </p:pic>
      <p:sp>
        <p:nvSpPr>
          <p:cNvPr id="191" name="Right Arrow 190"/>
          <p:cNvSpPr/>
          <p:nvPr/>
        </p:nvSpPr>
        <p:spPr>
          <a:xfrm rot="20519690">
            <a:off x="2540230" y="5409494"/>
            <a:ext cx="657665" cy="120402"/>
          </a:xfrm>
          <a:prstGeom prst="right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cxnSp>
        <p:nvCxnSpPr>
          <p:cNvPr id="192" name="Straight Connector 191"/>
          <p:cNvCxnSpPr/>
          <p:nvPr/>
        </p:nvCxnSpPr>
        <p:spPr>
          <a:xfrm>
            <a:off x="492961" y="5026865"/>
            <a:ext cx="8229600" cy="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9" name="Picture 3" descr="C:\Users\claudio.pinto\Desktop\MC900434894.PNG"/>
          <p:cNvPicPr>
            <a:picLocks noChangeAspect="1" noChangeArrowheads="1"/>
          </p:cNvPicPr>
          <p:nvPr/>
        </p:nvPicPr>
        <p:blipFill>
          <a:blip r:embed="rId6" cstate="print">
            <a:lum/>
          </a:blip>
          <a:srcRect/>
          <a:stretch>
            <a:fillRect/>
          </a:stretch>
        </p:blipFill>
        <p:spPr bwMode="auto">
          <a:xfrm>
            <a:off x="2743200" y="4414184"/>
            <a:ext cx="457200" cy="511494"/>
          </a:xfrm>
          <a:prstGeom prst="rect">
            <a:avLst/>
          </a:prstGeom>
          <a:noFill/>
        </p:spPr>
      </p:pic>
      <p:pic>
        <p:nvPicPr>
          <p:cNvPr id="110" name="Picture 3" descr="C:\Users\claudio.pinto\Desktop\MC900434894.PNG"/>
          <p:cNvPicPr>
            <a:picLocks noChangeAspect="1" noChangeArrowheads="1"/>
          </p:cNvPicPr>
          <p:nvPr/>
        </p:nvPicPr>
        <p:blipFill>
          <a:blip r:embed="rId6" cstate="print">
            <a:lum bright="-40000"/>
          </a:blip>
          <a:srcRect/>
          <a:stretch>
            <a:fillRect/>
          </a:stretch>
        </p:blipFill>
        <p:spPr bwMode="auto">
          <a:xfrm>
            <a:off x="979715" y="4354250"/>
            <a:ext cx="457200" cy="511494"/>
          </a:xfrm>
          <a:prstGeom prst="rect">
            <a:avLst/>
          </a:prstGeom>
          <a:noFill/>
        </p:spPr>
      </p:pic>
      <p:pic>
        <p:nvPicPr>
          <p:cNvPr id="52" name="Picture 3" descr="C:\Users\claudio.pinto\Desktop\MC900434894.PNG"/>
          <p:cNvPicPr>
            <a:picLocks noChangeAspect="1" noChangeArrowheads="1"/>
          </p:cNvPicPr>
          <p:nvPr/>
        </p:nvPicPr>
        <p:blipFill>
          <a:blip r:embed="rId6" cstate="print"/>
          <a:srcRect/>
          <a:stretch>
            <a:fillRect/>
          </a:stretch>
        </p:blipFill>
        <p:spPr bwMode="auto">
          <a:xfrm>
            <a:off x="1208315" y="4550192"/>
            <a:ext cx="408668" cy="457199"/>
          </a:xfrm>
          <a:prstGeom prst="rect">
            <a:avLst/>
          </a:prstGeom>
          <a:noFill/>
        </p:spPr>
      </p:pic>
      <p:sp>
        <p:nvSpPr>
          <p:cNvPr id="132" name="Rounded Rectangle 131"/>
          <p:cNvSpPr/>
          <p:nvPr/>
        </p:nvSpPr>
        <p:spPr>
          <a:xfrm>
            <a:off x="7013969" y="5131291"/>
            <a:ext cx="1676400" cy="457200"/>
          </a:xfrm>
          <a:prstGeom prst="roundRect">
            <a:avLst/>
          </a:prstGeom>
          <a:solidFill>
            <a:schemeClr val="tx1">
              <a:lumMod val="40000"/>
              <a:lumOff val="60000"/>
            </a:schemeClr>
          </a:solidFill>
          <a:ln w="12700">
            <a:solidFill>
              <a:schemeClr val="tx1"/>
            </a:solidFill>
          </a:ln>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b="1" dirty="0" smtClean="0">
                <a:solidFill>
                  <a:prstClr val="black">
                    <a:lumMod val="50000"/>
                  </a:prstClr>
                </a:solidFill>
                <a:latin typeface="Arial Narrow" pitchFamily="34" charset="0"/>
              </a:rPr>
              <a:t>Integrated  Services Operations</a:t>
            </a:r>
          </a:p>
        </p:txBody>
      </p:sp>
      <p:sp>
        <p:nvSpPr>
          <p:cNvPr id="195" name="Rectangle 194"/>
          <p:cNvSpPr/>
          <p:nvPr/>
        </p:nvSpPr>
        <p:spPr>
          <a:xfrm>
            <a:off x="7242020" y="6200775"/>
            <a:ext cx="12954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Services Operations Center</a:t>
            </a:r>
            <a:endParaRPr lang="en-US" sz="800" b="1" dirty="0">
              <a:solidFill>
                <a:prstClr val="black">
                  <a:lumMod val="50000"/>
                </a:prstClr>
              </a:solidFill>
            </a:endParaRPr>
          </a:p>
        </p:txBody>
      </p:sp>
      <p:pic>
        <p:nvPicPr>
          <p:cNvPr id="202" name="Picture 6" descr="C:\Users\claudio.pinto\Desktop\MC900433941.PNG"/>
          <p:cNvPicPr>
            <a:picLocks noChangeAspect="1" noChangeArrowheads="1"/>
          </p:cNvPicPr>
          <p:nvPr/>
        </p:nvPicPr>
        <p:blipFill>
          <a:blip r:embed="rId3" cstate="print"/>
          <a:srcRect/>
          <a:stretch>
            <a:fillRect/>
          </a:stretch>
        </p:blipFill>
        <p:spPr bwMode="auto">
          <a:xfrm>
            <a:off x="7579754" y="5600854"/>
            <a:ext cx="533400" cy="533400"/>
          </a:xfrm>
          <a:prstGeom prst="rect">
            <a:avLst/>
          </a:prstGeom>
          <a:noFill/>
        </p:spPr>
      </p:pic>
      <p:pic>
        <p:nvPicPr>
          <p:cNvPr id="1026"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571943" y="5149968"/>
            <a:ext cx="343805" cy="472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174675" y="5633673"/>
            <a:ext cx="475623" cy="491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915748" y="5628591"/>
            <a:ext cx="295275"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602635" y="6188559"/>
            <a:ext cx="345418" cy="345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3" name="Right Arrow 202"/>
          <p:cNvSpPr/>
          <p:nvPr/>
        </p:nvSpPr>
        <p:spPr>
          <a:xfrm>
            <a:off x="6329304" y="5772554"/>
            <a:ext cx="866219" cy="112294"/>
          </a:xfrm>
          <a:prstGeom prst="rightArrow">
            <a:avLst/>
          </a:prstGeom>
          <a:solidFill>
            <a:schemeClr val="bg2"/>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black">
                  <a:lumMod val="50000"/>
                </a:prstClr>
              </a:solidFill>
            </a:endParaRPr>
          </a:p>
        </p:txBody>
      </p:sp>
      <p:sp>
        <p:nvSpPr>
          <p:cNvPr id="204" name="Rectangle 203"/>
          <p:cNvSpPr/>
          <p:nvPr/>
        </p:nvSpPr>
        <p:spPr>
          <a:xfrm>
            <a:off x="6125829" y="6190534"/>
            <a:ext cx="12954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black">
                    <a:lumMod val="50000"/>
                  </a:prstClr>
                </a:solidFill>
              </a:rPr>
              <a:t>Fault Management, Performance Mgmt., Configuration Mgmt., etc.</a:t>
            </a:r>
            <a:endParaRPr lang="en-US" sz="800" b="1" dirty="0">
              <a:solidFill>
                <a:prstClr val="black">
                  <a:lumMod val="50000"/>
                </a:prstClr>
              </a:solidFill>
            </a:endParaRPr>
          </a:p>
        </p:txBody>
      </p:sp>
      <p:sp>
        <p:nvSpPr>
          <p:cNvPr id="205" name="Slide Number Placeholder 1"/>
          <p:cNvSpPr>
            <a:spLocks noGrp="1"/>
          </p:cNvSpPr>
          <p:nvPr>
            <p:ph type="sldNum" sz="quarter" idx="12"/>
          </p:nvPr>
        </p:nvSpPr>
        <p:spPr>
          <a:xfrm>
            <a:off x="8257032" y="6501384"/>
            <a:ext cx="536575" cy="246062"/>
          </a:xfrm>
        </p:spPr>
        <p:txBody>
          <a:bodyPr/>
          <a:lstStyle/>
          <a:p>
            <a:pPr>
              <a:defRPr/>
            </a:pPr>
            <a:fld id="{27211545-335C-4898-B08B-87E1B7A5789B}" type="slidenum">
              <a:rPr lang="en-US" smtClean="0">
                <a:solidFill>
                  <a:prstClr val="black"/>
                </a:solidFill>
              </a:rPr>
              <a:pPr>
                <a:defRPr/>
              </a:pPr>
              <a:t>30</a:t>
            </a:fld>
            <a:endParaRPr lang="en-US" dirty="0">
              <a:solidFill>
                <a:prstClr val="black"/>
              </a:solidFill>
            </a:endParaRPr>
          </a:p>
        </p:txBody>
      </p:sp>
    </p:spTree>
    <p:extLst>
      <p:ext uri="{BB962C8B-B14F-4D97-AF65-F5344CB8AC3E}">
        <p14:creationId xmlns:p14="http://schemas.microsoft.com/office/powerpoint/2010/main" val="357209986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1"/>
          </p:nvPr>
        </p:nvSpPr>
        <p:spPr>
          <a:xfrm>
            <a:off x="446151" y="525183"/>
            <a:ext cx="8251698" cy="5807635"/>
          </a:xfrm>
        </p:spPr>
        <p:txBody>
          <a:bodyPr>
            <a:noAutofit/>
          </a:bodyPr>
          <a:lstStyle/>
          <a:p>
            <a:pPr>
              <a:spcBef>
                <a:spcPts val="1200"/>
              </a:spcBef>
              <a:spcAft>
                <a:spcPts val="600"/>
              </a:spcAft>
            </a:pPr>
            <a:r>
              <a:rPr lang="es-ES_tradnl" dirty="0">
                <a:solidFill>
                  <a:schemeClr val="bg1">
                    <a:lumMod val="65000"/>
                  </a:schemeClr>
                </a:solidFill>
              </a:rPr>
              <a:t>Esquema General.</a:t>
            </a:r>
          </a:p>
          <a:p>
            <a:pPr>
              <a:spcBef>
                <a:spcPts val="1200"/>
              </a:spcBef>
              <a:spcAft>
                <a:spcPts val="600"/>
              </a:spcAft>
            </a:pPr>
            <a:r>
              <a:rPr lang="es-ES_tradnl" dirty="0">
                <a:solidFill>
                  <a:schemeClr val="bg1">
                    <a:lumMod val="65000"/>
                  </a:schemeClr>
                </a:solidFill>
              </a:rPr>
              <a:t>Introducción a la cadena de valor.</a:t>
            </a:r>
          </a:p>
          <a:p>
            <a:pPr>
              <a:spcBef>
                <a:spcPts val="1200"/>
              </a:spcBef>
              <a:spcAft>
                <a:spcPts val="600"/>
              </a:spcAft>
            </a:pPr>
            <a:r>
              <a:rPr lang="es-ES_tradnl" dirty="0" smtClean="0">
                <a:solidFill>
                  <a:schemeClr val="bg1">
                    <a:lumMod val="65000"/>
                  </a:schemeClr>
                </a:solidFill>
              </a:rPr>
              <a:t>Remuneración Actividades Liberalizadas </a:t>
            </a:r>
          </a:p>
          <a:p>
            <a:pPr>
              <a:spcBef>
                <a:spcPts val="1200"/>
              </a:spcBef>
              <a:spcAft>
                <a:spcPts val="600"/>
              </a:spcAft>
            </a:pPr>
            <a:r>
              <a:rPr lang="es-ES_tradnl" dirty="0" smtClean="0">
                <a:solidFill>
                  <a:schemeClr val="bg1">
                    <a:lumMod val="65000"/>
                  </a:schemeClr>
                </a:solidFill>
              </a:rPr>
              <a:t>Remuneración de Actividades Reguladas</a:t>
            </a:r>
          </a:p>
          <a:p>
            <a:pPr>
              <a:spcBef>
                <a:spcPts val="1200"/>
              </a:spcBef>
              <a:spcAft>
                <a:spcPts val="600"/>
              </a:spcAft>
            </a:pPr>
            <a:r>
              <a:rPr lang="es-ES_tradnl" dirty="0" smtClean="0">
                <a:solidFill>
                  <a:schemeClr val="bg1">
                    <a:lumMod val="65000"/>
                  </a:schemeClr>
                </a:solidFill>
              </a:rPr>
              <a:t>Situación en España. Déficit de tarifa</a:t>
            </a:r>
          </a:p>
          <a:p>
            <a:pPr>
              <a:spcBef>
                <a:spcPts val="1200"/>
              </a:spcBef>
              <a:spcAft>
                <a:spcPts val="600"/>
              </a:spcAft>
            </a:pPr>
            <a:r>
              <a:rPr lang="es-ES_tradnl" dirty="0">
                <a:solidFill>
                  <a:schemeClr val="bg1">
                    <a:lumMod val="65000"/>
                  </a:schemeClr>
                </a:solidFill>
              </a:rPr>
              <a:t>Mapa de procesos.</a:t>
            </a:r>
          </a:p>
          <a:p>
            <a:pPr>
              <a:spcBef>
                <a:spcPts val="1200"/>
              </a:spcBef>
              <a:spcAft>
                <a:spcPts val="600"/>
              </a:spcAft>
            </a:pPr>
            <a:r>
              <a:rPr lang="es-ES_tradnl" dirty="0">
                <a:solidFill>
                  <a:schemeClr val="bg1">
                    <a:lumMod val="65000"/>
                  </a:schemeClr>
                </a:solidFill>
              </a:rPr>
              <a:t>Nuevas tecnologías.</a:t>
            </a:r>
          </a:p>
          <a:p>
            <a:pPr>
              <a:spcBef>
                <a:spcPts val="1200"/>
              </a:spcBef>
              <a:spcAft>
                <a:spcPts val="600"/>
              </a:spcAft>
            </a:pPr>
            <a:r>
              <a:rPr lang="es-ES_tradnl" dirty="0">
                <a:solidFill>
                  <a:schemeClr val="tx1"/>
                </a:solidFill>
              </a:rPr>
              <a:t>Offerings de Accenture.</a:t>
            </a:r>
          </a:p>
          <a:p>
            <a:pPr>
              <a:spcBef>
                <a:spcPts val="1200"/>
              </a:spcBef>
              <a:spcAft>
                <a:spcPts val="600"/>
              </a:spcAft>
            </a:pPr>
            <a:r>
              <a:rPr lang="es-ES_tradnl" dirty="0" smtClean="0">
                <a:solidFill>
                  <a:schemeClr val="bg1">
                    <a:lumMod val="65000"/>
                  </a:schemeClr>
                </a:solidFill>
              </a:rPr>
              <a:t>Experiencias Accenture.</a:t>
            </a:r>
          </a:p>
        </p:txBody>
      </p:sp>
      <p:sp>
        <p:nvSpPr>
          <p:cNvPr id="40" name="Slide Number Placeholder 39"/>
          <p:cNvSpPr>
            <a:spLocks noGrp="1"/>
          </p:cNvSpPr>
          <p:nvPr>
            <p:ph type="sldNum" sz="quarter" idx="4"/>
          </p:nvPr>
        </p:nvSpPr>
        <p:spPr/>
        <p:txBody>
          <a:bodyPr/>
          <a:lstStyle/>
          <a:p>
            <a:fld id="{90CBDC3A-D49F-4631-A8C7-55D59B33E5FA}" type="slidenum">
              <a:rPr lang="en-US" smtClean="0"/>
              <a:pPr/>
              <a:t>31</a:t>
            </a:fld>
            <a:endParaRPr lang="en-US" dirty="0"/>
          </a:p>
        </p:txBody>
      </p:sp>
      <p:sp>
        <p:nvSpPr>
          <p:cNvPr id="5" name="Rounded Rectangle 4"/>
          <p:cNvSpPr/>
          <p:nvPr/>
        </p:nvSpPr>
        <p:spPr>
          <a:xfrm>
            <a:off x="281354" y="4839285"/>
            <a:ext cx="8707901" cy="6752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547738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t-PT" dirty="0" err="1" smtClean="0"/>
              <a:t>Oferings</a:t>
            </a:r>
            <a:r>
              <a:rPr lang="pt-PT" dirty="0" smtClean="0"/>
              <a:t> Accenture</a:t>
            </a:r>
            <a:endParaRPr lang="pt-PT" dirty="0"/>
          </a:p>
        </p:txBody>
      </p:sp>
      <p:sp>
        <p:nvSpPr>
          <p:cNvPr id="3" name="Slide Number Placeholder 2"/>
          <p:cNvSpPr>
            <a:spLocks noGrp="1"/>
          </p:cNvSpPr>
          <p:nvPr>
            <p:ph type="sldNum" sz="quarter" idx="4"/>
          </p:nvPr>
        </p:nvSpPr>
        <p:spPr/>
        <p:txBody>
          <a:bodyPr/>
          <a:lstStyle/>
          <a:p>
            <a:pPr>
              <a:defRPr/>
            </a:pPr>
            <a:fld id="{90CBDC3A-D49F-4631-A8C7-55D59B33E5FA}" type="slidenum">
              <a:rPr lang="en-US" smtClean="0"/>
              <a:pPr>
                <a:defRPr/>
              </a:pPr>
              <a:t>32</a:t>
            </a:fld>
            <a:endParaRPr lang="en-US" dirty="0"/>
          </a:p>
        </p:txBody>
      </p:sp>
      <p:sp>
        <p:nvSpPr>
          <p:cNvPr id="34" name="TextBox 33"/>
          <p:cNvSpPr txBox="1"/>
          <p:nvPr/>
        </p:nvSpPr>
        <p:spPr>
          <a:xfrm>
            <a:off x="357016" y="5420685"/>
            <a:ext cx="8081295"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8064A2"/>
                </a:solidFill>
                <a:effectLst/>
                <a:uLnTx/>
                <a:uFillTx/>
              </a:rPr>
              <a:t>Official IPAMs description: </a:t>
            </a:r>
            <a:br>
              <a:rPr kumimoji="0" lang="en-US" sz="1200" b="1" i="0" u="none" strike="noStrike" kern="0" cap="none" spc="0" normalizeH="0" baseline="0" noProof="0" dirty="0" smtClean="0">
                <a:ln>
                  <a:noFill/>
                </a:ln>
                <a:solidFill>
                  <a:srgbClr val="8064A2"/>
                </a:solidFill>
                <a:effectLst/>
                <a:uLnTx/>
                <a:uFillTx/>
              </a:rPr>
            </a:br>
            <a:r>
              <a:rPr kumimoji="0" lang="en-US" sz="1200" b="0" i="0" u="none" strike="noStrike" kern="0" cap="none" spc="0" normalizeH="0" baseline="0" noProof="0" dirty="0" smtClean="0">
                <a:ln>
                  <a:noFill/>
                </a:ln>
                <a:solidFill>
                  <a:srgbClr val="8064A2"/>
                </a:solidFill>
                <a:effectLst/>
                <a:uLnTx/>
                <a:uFillTx/>
              </a:rPr>
              <a:t>Accenture Smart Grid Services (ASGS) provides solutions and services to utilities owning electricity, water, and gas networks, and to large pipeline operators in the energy sector. Solutions include, but not limited to: Work, Field Resource Management; Transmission &amp; Distribution Asset Management; Advanced Metering Infrastructure (AMI), Grid Operations and BPO. </a:t>
            </a:r>
          </a:p>
        </p:txBody>
      </p:sp>
      <p:sp>
        <p:nvSpPr>
          <p:cNvPr id="35" name="Rectangle 34"/>
          <p:cNvSpPr/>
          <p:nvPr/>
        </p:nvSpPr>
        <p:spPr bwMode="auto">
          <a:xfrm>
            <a:off x="695819" y="1500055"/>
            <a:ext cx="7793425" cy="3509405"/>
          </a:xfrm>
          <a:prstGeom prst="rect">
            <a:avLst/>
          </a:prstGeom>
          <a:solidFill>
            <a:sysClr val="windowText" lastClr="000000">
              <a:lumMod val="20000"/>
              <a:lumOff val="80000"/>
            </a:sysClr>
          </a:solidFill>
          <a:ln w="9525">
            <a:noFill/>
            <a:round/>
            <a:headEnd/>
            <a:tailEnd/>
          </a:ln>
          <a:effectLst/>
        </p:spPr>
        <p:txBody>
          <a:bodyPr wrap="none" rtlCol="0" anchor="ctr">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Arial"/>
            </a:endParaRPr>
          </a:p>
        </p:txBody>
      </p:sp>
      <p:grpSp>
        <p:nvGrpSpPr>
          <p:cNvPr id="36" name="Group 35"/>
          <p:cNvGrpSpPr/>
          <p:nvPr/>
        </p:nvGrpSpPr>
        <p:grpSpPr>
          <a:xfrm>
            <a:off x="4650769" y="1591256"/>
            <a:ext cx="1752582" cy="3291204"/>
            <a:chOff x="4596623" y="1704144"/>
            <a:chExt cx="1752582" cy="3291204"/>
          </a:xfrm>
        </p:grpSpPr>
        <p:sp>
          <p:nvSpPr>
            <p:cNvPr id="37" name="Rectangle 36"/>
            <p:cNvSpPr/>
            <p:nvPr/>
          </p:nvSpPr>
          <p:spPr bwMode="auto">
            <a:xfrm>
              <a:off x="4596623" y="1704144"/>
              <a:ext cx="1752582" cy="3291204"/>
            </a:xfrm>
            <a:prstGeom prst="rect">
              <a:avLst/>
            </a:prstGeom>
            <a:solidFill>
              <a:srgbClr val="605E7C"/>
            </a:solidFill>
            <a:ln w="9525">
              <a:noFill/>
              <a:round/>
              <a:headEnd/>
              <a:tailEnd/>
            </a:ln>
            <a:effectLst/>
          </p:spPr>
          <p:txBody>
            <a:bodyPr wrap="none" rtlCol="0" anchor="ctr">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Arial"/>
              </a:endParaRPr>
            </a:p>
          </p:txBody>
        </p:sp>
        <p:sp>
          <p:nvSpPr>
            <p:cNvPr id="38" name="TextBox 37"/>
            <p:cNvSpPr txBox="1"/>
            <p:nvPr/>
          </p:nvSpPr>
          <p:spPr>
            <a:xfrm>
              <a:off x="4708485" y="1861531"/>
              <a:ext cx="1528859"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rPr>
                <a:t>Grid Operations (GO)</a:t>
              </a:r>
            </a:p>
          </p:txBody>
        </p:sp>
        <p:sp>
          <p:nvSpPr>
            <p:cNvPr id="39" name="TextBox 38"/>
            <p:cNvSpPr txBox="1"/>
            <p:nvPr/>
          </p:nvSpPr>
          <p:spPr>
            <a:xfrm>
              <a:off x="4708188" y="3718462"/>
              <a:ext cx="1529453" cy="1200329"/>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SCADA </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DMS/OMS/EMS</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Smart Grid Communications</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Grid Operations Cyber Security</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Power Systems Engineering   </a:t>
              </a:r>
            </a:p>
          </p:txBody>
        </p:sp>
        <p:pic>
          <p:nvPicPr>
            <p:cNvPr id="40" name="Picture 15" descr="power windmills"/>
            <p:cNvPicPr>
              <a:picLocks noChangeArrowheads="1"/>
            </p:cNvPicPr>
            <p:nvPr/>
          </p:nvPicPr>
          <p:blipFill rotWithShape="1">
            <a:blip r:embed="rId2" cstate="print">
              <a:extLst>
                <a:ext uri="{28A0092B-C50C-407E-A947-70E740481C1C}">
                  <a14:useLocalDpi xmlns:a14="http://schemas.microsoft.com/office/drawing/2010/main"/>
                </a:ext>
              </a:extLst>
            </a:blip>
            <a:srcRect t="-2"/>
            <a:stretch/>
          </p:blipFill>
          <p:spPr bwMode="auto">
            <a:xfrm>
              <a:off x="4756171" y="2248078"/>
              <a:ext cx="1433487" cy="1374445"/>
            </a:xfrm>
            <a:prstGeom prst="rect">
              <a:avLst/>
            </a:prstGeom>
            <a:noFill/>
            <a:ln w="9525">
              <a:noFill/>
              <a:miter lim="800000"/>
              <a:headEnd/>
              <a:tailEnd/>
            </a:ln>
          </p:spPr>
        </p:pic>
      </p:grpSp>
      <p:grpSp>
        <p:nvGrpSpPr>
          <p:cNvPr id="41" name="Group 40"/>
          <p:cNvGrpSpPr/>
          <p:nvPr/>
        </p:nvGrpSpPr>
        <p:grpSpPr>
          <a:xfrm>
            <a:off x="695819" y="1275649"/>
            <a:ext cx="3814212" cy="186267"/>
            <a:chOff x="639375" y="1422400"/>
            <a:chExt cx="3814212" cy="186267"/>
          </a:xfrm>
        </p:grpSpPr>
        <p:cxnSp>
          <p:nvCxnSpPr>
            <p:cNvPr id="42" name="Straight Connector 41"/>
            <p:cNvCxnSpPr/>
            <p:nvPr/>
          </p:nvCxnSpPr>
          <p:spPr>
            <a:xfrm>
              <a:off x="639375" y="1422400"/>
              <a:ext cx="3814212" cy="0"/>
            </a:xfrm>
            <a:prstGeom prst="line">
              <a:avLst/>
            </a:prstGeom>
            <a:noFill/>
            <a:ln w="9525" cap="flat" cmpd="sng" algn="ctr">
              <a:solidFill>
                <a:srgbClr val="8064A2"/>
              </a:solidFill>
              <a:prstDash val="solid"/>
            </a:ln>
            <a:effectLst/>
          </p:spPr>
        </p:cxnSp>
        <p:cxnSp>
          <p:nvCxnSpPr>
            <p:cNvPr id="43" name="Straight Connector 42"/>
            <p:cNvCxnSpPr/>
            <p:nvPr/>
          </p:nvCxnSpPr>
          <p:spPr>
            <a:xfrm>
              <a:off x="639375" y="1422400"/>
              <a:ext cx="0" cy="186267"/>
            </a:xfrm>
            <a:prstGeom prst="line">
              <a:avLst/>
            </a:prstGeom>
            <a:noFill/>
            <a:ln w="9525" cap="flat" cmpd="sng" algn="ctr">
              <a:solidFill>
                <a:srgbClr val="8064A2"/>
              </a:solidFill>
              <a:prstDash val="solid"/>
            </a:ln>
            <a:effectLst/>
          </p:spPr>
        </p:cxnSp>
        <p:cxnSp>
          <p:nvCxnSpPr>
            <p:cNvPr id="44" name="Straight Connector 43"/>
            <p:cNvCxnSpPr/>
            <p:nvPr/>
          </p:nvCxnSpPr>
          <p:spPr>
            <a:xfrm>
              <a:off x="4453587" y="1422400"/>
              <a:ext cx="0" cy="186267"/>
            </a:xfrm>
            <a:prstGeom prst="line">
              <a:avLst/>
            </a:prstGeom>
            <a:noFill/>
            <a:ln w="9525" cap="flat" cmpd="sng" algn="ctr">
              <a:solidFill>
                <a:srgbClr val="8064A2"/>
              </a:solidFill>
              <a:prstDash val="solid"/>
            </a:ln>
            <a:effectLst/>
          </p:spPr>
        </p:cxnSp>
      </p:grpSp>
      <p:sp>
        <p:nvSpPr>
          <p:cNvPr id="45" name="TextBox 44"/>
          <p:cNvSpPr txBox="1"/>
          <p:nvPr/>
        </p:nvSpPr>
        <p:spPr>
          <a:xfrm>
            <a:off x="2033904" y="1024051"/>
            <a:ext cx="86478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1F497D"/>
                </a:solidFill>
                <a:effectLst/>
                <a:uLnTx/>
                <a:uFillTx/>
              </a:rPr>
              <a:t>Core T&amp;D</a:t>
            </a:r>
          </a:p>
        </p:txBody>
      </p:sp>
      <p:sp>
        <p:nvSpPr>
          <p:cNvPr id="46" name="Rectangle 45"/>
          <p:cNvSpPr/>
          <p:nvPr/>
        </p:nvSpPr>
        <p:spPr bwMode="auto">
          <a:xfrm>
            <a:off x="2751159" y="1591256"/>
            <a:ext cx="1752582" cy="3291204"/>
          </a:xfrm>
          <a:prstGeom prst="rect">
            <a:avLst/>
          </a:prstGeom>
          <a:solidFill>
            <a:srgbClr val="605E7C"/>
          </a:solidFill>
          <a:ln w="9525">
            <a:noFill/>
            <a:round/>
            <a:headEnd/>
            <a:tailEnd/>
          </a:ln>
          <a:effectLst/>
        </p:spPr>
        <p:txBody>
          <a:bodyPr wrap="none" rtlCol="0" anchor="ctr">
            <a:prstTxWarp prst="textNoShape">
              <a:avLst/>
            </a:prstTxWarp>
            <a:noAutofit/>
          </a:bodyPr>
          <a:lstStyle/>
          <a:p>
            <a:pPr algn="ctr"/>
            <a:endParaRPr lang="en-US" sz="1000" dirty="0">
              <a:solidFill>
                <a:prstClr val="white"/>
              </a:solidFill>
              <a:latin typeface="Arial"/>
            </a:endParaRPr>
          </a:p>
        </p:txBody>
      </p:sp>
      <p:sp>
        <p:nvSpPr>
          <p:cNvPr id="47" name="TextBox 46"/>
          <p:cNvSpPr txBox="1"/>
          <p:nvPr/>
        </p:nvSpPr>
        <p:spPr>
          <a:xfrm>
            <a:off x="2823187" y="1603174"/>
            <a:ext cx="1608527"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rPr>
              <a:t>Transmission and Distribution Asset Mgmt. (TDAM)</a:t>
            </a:r>
          </a:p>
        </p:txBody>
      </p:sp>
      <p:sp>
        <p:nvSpPr>
          <p:cNvPr id="48" name="TextBox 47"/>
          <p:cNvSpPr txBox="1"/>
          <p:nvPr/>
        </p:nvSpPr>
        <p:spPr>
          <a:xfrm>
            <a:off x="2847177" y="3605574"/>
            <a:ext cx="1560546" cy="1200329"/>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Asset Analytics</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Asset Investment Planning and Management</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Multi-resolution Asset Data Exchange</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GIS</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endParaRPr kumimoji="0" lang="en-US" sz="900" b="0" i="0" u="none" strike="noStrike" kern="0" cap="none" spc="0" normalizeH="0" baseline="0" noProof="0" dirty="0" smtClean="0">
              <a:ln>
                <a:noFill/>
              </a:ln>
              <a:solidFill>
                <a:prstClr val="white"/>
              </a:solidFill>
              <a:effectLst/>
              <a:uLnTx/>
              <a:uFillTx/>
            </a:endParaRPr>
          </a:p>
        </p:txBody>
      </p:sp>
      <p:sp>
        <p:nvSpPr>
          <p:cNvPr id="49" name="Rectangle 48"/>
          <p:cNvSpPr/>
          <p:nvPr/>
        </p:nvSpPr>
        <p:spPr>
          <a:xfrm>
            <a:off x="851101" y="4865172"/>
            <a:ext cx="7451875" cy="449091"/>
          </a:xfrm>
          <a:prstGeom prst="rect">
            <a:avLst/>
          </a:prstGeom>
          <a:solidFill>
            <a:srgbClr val="4F81B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Arial"/>
                <a:ea typeface="+mn-ea"/>
                <a:cs typeface="Aharoni" pitchFamily="2" charset="-79"/>
              </a:rPr>
              <a:t>Smart Grid Strategy, Network Communications, Security, Smart Metering Managed Service (BPO)</a:t>
            </a:r>
          </a:p>
        </p:txBody>
      </p:sp>
      <p:grpSp>
        <p:nvGrpSpPr>
          <p:cNvPr id="50" name="Group 49"/>
          <p:cNvGrpSpPr/>
          <p:nvPr/>
        </p:nvGrpSpPr>
        <p:grpSpPr>
          <a:xfrm>
            <a:off x="6550379" y="1591256"/>
            <a:ext cx="1752582" cy="3291204"/>
            <a:chOff x="6493935" y="1704144"/>
            <a:chExt cx="1752582" cy="3291204"/>
          </a:xfrm>
        </p:grpSpPr>
        <p:sp>
          <p:nvSpPr>
            <p:cNvPr id="51" name="Rectangle 50"/>
            <p:cNvSpPr/>
            <p:nvPr/>
          </p:nvSpPr>
          <p:spPr bwMode="auto">
            <a:xfrm>
              <a:off x="6493935" y="1704144"/>
              <a:ext cx="1752582" cy="3291204"/>
            </a:xfrm>
            <a:prstGeom prst="rect">
              <a:avLst/>
            </a:prstGeom>
            <a:solidFill>
              <a:srgbClr val="605E7C"/>
            </a:solidFill>
            <a:ln w="9525">
              <a:noFill/>
              <a:round/>
              <a:headEnd/>
              <a:tailEnd/>
            </a:ln>
            <a:effectLst/>
          </p:spPr>
          <p:txBody>
            <a:bodyPr wrap="none" rtlCol="0" anchor="ctr">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Arial"/>
              </a:endParaRPr>
            </a:p>
          </p:txBody>
        </p:sp>
        <p:sp>
          <p:nvSpPr>
            <p:cNvPr id="52" name="TextBox 51"/>
            <p:cNvSpPr txBox="1"/>
            <p:nvPr/>
          </p:nvSpPr>
          <p:spPr>
            <a:xfrm>
              <a:off x="6547916" y="1758397"/>
              <a:ext cx="164462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rPr>
                <a:t>Automated Metering Infrastructure (AMI)</a:t>
              </a:r>
            </a:p>
          </p:txBody>
        </p:sp>
        <p:sp>
          <p:nvSpPr>
            <p:cNvPr id="53" name="TextBox 52"/>
            <p:cNvSpPr txBox="1"/>
            <p:nvPr/>
          </p:nvSpPr>
          <p:spPr>
            <a:xfrm>
              <a:off x="6555598" y="3718462"/>
              <a:ext cx="1629256" cy="923330"/>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Meter Data Management</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Network Communications</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Data Integration</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Program Management</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endParaRPr kumimoji="0" lang="en-US" sz="900" b="0" i="0" u="none" strike="noStrike" kern="0" cap="none" spc="0" normalizeH="0" baseline="0" noProof="0" dirty="0" smtClean="0">
                <a:ln>
                  <a:noFill/>
                </a:ln>
                <a:solidFill>
                  <a:prstClr val="white"/>
                </a:solidFill>
                <a:effectLst/>
                <a:uLnTx/>
                <a:uFillTx/>
              </a:endParaRPr>
            </a:p>
          </p:txBody>
        </p:sp>
      </p:grpSp>
      <p:grpSp>
        <p:nvGrpSpPr>
          <p:cNvPr id="54" name="Group 53"/>
          <p:cNvGrpSpPr/>
          <p:nvPr/>
        </p:nvGrpSpPr>
        <p:grpSpPr>
          <a:xfrm>
            <a:off x="851549" y="1591256"/>
            <a:ext cx="1752582" cy="3291204"/>
            <a:chOff x="795105" y="1704144"/>
            <a:chExt cx="1752582" cy="3291204"/>
          </a:xfrm>
        </p:grpSpPr>
        <p:sp>
          <p:nvSpPr>
            <p:cNvPr id="55" name="Rectangle 54"/>
            <p:cNvSpPr/>
            <p:nvPr/>
          </p:nvSpPr>
          <p:spPr bwMode="auto">
            <a:xfrm>
              <a:off x="795105" y="1704144"/>
              <a:ext cx="1752582" cy="3291204"/>
            </a:xfrm>
            <a:prstGeom prst="rect">
              <a:avLst/>
            </a:prstGeom>
            <a:solidFill>
              <a:srgbClr val="605E7C"/>
            </a:solidFill>
            <a:ln w="9525">
              <a:noFill/>
              <a:round/>
              <a:headEnd/>
              <a:tailEnd/>
            </a:ln>
            <a:effectLst/>
          </p:spPr>
          <p:txBody>
            <a:bodyPr wrap="none" rtlCol="0" anchor="ctr">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solidFill>
                <a:effectLst/>
                <a:uLnTx/>
                <a:uFillTx/>
                <a:latin typeface="Arial"/>
              </a:endParaRPr>
            </a:p>
          </p:txBody>
        </p:sp>
        <p:sp>
          <p:nvSpPr>
            <p:cNvPr id="56" name="TextBox 55"/>
            <p:cNvSpPr txBox="1"/>
            <p:nvPr/>
          </p:nvSpPr>
          <p:spPr>
            <a:xfrm rot="10800000" flipV="1">
              <a:off x="899162" y="1771825"/>
              <a:ext cx="154447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rPr>
                <a:t>Work, Field &amp; Resource Mgmt. (WFRM)</a:t>
              </a:r>
            </a:p>
          </p:txBody>
        </p:sp>
        <p:sp>
          <p:nvSpPr>
            <p:cNvPr id="57" name="TextBox 56"/>
            <p:cNvSpPr txBox="1"/>
            <p:nvPr/>
          </p:nvSpPr>
          <p:spPr>
            <a:xfrm>
              <a:off x="937642" y="3718462"/>
              <a:ext cx="1467508" cy="1200329"/>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Work and Asset Management</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Work Management Diagnostics</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Supervisor Enablement</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white"/>
                  </a:solidFill>
                  <a:effectLst/>
                  <a:uLnTx/>
                  <a:uFillTx/>
                </a:rPr>
                <a:t>Mobile Workforce Management</a:t>
              </a:r>
            </a:p>
          </p:txBody>
        </p:sp>
      </p:grpSp>
      <p:pic>
        <p:nvPicPr>
          <p:cNvPr id="58" name="Picture 57" descr="iStock_000013006320Medium.j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912017" y="2135190"/>
            <a:ext cx="1424752" cy="1372699"/>
          </a:xfrm>
          <a:prstGeom prst="rect">
            <a:avLst/>
          </a:prstGeom>
        </p:spPr>
      </p:pic>
      <p:pic>
        <p:nvPicPr>
          <p:cNvPr id="59" name="Picture 58" descr="iStock_000018036007Medium.jp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04847" y="2126798"/>
            <a:ext cx="1451659" cy="1381092"/>
          </a:xfrm>
          <a:prstGeom prst="rect">
            <a:avLst/>
          </a:prstGeom>
        </p:spPr>
      </p:pic>
      <p:pic>
        <p:nvPicPr>
          <p:cNvPr id="60" name="Picture 59" descr="iStock_000013189209Medium.jpg"/>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714248" y="2142933"/>
            <a:ext cx="1440427" cy="1383201"/>
          </a:xfrm>
          <a:prstGeom prst="rect">
            <a:avLst/>
          </a:prstGeom>
        </p:spPr>
      </p:pic>
    </p:spTree>
    <p:extLst>
      <p:ext uri="{BB962C8B-B14F-4D97-AF65-F5344CB8AC3E}">
        <p14:creationId xmlns:p14="http://schemas.microsoft.com/office/powerpoint/2010/main" val="39345503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noFill/>
          <a:ln w="9525">
            <a:noFill/>
            <a:miter lim="800000"/>
            <a:headEnd/>
            <a:tailEnd/>
          </a:ln>
        </p:spPr>
        <p:txBody>
          <a:bodyPr vert="horz" wrap="square" lIns="0" tIns="45720" rIns="91440" bIns="45720" numCol="1" anchor="b" anchorCtr="0" compatLnSpc="1">
            <a:prstTxWarp prst="textNoShape">
              <a:avLst/>
            </a:prstTxWarp>
          </a:bodyPr>
          <a:lstStyle/>
          <a:p>
            <a:r>
              <a:rPr lang="en-US" dirty="0"/>
              <a:t>ASGS “Big Deal” Value Proposition</a:t>
            </a:r>
          </a:p>
        </p:txBody>
      </p:sp>
      <p:grpSp>
        <p:nvGrpSpPr>
          <p:cNvPr id="55" name="Group 54"/>
          <p:cNvGrpSpPr/>
          <p:nvPr/>
        </p:nvGrpSpPr>
        <p:grpSpPr>
          <a:xfrm>
            <a:off x="901184" y="4255186"/>
            <a:ext cx="3056838" cy="822518"/>
            <a:chOff x="901184" y="4202220"/>
            <a:chExt cx="3056838" cy="822518"/>
          </a:xfrm>
        </p:grpSpPr>
        <p:sp>
          <p:nvSpPr>
            <p:cNvPr id="5" name="Rectangle 4"/>
            <p:cNvSpPr/>
            <p:nvPr/>
          </p:nvSpPr>
          <p:spPr>
            <a:xfrm>
              <a:off x="901184" y="4202220"/>
              <a:ext cx="1528419" cy="82251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000" dirty="0" smtClean="0">
                  <a:solidFill>
                    <a:prstClr val="white"/>
                  </a:solidFill>
                </a:rPr>
                <a:t>AO </a:t>
              </a:r>
            </a:p>
            <a:p>
              <a:pPr algn="ctr"/>
              <a:r>
                <a:rPr lang="en-US" sz="1000" dirty="0" smtClean="0">
                  <a:solidFill>
                    <a:prstClr val="white"/>
                  </a:solidFill>
                </a:rPr>
                <a:t>(MDM, Head End, Middleware, Security, CIS, NOC, Transaction Management)</a:t>
              </a:r>
              <a:endParaRPr lang="en-US" sz="1000" dirty="0">
                <a:solidFill>
                  <a:prstClr val="white"/>
                </a:solidFill>
              </a:endParaRPr>
            </a:p>
          </p:txBody>
        </p:sp>
        <p:sp>
          <p:nvSpPr>
            <p:cNvPr id="6" name="Rectangle 5"/>
            <p:cNvSpPr/>
            <p:nvPr/>
          </p:nvSpPr>
          <p:spPr>
            <a:xfrm>
              <a:off x="2429603" y="4202220"/>
              <a:ext cx="1528419" cy="82251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050" dirty="0" smtClean="0">
                  <a:solidFill>
                    <a:prstClr val="white"/>
                  </a:solidFill>
                </a:rPr>
                <a:t>BPO</a:t>
              </a:r>
            </a:p>
            <a:p>
              <a:pPr algn="ctr"/>
              <a:r>
                <a:rPr lang="en-US" sz="1000" dirty="0" smtClean="0">
                  <a:solidFill>
                    <a:prstClr val="white"/>
                  </a:solidFill>
                </a:rPr>
                <a:t>(Meter Exceptions, NOC, Customer Back Office, Transaction Management)</a:t>
              </a:r>
              <a:endParaRPr lang="en-US" sz="1000" dirty="0">
                <a:solidFill>
                  <a:prstClr val="white"/>
                </a:solidFill>
              </a:endParaRPr>
            </a:p>
          </p:txBody>
        </p:sp>
      </p:grpSp>
      <p:sp>
        <p:nvSpPr>
          <p:cNvPr id="13" name="Rectangle 12"/>
          <p:cNvSpPr/>
          <p:nvPr/>
        </p:nvSpPr>
        <p:spPr>
          <a:xfrm>
            <a:off x="904850" y="6055262"/>
            <a:ext cx="3056838" cy="413779"/>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50" dirty="0" smtClean="0">
                <a:solidFill>
                  <a:prstClr val="white"/>
                </a:solidFill>
              </a:rPr>
              <a:t>Asset Financing*</a:t>
            </a:r>
          </a:p>
        </p:txBody>
      </p:sp>
      <p:sp>
        <p:nvSpPr>
          <p:cNvPr id="14" name="Rectangle 13"/>
          <p:cNvSpPr/>
          <p:nvPr/>
        </p:nvSpPr>
        <p:spPr>
          <a:xfrm>
            <a:off x="904850" y="5359596"/>
            <a:ext cx="3056838" cy="413779"/>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50" dirty="0" smtClean="0">
                <a:solidFill>
                  <a:prstClr val="white"/>
                </a:solidFill>
              </a:rPr>
              <a:t>Meter Provider / Deployment*</a:t>
            </a:r>
          </a:p>
        </p:txBody>
      </p:sp>
      <p:sp>
        <p:nvSpPr>
          <p:cNvPr id="15" name="Plus 14"/>
          <p:cNvSpPr/>
          <p:nvPr/>
        </p:nvSpPr>
        <p:spPr>
          <a:xfrm>
            <a:off x="2299944" y="5077187"/>
            <a:ext cx="266650" cy="282926"/>
          </a:xfrm>
          <a:prstGeom prst="mathPlus">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050">
              <a:solidFill>
                <a:prstClr val="white"/>
              </a:solidFill>
            </a:endParaRPr>
          </a:p>
        </p:txBody>
      </p:sp>
      <p:sp>
        <p:nvSpPr>
          <p:cNvPr id="16" name="Plus 15"/>
          <p:cNvSpPr/>
          <p:nvPr/>
        </p:nvSpPr>
        <p:spPr>
          <a:xfrm>
            <a:off x="2299944" y="5772857"/>
            <a:ext cx="266650" cy="282926"/>
          </a:xfrm>
          <a:prstGeom prst="mathPlus">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050">
              <a:solidFill>
                <a:prstClr val="white"/>
              </a:solidFill>
            </a:endParaRPr>
          </a:p>
        </p:txBody>
      </p:sp>
      <p:sp>
        <p:nvSpPr>
          <p:cNvPr id="17" name="Freeform 16"/>
          <p:cNvSpPr/>
          <p:nvPr/>
        </p:nvSpPr>
        <p:spPr>
          <a:xfrm>
            <a:off x="373632" y="1257056"/>
            <a:ext cx="4875262" cy="5239278"/>
          </a:xfrm>
          <a:custGeom>
            <a:avLst/>
            <a:gdLst>
              <a:gd name="connsiteX0" fmla="*/ 5240740 w 5240740"/>
              <a:gd name="connsiteY0" fmla="*/ 504967 h 5090615"/>
              <a:gd name="connsiteX1" fmla="*/ 5240740 w 5240740"/>
              <a:gd name="connsiteY1" fmla="*/ 0 h 5090615"/>
              <a:gd name="connsiteX2" fmla="*/ 5076967 w 5240740"/>
              <a:gd name="connsiteY2" fmla="*/ 0 h 5090615"/>
              <a:gd name="connsiteX3" fmla="*/ 0 w 5240740"/>
              <a:gd name="connsiteY3" fmla="*/ 0 h 5090615"/>
              <a:gd name="connsiteX4" fmla="*/ 0 w 5240740"/>
              <a:gd name="connsiteY4" fmla="*/ 5090615 h 5090615"/>
              <a:gd name="connsiteX5" fmla="*/ 614149 w 5240740"/>
              <a:gd name="connsiteY5" fmla="*/ 5090615 h 5090615"/>
              <a:gd name="connsiteX6" fmla="*/ 614149 w 5240740"/>
              <a:gd name="connsiteY6" fmla="*/ 450376 h 5090615"/>
              <a:gd name="connsiteX7" fmla="*/ 423081 w 5240740"/>
              <a:gd name="connsiteY7" fmla="*/ 450376 h 5090615"/>
              <a:gd name="connsiteX8" fmla="*/ 5240740 w 5240740"/>
              <a:gd name="connsiteY8" fmla="*/ 504967 h 5090615"/>
              <a:gd name="connsiteX0" fmla="*/ 5240740 w 5240740"/>
              <a:gd name="connsiteY0" fmla="*/ 504967 h 5090615"/>
              <a:gd name="connsiteX1" fmla="*/ 5240740 w 5240740"/>
              <a:gd name="connsiteY1" fmla="*/ 0 h 5090615"/>
              <a:gd name="connsiteX2" fmla="*/ 5076967 w 5240740"/>
              <a:gd name="connsiteY2" fmla="*/ 0 h 5090615"/>
              <a:gd name="connsiteX3" fmla="*/ 0 w 5240740"/>
              <a:gd name="connsiteY3" fmla="*/ 0 h 5090615"/>
              <a:gd name="connsiteX4" fmla="*/ 0 w 5240740"/>
              <a:gd name="connsiteY4" fmla="*/ 5090615 h 5090615"/>
              <a:gd name="connsiteX5" fmla="*/ 614149 w 5240740"/>
              <a:gd name="connsiteY5" fmla="*/ 5090615 h 5090615"/>
              <a:gd name="connsiteX6" fmla="*/ 614149 w 5240740"/>
              <a:gd name="connsiteY6" fmla="*/ 450376 h 5090615"/>
              <a:gd name="connsiteX7" fmla="*/ 638742 w 5240740"/>
              <a:gd name="connsiteY7" fmla="*/ 493508 h 5090615"/>
              <a:gd name="connsiteX8" fmla="*/ 5240740 w 5240740"/>
              <a:gd name="connsiteY8" fmla="*/ 504967 h 5090615"/>
              <a:gd name="connsiteX0" fmla="*/ 5240740 w 5240740"/>
              <a:gd name="connsiteY0" fmla="*/ 504967 h 5090615"/>
              <a:gd name="connsiteX1" fmla="*/ 5240740 w 5240740"/>
              <a:gd name="connsiteY1" fmla="*/ 0 h 5090615"/>
              <a:gd name="connsiteX2" fmla="*/ 5076967 w 5240740"/>
              <a:gd name="connsiteY2" fmla="*/ 0 h 5090615"/>
              <a:gd name="connsiteX3" fmla="*/ 0 w 5240740"/>
              <a:gd name="connsiteY3" fmla="*/ 0 h 5090615"/>
              <a:gd name="connsiteX4" fmla="*/ 0 w 5240740"/>
              <a:gd name="connsiteY4" fmla="*/ 5090615 h 5090615"/>
              <a:gd name="connsiteX5" fmla="*/ 614149 w 5240740"/>
              <a:gd name="connsiteY5" fmla="*/ 5090615 h 5090615"/>
              <a:gd name="connsiteX6" fmla="*/ 631402 w 5240740"/>
              <a:gd name="connsiteY6" fmla="*/ 484882 h 5090615"/>
              <a:gd name="connsiteX7" fmla="*/ 638742 w 5240740"/>
              <a:gd name="connsiteY7" fmla="*/ 493508 h 5090615"/>
              <a:gd name="connsiteX8" fmla="*/ 5240740 w 5240740"/>
              <a:gd name="connsiteY8" fmla="*/ 504967 h 5090615"/>
              <a:gd name="connsiteX0" fmla="*/ 7139380 w 7139380"/>
              <a:gd name="connsiteY0" fmla="*/ 514774 h 5090615"/>
              <a:gd name="connsiteX1" fmla="*/ 5240740 w 7139380"/>
              <a:gd name="connsiteY1" fmla="*/ 0 h 5090615"/>
              <a:gd name="connsiteX2" fmla="*/ 5076967 w 7139380"/>
              <a:gd name="connsiteY2" fmla="*/ 0 h 5090615"/>
              <a:gd name="connsiteX3" fmla="*/ 0 w 7139380"/>
              <a:gd name="connsiteY3" fmla="*/ 0 h 5090615"/>
              <a:gd name="connsiteX4" fmla="*/ 0 w 7139380"/>
              <a:gd name="connsiteY4" fmla="*/ 5090615 h 5090615"/>
              <a:gd name="connsiteX5" fmla="*/ 614149 w 7139380"/>
              <a:gd name="connsiteY5" fmla="*/ 5090615 h 5090615"/>
              <a:gd name="connsiteX6" fmla="*/ 631402 w 7139380"/>
              <a:gd name="connsiteY6" fmla="*/ 484882 h 5090615"/>
              <a:gd name="connsiteX7" fmla="*/ 638742 w 7139380"/>
              <a:gd name="connsiteY7" fmla="*/ 493508 h 5090615"/>
              <a:gd name="connsiteX8" fmla="*/ 7139380 w 7139380"/>
              <a:gd name="connsiteY8" fmla="*/ 514774 h 5090615"/>
              <a:gd name="connsiteX0" fmla="*/ 7139380 w 7139381"/>
              <a:gd name="connsiteY0" fmla="*/ 514774 h 5090615"/>
              <a:gd name="connsiteX1" fmla="*/ 7139381 w 7139381"/>
              <a:gd name="connsiteY1" fmla="*/ 9807 h 5090615"/>
              <a:gd name="connsiteX2" fmla="*/ 5076967 w 7139381"/>
              <a:gd name="connsiteY2" fmla="*/ 0 h 5090615"/>
              <a:gd name="connsiteX3" fmla="*/ 0 w 7139381"/>
              <a:gd name="connsiteY3" fmla="*/ 0 h 5090615"/>
              <a:gd name="connsiteX4" fmla="*/ 0 w 7139381"/>
              <a:gd name="connsiteY4" fmla="*/ 5090615 h 5090615"/>
              <a:gd name="connsiteX5" fmla="*/ 614149 w 7139381"/>
              <a:gd name="connsiteY5" fmla="*/ 5090615 h 5090615"/>
              <a:gd name="connsiteX6" fmla="*/ 631402 w 7139381"/>
              <a:gd name="connsiteY6" fmla="*/ 484882 h 5090615"/>
              <a:gd name="connsiteX7" fmla="*/ 638742 w 7139381"/>
              <a:gd name="connsiteY7" fmla="*/ 493508 h 5090615"/>
              <a:gd name="connsiteX8" fmla="*/ 7139380 w 7139381"/>
              <a:gd name="connsiteY8" fmla="*/ 514774 h 509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9381" h="5090615">
                <a:moveTo>
                  <a:pt x="7139380" y="514774"/>
                </a:moveTo>
                <a:cubicBezTo>
                  <a:pt x="7139380" y="346452"/>
                  <a:pt x="7139381" y="178129"/>
                  <a:pt x="7139381" y="9807"/>
                </a:cubicBezTo>
                <a:lnTo>
                  <a:pt x="5076967" y="0"/>
                </a:lnTo>
                <a:lnTo>
                  <a:pt x="0" y="0"/>
                </a:lnTo>
                <a:lnTo>
                  <a:pt x="0" y="5090615"/>
                </a:lnTo>
                <a:lnTo>
                  <a:pt x="614149" y="5090615"/>
                </a:lnTo>
                <a:lnTo>
                  <a:pt x="631402" y="484882"/>
                </a:lnTo>
                <a:lnTo>
                  <a:pt x="638742" y="493508"/>
                </a:lnTo>
                <a:lnTo>
                  <a:pt x="7139380" y="514774"/>
                </a:lnTo>
                <a:close/>
              </a:path>
            </a:pathLst>
          </a:cu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050" dirty="0">
              <a:solidFill>
                <a:prstClr val="white"/>
              </a:solidFill>
            </a:endParaRPr>
          </a:p>
        </p:txBody>
      </p:sp>
      <p:sp>
        <p:nvSpPr>
          <p:cNvPr id="18" name="Rectangle 17"/>
          <p:cNvSpPr/>
          <p:nvPr/>
        </p:nvSpPr>
        <p:spPr>
          <a:xfrm>
            <a:off x="1224224" y="1371904"/>
            <a:ext cx="2231700" cy="25391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none">
            <a:spAutoFit/>
          </a:bodyPr>
          <a:lstStyle/>
          <a:p>
            <a:pPr algn="ctr"/>
            <a:r>
              <a:rPr lang="en-US" sz="1050" dirty="0" smtClean="0">
                <a:solidFill>
                  <a:prstClr val="white"/>
                </a:solidFill>
              </a:rPr>
              <a:t>End to End Program Management</a:t>
            </a:r>
            <a:endParaRPr lang="en-US" sz="1050" dirty="0">
              <a:solidFill>
                <a:prstClr val="white"/>
              </a:solidFill>
            </a:endParaRPr>
          </a:p>
        </p:txBody>
      </p:sp>
      <p:pic>
        <p:nvPicPr>
          <p:cNvPr id="20" name="Picture 2"/>
          <p:cNvPicPr>
            <a:picLocks noChangeAspect="1" noChangeArrowheads="1"/>
          </p:cNvPicPr>
          <p:nvPr/>
        </p:nvPicPr>
        <p:blipFill>
          <a:blip r:embed="rId2" cstate="print"/>
          <a:srcRect/>
          <a:stretch>
            <a:fillRect/>
          </a:stretch>
        </p:blipFill>
        <p:spPr bwMode="auto">
          <a:xfrm>
            <a:off x="4248673" y="2268541"/>
            <a:ext cx="811474" cy="411931"/>
          </a:xfrm>
          <a:prstGeom prst="rect">
            <a:avLst/>
          </a:prstGeom>
          <a:noFill/>
          <a:ln w="9525">
            <a:noFill/>
            <a:miter lim="800000"/>
            <a:headEnd/>
            <a:tailEnd/>
          </a:ln>
        </p:spPr>
      </p:pic>
      <p:pic>
        <p:nvPicPr>
          <p:cNvPr id="21" name="Picture 116"/>
          <p:cNvPicPr>
            <a:picLocks noChangeAspect="1" noChangeArrowheads="1"/>
          </p:cNvPicPr>
          <p:nvPr/>
        </p:nvPicPr>
        <p:blipFill>
          <a:blip r:embed="rId3" cstate="email"/>
          <a:srcRect b="14807"/>
          <a:stretch>
            <a:fillRect/>
          </a:stretch>
        </p:blipFill>
        <p:spPr bwMode="auto">
          <a:xfrm>
            <a:off x="4200852" y="2842477"/>
            <a:ext cx="907117" cy="291051"/>
          </a:xfrm>
          <a:prstGeom prst="rect">
            <a:avLst/>
          </a:prstGeom>
          <a:noFill/>
          <a:ln w="9525">
            <a:noFill/>
            <a:miter lim="800000"/>
            <a:headEnd/>
            <a:tailEnd/>
          </a:ln>
        </p:spPr>
      </p:pic>
      <p:sp>
        <p:nvSpPr>
          <p:cNvPr id="22" name="Rectangle 21"/>
          <p:cNvSpPr/>
          <p:nvPr/>
        </p:nvSpPr>
        <p:spPr>
          <a:xfrm>
            <a:off x="4078948" y="3256027"/>
            <a:ext cx="1150924" cy="553085"/>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050" dirty="0" smtClean="0">
                <a:solidFill>
                  <a:prstClr val="white"/>
                </a:solidFill>
              </a:rPr>
              <a:t>H/W, S/W, </a:t>
            </a:r>
            <a:r>
              <a:rPr lang="en-US" sz="1050" dirty="0" err="1" smtClean="0">
                <a:solidFill>
                  <a:prstClr val="white"/>
                </a:solidFill>
              </a:rPr>
              <a:t>Comms</a:t>
            </a:r>
            <a:r>
              <a:rPr lang="en-US" sz="1050" dirty="0" smtClean="0">
                <a:solidFill>
                  <a:prstClr val="white"/>
                </a:solidFill>
              </a:rPr>
              <a:t>, Meters</a:t>
            </a:r>
          </a:p>
        </p:txBody>
      </p:sp>
      <p:sp>
        <p:nvSpPr>
          <p:cNvPr id="23" name="Rectangle 22"/>
          <p:cNvSpPr/>
          <p:nvPr/>
        </p:nvSpPr>
        <p:spPr>
          <a:xfrm>
            <a:off x="4041297" y="1851682"/>
            <a:ext cx="1226226" cy="1977245"/>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prstClr val="white"/>
              </a:solidFill>
            </a:endParaRPr>
          </a:p>
        </p:txBody>
      </p:sp>
      <p:grpSp>
        <p:nvGrpSpPr>
          <p:cNvPr id="45" name="Group 44"/>
          <p:cNvGrpSpPr/>
          <p:nvPr/>
        </p:nvGrpSpPr>
        <p:grpSpPr>
          <a:xfrm>
            <a:off x="5608197" y="1056989"/>
            <a:ext cx="3212247" cy="2185240"/>
            <a:chOff x="5608197" y="1056989"/>
            <a:chExt cx="3212247" cy="2185240"/>
          </a:xfrm>
        </p:grpSpPr>
        <p:sp>
          <p:nvSpPr>
            <p:cNvPr id="27" name="TextBox 26"/>
            <p:cNvSpPr txBox="1"/>
            <p:nvPr/>
          </p:nvSpPr>
          <p:spPr>
            <a:xfrm>
              <a:off x="5608197" y="1118571"/>
              <a:ext cx="3212247" cy="2123658"/>
            </a:xfrm>
            <a:prstGeom prst="rect">
              <a:avLst/>
            </a:prstGeom>
            <a:noFill/>
          </p:spPr>
          <p:txBody>
            <a:bodyPr wrap="square" rtlCol="0">
              <a:spAutoFit/>
            </a:bodyPr>
            <a:lstStyle/>
            <a:p>
              <a:pPr marL="171450" indent="-171450">
                <a:buFont typeface="Arial" pitchFamily="34" charset="0"/>
                <a:buChar char="•"/>
              </a:pPr>
              <a:endParaRPr lang="en-US" sz="1200" dirty="0" smtClean="0">
                <a:solidFill>
                  <a:prstClr val="black"/>
                </a:solidFill>
              </a:endParaRPr>
            </a:p>
            <a:p>
              <a:pPr marL="177800" indent="-177800">
                <a:buFont typeface="Arial" pitchFamily="34" charset="0"/>
                <a:buChar char="•"/>
              </a:pPr>
              <a:r>
                <a:rPr lang="en-US" sz="1200" dirty="0" smtClean="0">
                  <a:solidFill>
                    <a:prstClr val="black"/>
                  </a:solidFill>
                </a:rPr>
                <a:t>End to end Smart Metering Implementation and/ or  Managed Service</a:t>
              </a:r>
            </a:p>
            <a:p>
              <a:pPr marL="177800" indent="-177800">
                <a:buFont typeface="Arial" pitchFamily="34" charset="0"/>
                <a:buChar char="•"/>
              </a:pPr>
              <a:r>
                <a:rPr lang="en-US" sz="1200" dirty="0" smtClean="0">
                  <a:solidFill>
                    <a:prstClr val="black"/>
                  </a:solidFill>
                </a:rPr>
                <a:t>Initial deal(s) will require a Build phase paid for by the clients followed by </a:t>
              </a:r>
              <a:r>
                <a:rPr lang="en-US" sz="1200" smtClean="0">
                  <a:solidFill>
                    <a:prstClr val="black"/>
                  </a:solidFill>
                </a:rPr>
                <a:t>a $/</a:t>
              </a:r>
              <a:r>
                <a:rPr lang="en-US" sz="1200" dirty="0" smtClean="0">
                  <a:solidFill>
                    <a:prstClr val="black"/>
                  </a:solidFill>
                </a:rPr>
                <a:t>Meter all-in run service</a:t>
              </a:r>
            </a:p>
            <a:p>
              <a:pPr marL="177800" indent="-177800">
                <a:buFont typeface="Arial" pitchFamily="34" charset="0"/>
                <a:buChar char="•"/>
              </a:pPr>
              <a:r>
                <a:rPr lang="en-US" sz="1200" dirty="0" smtClean="0">
                  <a:solidFill>
                    <a:prstClr val="black"/>
                  </a:solidFill>
                </a:rPr>
                <a:t>Once we have a managed services platform both the Build and Run can be provided as </a:t>
              </a:r>
              <a:r>
                <a:rPr lang="en-US" sz="1200" smtClean="0">
                  <a:solidFill>
                    <a:prstClr val="black"/>
                  </a:solidFill>
                </a:rPr>
                <a:t>a $/</a:t>
              </a:r>
              <a:r>
                <a:rPr lang="en-US" sz="1200" dirty="0" smtClean="0">
                  <a:solidFill>
                    <a:prstClr val="black"/>
                  </a:solidFill>
                </a:rPr>
                <a:t>Meter proposition</a:t>
              </a:r>
            </a:p>
            <a:p>
              <a:pPr marL="177800" indent="-177800">
                <a:buFont typeface="Arial" pitchFamily="34" charset="0"/>
                <a:buChar char="•"/>
              </a:pPr>
              <a:r>
                <a:rPr lang="en-US" sz="1200" dirty="0" smtClean="0">
                  <a:solidFill>
                    <a:prstClr val="black"/>
                  </a:solidFill>
                </a:rPr>
                <a:t>Leverage analytics to tie fees to identification of benefits (e.g. theft)</a:t>
              </a:r>
            </a:p>
          </p:txBody>
        </p:sp>
        <p:sp>
          <p:nvSpPr>
            <p:cNvPr id="28" name="Rectangle 27"/>
            <p:cNvSpPr/>
            <p:nvPr/>
          </p:nvSpPr>
          <p:spPr>
            <a:xfrm>
              <a:off x="5608197" y="1199533"/>
              <a:ext cx="3212247" cy="204269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white"/>
                </a:solidFill>
              </a:endParaRPr>
            </a:p>
          </p:txBody>
        </p:sp>
        <p:sp>
          <p:nvSpPr>
            <p:cNvPr id="29" name="Text Box 11"/>
            <p:cNvSpPr txBox="1">
              <a:spLocks noChangeArrowheads="1"/>
            </p:cNvSpPr>
            <p:nvPr/>
          </p:nvSpPr>
          <p:spPr bwMode="gray">
            <a:xfrm>
              <a:off x="5722497" y="1056989"/>
              <a:ext cx="1196918" cy="276999"/>
            </a:xfrm>
            <a:prstGeom prst="rect">
              <a:avLst/>
            </a:prstGeom>
            <a:solidFill>
              <a:schemeClr val="bg1"/>
            </a:solidFill>
            <a:ln w="12700" algn="ctr">
              <a:noFill/>
              <a:miter lim="800000"/>
              <a:headEnd type="none" w="sm" len="sm"/>
              <a:tailEnd type="none" w="sm" len="sm"/>
            </a:ln>
          </p:spPr>
          <p:txBody>
            <a:bodyPr wrap="square">
              <a:spAutoFit/>
            </a:bodyPr>
            <a:lstStyle/>
            <a:p>
              <a:pPr eaLnBrk="0" hangingPunct="0">
                <a:buClr>
                  <a:srgbClr val="4F81BD"/>
                </a:buClr>
                <a:tabLst>
                  <a:tab pos="1046163" algn="l"/>
                </a:tabLst>
              </a:pPr>
              <a:r>
                <a:rPr lang="en-US" sz="1200" b="1" dirty="0" smtClean="0">
                  <a:solidFill>
                    <a:prstClr val="black"/>
                  </a:solidFill>
                </a:rPr>
                <a:t>Description</a:t>
              </a:r>
              <a:endParaRPr lang="en-US" sz="1200" b="1" dirty="0">
                <a:solidFill>
                  <a:prstClr val="black"/>
                </a:solidFill>
              </a:endParaRPr>
            </a:p>
          </p:txBody>
        </p:sp>
      </p:grpSp>
      <p:grpSp>
        <p:nvGrpSpPr>
          <p:cNvPr id="38" name="Group 37"/>
          <p:cNvGrpSpPr/>
          <p:nvPr/>
        </p:nvGrpSpPr>
        <p:grpSpPr>
          <a:xfrm>
            <a:off x="5608196" y="3275556"/>
            <a:ext cx="3212247" cy="1217394"/>
            <a:chOff x="5608196" y="2928291"/>
            <a:chExt cx="3212247" cy="2064546"/>
          </a:xfrm>
        </p:grpSpPr>
        <p:sp>
          <p:nvSpPr>
            <p:cNvPr id="31" name="TextBox 30"/>
            <p:cNvSpPr txBox="1"/>
            <p:nvPr/>
          </p:nvSpPr>
          <p:spPr>
            <a:xfrm>
              <a:off x="5608196" y="2957231"/>
              <a:ext cx="3212247" cy="2035606"/>
            </a:xfrm>
            <a:prstGeom prst="rect">
              <a:avLst/>
            </a:prstGeom>
            <a:noFill/>
          </p:spPr>
          <p:txBody>
            <a:bodyPr wrap="square" rtlCol="0">
              <a:spAutoFit/>
            </a:bodyPr>
            <a:lstStyle/>
            <a:p>
              <a:pPr marL="171450" indent="-171450">
                <a:buFont typeface="Arial" pitchFamily="34" charset="0"/>
                <a:buChar char="•"/>
              </a:pPr>
              <a:endParaRPr lang="en-US" sz="1200" dirty="0" smtClean="0">
                <a:solidFill>
                  <a:prstClr val="black"/>
                </a:solidFill>
              </a:endParaRPr>
            </a:p>
            <a:p>
              <a:pPr marL="177800" indent="-177800">
                <a:buFont typeface="Arial" pitchFamily="34" charset="0"/>
                <a:buChar char="•"/>
              </a:pPr>
              <a:r>
                <a:rPr lang="en-US" sz="1200" dirty="0">
                  <a:solidFill>
                    <a:prstClr val="black"/>
                  </a:solidFill>
                </a:rPr>
                <a:t>Reduced end to end spend (20-30%)</a:t>
              </a:r>
            </a:p>
            <a:p>
              <a:pPr marL="177800" indent="-177800">
                <a:buFont typeface="Arial" pitchFamily="34" charset="0"/>
                <a:buChar char="•"/>
              </a:pPr>
              <a:r>
                <a:rPr lang="en-US" sz="1200" dirty="0" smtClean="0">
                  <a:solidFill>
                    <a:prstClr val="black"/>
                  </a:solidFill>
                </a:rPr>
                <a:t>Reduced risk </a:t>
              </a:r>
            </a:p>
            <a:p>
              <a:pPr marL="177800" indent="-177800">
                <a:buFont typeface="Arial" pitchFamily="34" charset="0"/>
                <a:buChar char="•"/>
              </a:pPr>
              <a:r>
                <a:rPr lang="en-US" sz="1200" dirty="0" smtClean="0">
                  <a:solidFill>
                    <a:prstClr val="black"/>
                  </a:solidFill>
                </a:rPr>
                <a:t>Provision of advanced capabilities (analytics) to drive business outcomes</a:t>
              </a:r>
            </a:p>
            <a:p>
              <a:pPr marL="177800" indent="-177800">
                <a:buFont typeface="Arial" pitchFamily="34" charset="0"/>
                <a:buChar char="•"/>
              </a:pPr>
              <a:endParaRPr lang="en-US" sz="1200" dirty="0" smtClean="0">
                <a:solidFill>
                  <a:prstClr val="black"/>
                </a:solidFill>
              </a:endParaRPr>
            </a:p>
          </p:txBody>
        </p:sp>
        <p:sp>
          <p:nvSpPr>
            <p:cNvPr id="32" name="Rectangle 31"/>
            <p:cNvSpPr/>
            <p:nvPr/>
          </p:nvSpPr>
          <p:spPr>
            <a:xfrm>
              <a:off x="5608196" y="3084483"/>
              <a:ext cx="3212247" cy="16733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white"/>
                </a:solidFill>
              </a:endParaRPr>
            </a:p>
          </p:txBody>
        </p:sp>
        <p:sp>
          <p:nvSpPr>
            <p:cNvPr id="33" name="Text Box 11"/>
            <p:cNvSpPr txBox="1">
              <a:spLocks noChangeArrowheads="1"/>
            </p:cNvSpPr>
            <p:nvPr/>
          </p:nvSpPr>
          <p:spPr bwMode="gray">
            <a:xfrm>
              <a:off x="5722496" y="2928291"/>
              <a:ext cx="1491824" cy="276999"/>
            </a:xfrm>
            <a:prstGeom prst="rect">
              <a:avLst/>
            </a:prstGeom>
            <a:solidFill>
              <a:schemeClr val="bg1"/>
            </a:solidFill>
            <a:ln w="12700" algn="ctr">
              <a:noFill/>
              <a:miter lim="800000"/>
              <a:headEnd type="none" w="sm" len="sm"/>
              <a:tailEnd type="none" w="sm" len="sm"/>
            </a:ln>
          </p:spPr>
          <p:txBody>
            <a:bodyPr wrap="square">
              <a:spAutoFit/>
            </a:bodyPr>
            <a:lstStyle/>
            <a:p>
              <a:pPr eaLnBrk="0" hangingPunct="0">
                <a:buClr>
                  <a:srgbClr val="4F81BD"/>
                </a:buClr>
                <a:tabLst>
                  <a:tab pos="1046163" algn="l"/>
                </a:tabLst>
              </a:pPr>
              <a:r>
                <a:rPr lang="en-US" sz="1200" b="1" dirty="0" smtClean="0">
                  <a:solidFill>
                    <a:prstClr val="black"/>
                  </a:solidFill>
                </a:rPr>
                <a:t>Value Proposition</a:t>
              </a:r>
              <a:endParaRPr lang="en-US" sz="1200" b="1" dirty="0">
                <a:solidFill>
                  <a:prstClr val="black"/>
                </a:solidFill>
              </a:endParaRPr>
            </a:p>
          </p:txBody>
        </p:sp>
      </p:grpSp>
      <p:grpSp>
        <p:nvGrpSpPr>
          <p:cNvPr id="46" name="Group 45"/>
          <p:cNvGrpSpPr/>
          <p:nvPr/>
        </p:nvGrpSpPr>
        <p:grpSpPr>
          <a:xfrm>
            <a:off x="5608195" y="5154441"/>
            <a:ext cx="3212247" cy="1634282"/>
            <a:chOff x="5608195" y="5154441"/>
            <a:chExt cx="3212247" cy="1634282"/>
          </a:xfrm>
        </p:grpSpPr>
        <p:sp>
          <p:nvSpPr>
            <p:cNvPr id="34" name="TextBox 33"/>
            <p:cNvSpPr txBox="1"/>
            <p:nvPr/>
          </p:nvSpPr>
          <p:spPr>
            <a:xfrm>
              <a:off x="5608195" y="5216023"/>
              <a:ext cx="3212247" cy="1569660"/>
            </a:xfrm>
            <a:prstGeom prst="rect">
              <a:avLst/>
            </a:prstGeom>
            <a:noFill/>
          </p:spPr>
          <p:txBody>
            <a:bodyPr wrap="square" rtlCol="0">
              <a:spAutoFit/>
            </a:bodyPr>
            <a:lstStyle/>
            <a:p>
              <a:pPr marL="171450" indent="-171450">
                <a:buFont typeface="Arial" pitchFamily="34" charset="0"/>
                <a:buChar char="•"/>
              </a:pPr>
              <a:endParaRPr lang="en-US" sz="1200" dirty="0" smtClean="0">
                <a:solidFill>
                  <a:prstClr val="black"/>
                </a:solidFill>
              </a:endParaRPr>
            </a:p>
            <a:p>
              <a:pPr marL="177800" indent="-177800">
                <a:buFont typeface="Arial" pitchFamily="34" charset="0"/>
                <a:buChar char="•"/>
              </a:pPr>
              <a:r>
                <a:rPr lang="en-US" sz="1200" b="1" dirty="0" smtClean="0">
                  <a:solidFill>
                    <a:prstClr val="black"/>
                  </a:solidFill>
                </a:rPr>
                <a:t>Exelon – Eagle </a:t>
              </a:r>
              <a:r>
                <a:rPr lang="en-US" sz="1200" smtClean="0">
                  <a:solidFill>
                    <a:prstClr val="black"/>
                  </a:solidFill>
                </a:rPr>
                <a:t>- $60-200M </a:t>
              </a:r>
              <a:r>
                <a:rPr lang="en-US" sz="1200" dirty="0" smtClean="0">
                  <a:solidFill>
                    <a:prstClr val="black"/>
                  </a:solidFill>
                </a:rPr>
                <a:t>– part of Exelon’s consolidation </a:t>
              </a:r>
            </a:p>
            <a:p>
              <a:pPr marL="177800" indent="-177800">
                <a:buFont typeface="Arial" pitchFamily="34" charset="0"/>
                <a:buChar char="•"/>
              </a:pPr>
              <a:r>
                <a:rPr lang="en-US" sz="1200" b="1" dirty="0" smtClean="0">
                  <a:solidFill>
                    <a:prstClr val="black"/>
                  </a:solidFill>
                </a:rPr>
                <a:t>Providence – AGL </a:t>
              </a:r>
              <a:r>
                <a:rPr lang="en-US" sz="1200" dirty="0" smtClean="0">
                  <a:solidFill>
                    <a:prstClr val="black"/>
                  </a:solidFill>
                </a:rPr>
                <a:t>(and others) </a:t>
              </a:r>
              <a:r>
                <a:rPr lang="en-US" sz="1200" smtClean="0">
                  <a:solidFill>
                    <a:prstClr val="black"/>
                  </a:solidFill>
                </a:rPr>
                <a:t>- $130M </a:t>
              </a:r>
              <a:r>
                <a:rPr lang="en-US" sz="1200" dirty="0" smtClean="0">
                  <a:solidFill>
                    <a:prstClr val="black"/>
                  </a:solidFill>
                </a:rPr>
                <a:t>– Active discussions with AGL,  Energy Australia and Origin</a:t>
              </a:r>
            </a:p>
            <a:p>
              <a:pPr marL="177800" indent="-177800">
                <a:buFont typeface="Arial" pitchFamily="34" charset="0"/>
                <a:buChar char="•"/>
              </a:pPr>
              <a:r>
                <a:rPr lang="en-US" sz="1200" dirty="0" smtClean="0">
                  <a:solidFill>
                    <a:prstClr val="black"/>
                  </a:solidFill>
                </a:rPr>
                <a:t>Future pipeline: Brazil, Turkey, </a:t>
              </a:r>
              <a:r>
                <a:rPr lang="en-US" sz="1200" dirty="0" err="1" smtClean="0">
                  <a:solidFill>
                    <a:prstClr val="black"/>
                  </a:solidFill>
                </a:rPr>
                <a:t>E.On</a:t>
              </a:r>
              <a:r>
                <a:rPr lang="en-US" sz="1200" dirty="0" smtClean="0">
                  <a:solidFill>
                    <a:prstClr val="black"/>
                  </a:solidFill>
                </a:rPr>
                <a:t>, Japan – EALA / APAC Match Fit</a:t>
              </a:r>
            </a:p>
          </p:txBody>
        </p:sp>
        <p:sp>
          <p:nvSpPr>
            <p:cNvPr id="35" name="Rectangle 34"/>
            <p:cNvSpPr/>
            <p:nvPr/>
          </p:nvSpPr>
          <p:spPr>
            <a:xfrm>
              <a:off x="5608195" y="5296985"/>
              <a:ext cx="3212247" cy="14917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white"/>
                </a:solidFill>
              </a:endParaRPr>
            </a:p>
          </p:txBody>
        </p:sp>
        <p:sp>
          <p:nvSpPr>
            <p:cNvPr id="36" name="Text Box 11"/>
            <p:cNvSpPr txBox="1">
              <a:spLocks noChangeArrowheads="1"/>
            </p:cNvSpPr>
            <p:nvPr/>
          </p:nvSpPr>
          <p:spPr bwMode="gray">
            <a:xfrm>
              <a:off x="5722495" y="5154441"/>
              <a:ext cx="1196918" cy="276999"/>
            </a:xfrm>
            <a:prstGeom prst="rect">
              <a:avLst/>
            </a:prstGeom>
            <a:solidFill>
              <a:schemeClr val="bg1"/>
            </a:solidFill>
            <a:ln w="12700" algn="ctr">
              <a:noFill/>
              <a:miter lim="800000"/>
              <a:headEnd type="none" w="sm" len="sm"/>
              <a:tailEnd type="none" w="sm" len="sm"/>
            </a:ln>
          </p:spPr>
          <p:txBody>
            <a:bodyPr wrap="square">
              <a:spAutoFit/>
            </a:bodyPr>
            <a:lstStyle/>
            <a:p>
              <a:pPr eaLnBrk="0" hangingPunct="0">
                <a:buClr>
                  <a:srgbClr val="4F81BD"/>
                </a:buClr>
                <a:tabLst>
                  <a:tab pos="1046163" algn="l"/>
                </a:tabLst>
              </a:pPr>
              <a:r>
                <a:rPr lang="en-US" sz="1200" b="1" dirty="0" smtClean="0">
                  <a:solidFill>
                    <a:prstClr val="black"/>
                  </a:solidFill>
                </a:rPr>
                <a:t>Pipeline</a:t>
              </a:r>
              <a:endParaRPr lang="en-US" sz="1200" b="1" dirty="0">
                <a:solidFill>
                  <a:prstClr val="black"/>
                </a:solidFill>
              </a:endParaRPr>
            </a:p>
          </p:txBody>
        </p:sp>
      </p:grpSp>
      <p:sp>
        <p:nvSpPr>
          <p:cNvPr id="37" name="Slide Number Placeholder 1"/>
          <p:cNvSpPr txBox="1">
            <a:spLocks/>
          </p:cNvSpPr>
          <p:nvPr/>
        </p:nvSpPr>
        <p:spPr>
          <a:xfrm>
            <a:off x="7444154" y="6597651"/>
            <a:ext cx="1693985" cy="269875"/>
          </a:xfrm>
          <a:prstGeom prst="rect">
            <a:avLst/>
          </a:prstGeom>
        </p:spPr>
        <p:txBody>
          <a:bodyPr/>
          <a:lstStyle>
            <a:defPPr>
              <a:defRPr lang="en-US"/>
            </a:defPPr>
            <a:lvl1pPr algn="r" rtl="0" fontAlgn="base">
              <a:spcBef>
                <a:spcPct val="0"/>
              </a:spcBef>
              <a:spcAft>
                <a:spcPct val="0"/>
              </a:spcAft>
              <a:defRPr sz="10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defRPr/>
            </a:pPr>
            <a:fld id="{F46C8E8C-1F1A-46DA-8413-ADD73B8B95FA}" type="slidenum">
              <a:rPr lang="en-US" smtClean="0">
                <a:solidFill>
                  <a:prstClr val="black"/>
                </a:solidFill>
              </a:rPr>
              <a:pPr>
                <a:defRPr/>
              </a:pPr>
              <a:t>33</a:t>
            </a:fld>
            <a:endParaRPr lang="en-US" dirty="0">
              <a:solidFill>
                <a:prstClr val="black"/>
              </a:solidFill>
            </a:endParaRPr>
          </a:p>
        </p:txBody>
      </p:sp>
      <p:grpSp>
        <p:nvGrpSpPr>
          <p:cNvPr id="41" name="Group 40"/>
          <p:cNvGrpSpPr/>
          <p:nvPr/>
        </p:nvGrpSpPr>
        <p:grpSpPr>
          <a:xfrm>
            <a:off x="5610468" y="4396076"/>
            <a:ext cx="3212247" cy="692144"/>
            <a:chOff x="5608196" y="2850631"/>
            <a:chExt cx="3212247" cy="1907216"/>
          </a:xfrm>
        </p:grpSpPr>
        <p:sp>
          <p:nvSpPr>
            <p:cNvPr id="42" name="TextBox 41"/>
            <p:cNvSpPr txBox="1"/>
            <p:nvPr/>
          </p:nvSpPr>
          <p:spPr>
            <a:xfrm>
              <a:off x="5608196" y="2928306"/>
              <a:ext cx="3212247" cy="1096096"/>
            </a:xfrm>
            <a:prstGeom prst="rect">
              <a:avLst/>
            </a:prstGeom>
            <a:noFill/>
          </p:spPr>
          <p:txBody>
            <a:bodyPr wrap="square" rtlCol="0">
              <a:spAutoFit/>
            </a:bodyPr>
            <a:lstStyle/>
            <a:p>
              <a:pPr marL="171450" indent="-171450">
                <a:buFont typeface="Arial" pitchFamily="34" charset="0"/>
                <a:buChar char="•"/>
              </a:pPr>
              <a:endParaRPr lang="en-US" sz="1200" dirty="0" smtClean="0">
                <a:solidFill>
                  <a:prstClr val="black"/>
                </a:solidFill>
              </a:endParaRPr>
            </a:p>
            <a:p>
              <a:pPr marL="177800" indent="-177800">
                <a:buFont typeface="Arial" pitchFamily="34" charset="0"/>
                <a:buChar char="•"/>
              </a:pPr>
              <a:r>
                <a:rPr lang="en-US" sz="1200" dirty="0" smtClean="0">
                  <a:solidFill>
                    <a:prstClr val="black"/>
                  </a:solidFill>
                </a:rPr>
                <a:t>Turnkey Implementation</a:t>
              </a:r>
              <a:r>
                <a:rPr lang="en-US" sz="1200" smtClean="0">
                  <a:solidFill>
                    <a:prstClr val="black"/>
                  </a:solidFill>
                </a:rPr>
                <a:t>: $60-120M</a:t>
              </a:r>
              <a:endParaRPr lang="en-US" sz="1200" dirty="0" smtClean="0">
                <a:solidFill>
                  <a:prstClr val="black"/>
                </a:solidFill>
              </a:endParaRPr>
            </a:p>
            <a:p>
              <a:pPr marL="177800" indent="-177800">
                <a:buFont typeface="Arial" pitchFamily="34" charset="0"/>
                <a:buChar char="•"/>
              </a:pPr>
              <a:r>
                <a:rPr lang="en-US" sz="1200" dirty="0" smtClean="0">
                  <a:solidFill>
                    <a:prstClr val="black"/>
                  </a:solidFill>
                </a:rPr>
                <a:t>Managed Service</a:t>
              </a:r>
              <a:r>
                <a:rPr lang="en-US" sz="1200" smtClean="0">
                  <a:solidFill>
                    <a:prstClr val="black"/>
                  </a:solidFill>
                </a:rPr>
                <a:t>: $150M </a:t>
              </a:r>
              <a:r>
                <a:rPr lang="en-US" sz="1200" dirty="0" smtClean="0">
                  <a:solidFill>
                    <a:prstClr val="black"/>
                  </a:solidFill>
                </a:rPr>
                <a:t>– 300M</a:t>
              </a:r>
            </a:p>
          </p:txBody>
        </p:sp>
        <p:sp>
          <p:nvSpPr>
            <p:cNvPr id="43" name="Rectangle 42"/>
            <p:cNvSpPr/>
            <p:nvPr/>
          </p:nvSpPr>
          <p:spPr>
            <a:xfrm>
              <a:off x="5608196" y="3084483"/>
              <a:ext cx="3212247" cy="16733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prstClr val="white"/>
                </a:solidFill>
              </a:endParaRPr>
            </a:p>
          </p:txBody>
        </p:sp>
        <p:sp>
          <p:nvSpPr>
            <p:cNvPr id="44" name="Text Box 11"/>
            <p:cNvSpPr txBox="1">
              <a:spLocks noChangeArrowheads="1"/>
            </p:cNvSpPr>
            <p:nvPr/>
          </p:nvSpPr>
          <p:spPr bwMode="gray">
            <a:xfrm>
              <a:off x="5722496" y="2850631"/>
              <a:ext cx="1491824" cy="763276"/>
            </a:xfrm>
            <a:prstGeom prst="rect">
              <a:avLst/>
            </a:prstGeom>
            <a:solidFill>
              <a:schemeClr val="bg1"/>
            </a:solidFill>
            <a:ln w="12700" algn="ctr">
              <a:noFill/>
              <a:miter lim="800000"/>
              <a:headEnd type="none" w="sm" len="sm"/>
              <a:tailEnd type="none" w="sm" len="sm"/>
            </a:ln>
          </p:spPr>
          <p:txBody>
            <a:bodyPr wrap="square">
              <a:spAutoFit/>
            </a:bodyPr>
            <a:lstStyle/>
            <a:p>
              <a:pPr eaLnBrk="0" hangingPunct="0">
                <a:buClr>
                  <a:srgbClr val="4F81BD"/>
                </a:buClr>
                <a:tabLst>
                  <a:tab pos="1046163" algn="l"/>
                </a:tabLst>
              </a:pPr>
              <a:r>
                <a:rPr lang="en-US" sz="1200" b="1" dirty="0" smtClean="0">
                  <a:solidFill>
                    <a:prstClr val="black"/>
                  </a:solidFill>
                </a:rPr>
                <a:t>Deal Size</a:t>
              </a:r>
              <a:endParaRPr lang="en-US" sz="1200" b="1" dirty="0">
                <a:solidFill>
                  <a:prstClr val="black"/>
                </a:solidFill>
              </a:endParaRPr>
            </a:p>
          </p:txBody>
        </p:sp>
      </p:grpSp>
      <p:sp>
        <p:nvSpPr>
          <p:cNvPr id="47" name="Text Box 8"/>
          <p:cNvSpPr txBox="1">
            <a:spLocks noChangeArrowheads="1"/>
          </p:cNvSpPr>
          <p:nvPr/>
        </p:nvSpPr>
        <p:spPr bwMode="auto">
          <a:xfrm>
            <a:off x="794210" y="1010835"/>
            <a:ext cx="1069848" cy="246221"/>
          </a:xfrm>
          <a:prstGeom prst="rect">
            <a:avLst/>
          </a:prstGeom>
          <a:noFill/>
          <a:ln w="12700">
            <a:noFill/>
            <a:miter lim="800000"/>
            <a:headEnd/>
            <a:tailEnd/>
          </a:ln>
        </p:spPr>
        <p:txBody>
          <a:bodyPr wrap="square">
            <a:spAutoFit/>
          </a:bodyPr>
          <a:lstStyle/>
          <a:p>
            <a:pPr marL="114300" indent="-114300" algn="ctr">
              <a:defRPr/>
            </a:pPr>
            <a:r>
              <a:rPr lang="en-US" sz="1000" b="1" kern="0" dirty="0">
                <a:solidFill>
                  <a:srgbClr val="C00000"/>
                </a:solidFill>
                <a:ea typeface="ＭＳ Ｐゴシック" pitchFamily="34" charset="-128"/>
                <a:cs typeface="Arial" pitchFamily="34" charset="0"/>
              </a:rPr>
              <a:t>“MANAGE”</a:t>
            </a:r>
          </a:p>
        </p:txBody>
      </p:sp>
      <p:sp>
        <p:nvSpPr>
          <p:cNvPr id="48" name="Text Box 8"/>
          <p:cNvSpPr txBox="1">
            <a:spLocks noChangeArrowheads="1"/>
          </p:cNvSpPr>
          <p:nvPr/>
        </p:nvSpPr>
        <p:spPr bwMode="auto">
          <a:xfrm>
            <a:off x="1935623" y="1010835"/>
            <a:ext cx="1069848" cy="246221"/>
          </a:xfrm>
          <a:prstGeom prst="rect">
            <a:avLst/>
          </a:prstGeom>
          <a:noFill/>
          <a:ln w="12700">
            <a:noFill/>
            <a:miter lim="800000"/>
            <a:headEnd/>
            <a:tailEnd/>
          </a:ln>
        </p:spPr>
        <p:txBody>
          <a:bodyPr wrap="square">
            <a:spAutoFit/>
          </a:bodyPr>
          <a:lstStyle/>
          <a:p>
            <a:pPr marL="114300" indent="-114300" algn="ctr">
              <a:defRPr/>
            </a:pPr>
            <a:r>
              <a:rPr lang="en-US" sz="1000" b="1" kern="0">
                <a:solidFill>
                  <a:srgbClr val="C00000"/>
                </a:solidFill>
                <a:ea typeface="ＭＳ Ｐゴシック" pitchFamily="34" charset="-128"/>
                <a:cs typeface="Arial" pitchFamily="34" charset="0"/>
              </a:rPr>
              <a:t>“INTEGRATE”</a:t>
            </a:r>
          </a:p>
        </p:txBody>
      </p:sp>
      <p:sp>
        <p:nvSpPr>
          <p:cNvPr id="49" name="Text Box 8"/>
          <p:cNvSpPr txBox="1">
            <a:spLocks noChangeArrowheads="1"/>
          </p:cNvSpPr>
          <p:nvPr/>
        </p:nvSpPr>
        <p:spPr bwMode="auto">
          <a:xfrm>
            <a:off x="3077036" y="1010835"/>
            <a:ext cx="1069848" cy="246221"/>
          </a:xfrm>
          <a:prstGeom prst="rect">
            <a:avLst/>
          </a:prstGeom>
          <a:noFill/>
          <a:ln w="12700">
            <a:noFill/>
            <a:miter lim="800000"/>
            <a:headEnd/>
            <a:tailEnd/>
          </a:ln>
        </p:spPr>
        <p:txBody>
          <a:bodyPr wrap="square">
            <a:spAutoFit/>
          </a:bodyPr>
          <a:lstStyle/>
          <a:p>
            <a:pPr marL="114300" indent="-114300" algn="ctr">
              <a:defRPr/>
            </a:pPr>
            <a:r>
              <a:rPr lang="en-US" sz="1000" b="1" kern="0">
                <a:solidFill>
                  <a:srgbClr val="C00000"/>
                </a:solidFill>
                <a:ea typeface="ＭＳ Ｐゴシック" pitchFamily="34" charset="-128"/>
                <a:cs typeface="Arial" pitchFamily="34" charset="0"/>
              </a:rPr>
              <a:t>“OPERATE”</a:t>
            </a:r>
          </a:p>
        </p:txBody>
      </p:sp>
      <p:sp>
        <p:nvSpPr>
          <p:cNvPr id="7" name="Rectangle 6"/>
          <p:cNvSpPr/>
          <p:nvPr/>
        </p:nvSpPr>
        <p:spPr>
          <a:xfrm>
            <a:off x="904850" y="2652850"/>
            <a:ext cx="3056838" cy="40110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050" dirty="0" smtClean="0">
                <a:solidFill>
                  <a:prstClr val="white"/>
                </a:solidFill>
              </a:rPr>
              <a:t>AMI Applications</a:t>
            </a:r>
          </a:p>
          <a:p>
            <a:pPr algn="ctr"/>
            <a:r>
              <a:rPr lang="en-US" sz="1050" dirty="0" smtClean="0">
                <a:solidFill>
                  <a:prstClr val="white"/>
                </a:solidFill>
              </a:rPr>
              <a:t>(Customer Portal, MDM, Head End, CIS)</a:t>
            </a:r>
            <a:endParaRPr lang="en-US" sz="1000" dirty="0">
              <a:solidFill>
                <a:prstClr val="white"/>
              </a:solidFill>
            </a:endParaRPr>
          </a:p>
        </p:txBody>
      </p:sp>
      <p:sp>
        <p:nvSpPr>
          <p:cNvPr id="8" name="Rectangle 7"/>
          <p:cNvSpPr/>
          <p:nvPr/>
        </p:nvSpPr>
        <p:spPr>
          <a:xfrm>
            <a:off x="904850" y="2252266"/>
            <a:ext cx="3056838" cy="40110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050" dirty="0" smtClean="0">
                <a:solidFill>
                  <a:prstClr val="white"/>
                </a:solidFill>
              </a:rPr>
              <a:t>Smart Operations Center</a:t>
            </a:r>
          </a:p>
        </p:txBody>
      </p:sp>
      <p:sp>
        <p:nvSpPr>
          <p:cNvPr id="10" name="Rectangle 9"/>
          <p:cNvSpPr/>
          <p:nvPr/>
        </p:nvSpPr>
        <p:spPr>
          <a:xfrm>
            <a:off x="904850" y="1851682"/>
            <a:ext cx="3056838" cy="40110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050" dirty="0">
                <a:solidFill>
                  <a:prstClr val="white"/>
                </a:solidFill>
              </a:rPr>
              <a:t>Analytics / BI / Insights</a:t>
            </a:r>
          </a:p>
        </p:txBody>
      </p:sp>
      <p:sp>
        <p:nvSpPr>
          <p:cNvPr id="50" name="Rectangle 49"/>
          <p:cNvSpPr/>
          <p:nvPr/>
        </p:nvSpPr>
        <p:spPr>
          <a:xfrm>
            <a:off x="904850" y="3053434"/>
            <a:ext cx="3056838" cy="40110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050" dirty="0" smtClean="0">
                <a:solidFill>
                  <a:prstClr val="white"/>
                </a:solidFill>
              </a:rPr>
              <a:t>Meter Deployment Tracking</a:t>
            </a:r>
          </a:p>
          <a:p>
            <a:pPr algn="ctr"/>
            <a:r>
              <a:rPr lang="en-US" sz="1050" dirty="0" smtClean="0">
                <a:solidFill>
                  <a:prstClr val="white"/>
                </a:solidFill>
              </a:rPr>
              <a:t>(Mobile, Scheduling, Work Management)</a:t>
            </a:r>
            <a:endParaRPr lang="en-US" sz="1000" dirty="0">
              <a:solidFill>
                <a:prstClr val="white"/>
              </a:solidFill>
            </a:endParaRPr>
          </a:p>
        </p:txBody>
      </p:sp>
      <p:sp>
        <p:nvSpPr>
          <p:cNvPr id="51" name="Rectangle 50"/>
          <p:cNvSpPr/>
          <p:nvPr/>
        </p:nvSpPr>
        <p:spPr>
          <a:xfrm>
            <a:off x="904850" y="3454018"/>
            <a:ext cx="3056838" cy="40110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050" dirty="0" smtClean="0">
                <a:solidFill>
                  <a:prstClr val="white"/>
                </a:solidFill>
              </a:rPr>
              <a:t>Market Transaction Services</a:t>
            </a:r>
            <a:endParaRPr lang="en-US" sz="1000" dirty="0">
              <a:solidFill>
                <a:prstClr val="white"/>
              </a:solidFill>
            </a:endParaRPr>
          </a:p>
        </p:txBody>
      </p:sp>
      <p:sp>
        <p:nvSpPr>
          <p:cNvPr id="53" name="Rectangle 52"/>
          <p:cNvSpPr/>
          <p:nvPr/>
        </p:nvSpPr>
        <p:spPr>
          <a:xfrm>
            <a:off x="904850" y="3854602"/>
            <a:ext cx="3056838" cy="40110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050" dirty="0" smtClean="0">
                <a:solidFill>
                  <a:prstClr val="white"/>
                </a:solidFill>
              </a:rPr>
              <a:t>End to End Integration Architecture &amp; Security</a:t>
            </a:r>
            <a:endParaRPr lang="en-US" sz="1000" dirty="0">
              <a:solidFill>
                <a:prstClr val="white"/>
              </a:solidFill>
            </a:endParaRPr>
          </a:p>
        </p:txBody>
      </p:sp>
      <p:sp>
        <p:nvSpPr>
          <p:cNvPr id="54" name="TextBox 53"/>
          <p:cNvSpPr txBox="1"/>
          <p:nvPr/>
        </p:nvSpPr>
        <p:spPr>
          <a:xfrm>
            <a:off x="2811263" y="6581001"/>
            <a:ext cx="2853666" cy="215444"/>
          </a:xfrm>
          <a:prstGeom prst="rect">
            <a:avLst/>
          </a:prstGeom>
          <a:noFill/>
        </p:spPr>
        <p:txBody>
          <a:bodyPr wrap="none" rtlCol="0">
            <a:spAutoFit/>
          </a:bodyPr>
          <a:lstStyle/>
          <a:p>
            <a:r>
              <a:rPr lang="en-US" sz="800" dirty="0" smtClean="0">
                <a:solidFill>
                  <a:prstClr val="black"/>
                </a:solidFill>
              </a:rPr>
              <a:t>*Typically provided by the Distribution company or Retailer</a:t>
            </a:r>
            <a:endParaRPr lang="en-US" sz="800" dirty="0">
              <a:solidFill>
                <a:prstClr val="black"/>
              </a:solidFill>
            </a:endParaRPr>
          </a:p>
        </p:txBody>
      </p:sp>
      <p:sp>
        <p:nvSpPr>
          <p:cNvPr id="2" name="Rectangle 1"/>
          <p:cNvSpPr/>
          <p:nvPr/>
        </p:nvSpPr>
        <p:spPr>
          <a:xfrm>
            <a:off x="4022667" y="1863129"/>
            <a:ext cx="1263486" cy="253916"/>
          </a:xfrm>
          <a:prstGeom prst="rect">
            <a:avLst/>
          </a:prstGeom>
        </p:spPr>
        <p:txBody>
          <a:bodyPr wrap="none">
            <a:spAutoFit/>
          </a:bodyPr>
          <a:lstStyle/>
          <a:p>
            <a:pPr algn="ctr"/>
            <a:r>
              <a:rPr lang="en-US" sz="1050" dirty="0" smtClean="0">
                <a:solidFill>
                  <a:prstClr val="black"/>
                </a:solidFill>
              </a:rPr>
              <a:t>Strategic Partners</a:t>
            </a:r>
            <a:endParaRPr lang="en-US" sz="1050" dirty="0">
              <a:solidFill>
                <a:prstClr val="black"/>
              </a:solidFill>
            </a:endParaRPr>
          </a:p>
        </p:txBody>
      </p:sp>
    </p:spTree>
    <p:extLst>
      <p:ext uri="{BB962C8B-B14F-4D97-AF65-F5344CB8AC3E}">
        <p14:creationId xmlns:p14="http://schemas.microsoft.com/office/powerpoint/2010/main" val="42572072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1"/>
          </p:nvPr>
        </p:nvSpPr>
        <p:spPr>
          <a:xfrm>
            <a:off x="446151" y="525183"/>
            <a:ext cx="8251698" cy="5807635"/>
          </a:xfrm>
        </p:spPr>
        <p:txBody>
          <a:bodyPr>
            <a:noAutofit/>
          </a:bodyPr>
          <a:lstStyle/>
          <a:p>
            <a:pPr>
              <a:spcBef>
                <a:spcPts val="1200"/>
              </a:spcBef>
              <a:spcAft>
                <a:spcPts val="600"/>
              </a:spcAft>
            </a:pPr>
            <a:r>
              <a:rPr lang="es-ES_tradnl" dirty="0">
                <a:solidFill>
                  <a:schemeClr val="bg1">
                    <a:lumMod val="65000"/>
                  </a:schemeClr>
                </a:solidFill>
              </a:rPr>
              <a:t>Esquema General.</a:t>
            </a:r>
          </a:p>
          <a:p>
            <a:pPr>
              <a:spcBef>
                <a:spcPts val="1200"/>
              </a:spcBef>
              <a:spcAft>
                <a:spcPts val="600"/>
              </a:spcAft>
            </a:pPr>
            <a:r>
              <a:rPr lang="es-ES_tradnl" dirty="0">
                <a:solidFill>
                  <a:schemeClr val="bg1">
                    <a:lumMod val="65000"/>
                  </a:schemeClr>
                </a:solidFill>
              </a:rPr>
              <a:t>Introducción a la cadena de valor.</a:t>
            </a:r>
          </a:p>
          <a:p>
            <a:pPr>
              <a:spcBef>
                <a:spcPts val="1200"/>
              </a:spcBef>
              <a:spcAft>
                <a:spcPts val="600"/>
              </a:spcAft>
            </a:pPr>
            <a:r>
              <a:rPr lang="es-ES_tradnl" dirty="0" smtClean="0">
                <a:solidFill>
                  <a:schemeClr val="bg1">
                    <a:lumMod val="65000"/>
                  </a:schemeClr>
                </a:solidFill>
              </a:rPr>
              <a:t>Remuneración Actividades Liberalizadas </a:t>
            </a:r>
          </a:p>
          <a:p>
            <a:pPr>
              <a:spcBef>
                <a:spcPts val="1200"/>
              </a:spcBef>
              <a:spcAft>
                <a:spcPts val="600"/>
              </a:spcAft>
            </a:pPr>
            <a:r>
              <a:rPr lang="es-ES_tradnl" dirty="0" smtClean="0">
                <a:solidFill>
                  <a:schemeClr val="bg1">
                    <a:lumMod val="65000"/>
                  </a:schemeClr>
                </a:solidFill>
              </a:rPr>
              <a:t>Remuneración de Actividades Reguladas</a:t>
            </a:r>
          </a:p>
          <a:p>
            <a:pPr>
              <a:spcBef>
                <a:spcPts val="1200"/>
              </a:spcBef>
              <a:spcAft>
                <a:spcPts val="600"/>
              </a:spcAft>
            </a:pPr>
            <a:r>
              <a:rPr lang="es-ES_tradnl" dirty="0" smtClean="0">
                <a:solidFill>
                  <a:schemeClr val="bg1">
                    <a:lumMod val="65000"/>
                  </a:schemeClr>
                </a:solidFill>
              </a:rPr>
              <a:t>Situación en España. Déficit de tarifa</a:t>
            </a:r>
          </a:p>
          <a:p>
            <a:pPr>
              <a:spcBef>
                <a:spcPts val="1200"/>
              </a:spcBef>
              <a:spcAft>
                <a:spcPts val="600"/>
              </a:spcAft>
            </a:pPr>
            <a:r>
              <a:rPr lang="es-ES_tradnl" dirty="0">
                <a:solidFill>
                  <a:schemeClr val="bg1">
                    <a:lumMod val="65000"/>
                  </a:schemeClr>
                </a:solidFill>
              </a:rPr>
              <a:t>Mapa de procesos.</a:t>
            </a:r>
          </a:p>
          <a:p>
            <a:pPr>
              <a:spcBef>
                <a:spcPts val="1200"/>
              </a:spcBef>
              <a:spcAft>
                <a:spcPts val="600"/>
              </a:spcAft>
            </a:pPr>
            <a:r>
              <a:rPr lang="es-ES_tradnl" dirty="0">
                <a:solidFill>
                  <a:schemeClr val="bg1">
                    <a:lumMod val="65000"/>
                  </a:schemeClr>
                </a:solidFill>
              </a:rPr>
              <a:t>Nuevas tecnologías.</a:t>
            </a:r>
          </a:p>
          <a:p>
            <a:pPr>
              <a:spcBef>
                <a:spcPts val="1200"/>
              </a:spcBef>
              <a:spcAft>
                <a:spcPts val="600"/>
              </a:spcAft>
            </a:pPr>
            <a:r>
              <a:rPr lang="es-ES_tradnl" dirty="0">
                <a:solidFill>
                  <a:schemeClr val="bg1">
                    <a:lumMod val="65000"/>
                  </a:schemeClr>
                </a:solidFill>
              </a:rPr>
              <a:t>Offerings de Accenture.</a:t>
            </a:r>
          </a:p>
          <a:p>
            <a:pPr>
              <a:spcBef>
                <a:spcPts val="1200"/>
              </a:spcBef>
              <a:spcAft>
                <a:spcPts val="600"/>
              </a:spcAft>
            </a:pPr>
            <a:r>
              <a:rPr lang="es-ES_tradnl" dirty="0">
                <a:solidFill>
                  <a:schemeClr val="tx1"/>
                </a:solidFill>
              </a:rPr>
              <a:t>Experiencias Accenture.</a:t>
            </a:r>
          </a:p>
        </p:txBody>
      </p:sp>
      <p:sp>
        <p:nvSpPr>
          <p:cNvPr id="40" name="Slide Number Placeholder 39"/>
          <p:cNvSpPr>
            <a:spLocks noGrp="1"/>
          </p:cNvSpPr>
          <p:nvPr>
            <p:ph type="sldNum" sz="quarter" idx="4"/>
          </p:nvPr>
        </p:nvSpPr>
        <p:spPr/>
        <p:txBody>
          <a:bodyPr/>
          <a:lstStyle/>
          <a:p>
            <a:fld id="{90CBDC3A-D49F-4631-A8C7-55D59B33E5FA}" type="slidenum">
              <a:rPr lang="en-US" smtClean="0"/>
              <a:pPr/>
              <a:t>34</a:t>
            </a:fld>
            <a:endParaRPr lang="en-US" dirty="0"/>
          </a:p>
        </p:txBody>
      </p:sp>
      <p:sp>
        <p:nvSpPr>
          <p:cNvPr id="5" name="Rounded Rectangle 4"/>
          <p:cNvSpPr/>
          <p:nvPr/>
        </p:nvSpPr>
        <p:spPr>
          <a:xfrm>
            <a:off x="281354" y="5458277"/>
            <a:ext cx="8707901" cy="6752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2442527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bwMode="auto">
          <a:xfrm>
            <a:off x="518746" y="3799112"/>
            <a:ext cx="7700826" cy="883106"/>
          </a:xfrm>
          <a:prstGeom prst="roundRect">
            <a:avLst/>
          </a:prstGeom>
          <a:solidFill>
            <a:schemeClr val="bg2">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17" name="Rounded Rectangle 16"/>
          <p:cNvSpPr/>
          <p:nvPr/>
        </p:nvSpPr>
        <p:spPr bwMode="auto">
          <a:xfrm>
            <a:off x="518746" y="2852054"/>
            <a:ext cx="7700826" cy="718460"/>
          </a:xfrm>
          <a:prstGeom prst="roundRect">
            <a:avLst/>
          </a:prstGeom>
          <a:solidFill>
            <a:schemeClr val="bg2">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11" name="Rounded Rectangle 10"/>
          <p:cNvSpPr/>
          <p:nvPr/>
        </p:nvSpPr>
        <p:spPr bwMode="auto">
          <a:xfrm>
            <a:off x="518746" y="2002968"/>
            <a:ext cx="7700826" cy="489857"/>
          </a:xfrm>
          <a:prstGeom prst="roundRect">
            <a:avLst/>
          </a:prstGeom>
          <a:solidFill>
            <a:schemeClr val="bg2">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4" name="Rounded Rectangle 3"/>
          <p:cNvSpPr/>
          <p:nvPr/>
        </p:nvSpPr>
        <p:spPr bwMode="auto">
          <a:xfrm>
            <a:off x="2281006" y="1752600"/>
            <a:ext cx="1477108" cy="311331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5" name="Rounded Rectangle 4"/>
          <p:cNvSpPr/>
          <p:nvPr/>
        </p:nvSpPr>
        <p:spPr bwMode="auto">
          <a:xfrm>
            <a:off x="4270672" y="1752600"/>
            <a:ext cx="1477108" cy="311331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6" name="Rounded Rectangle 5"/>
          <p:cNvSpPr/>
          <p:nvPr/>
        </p:nvSpPr>
        <p:spPr bwMode="auto">
          <a:xfrm>
            <a:off x="6270600" y="1752600"/>
            <a:ext cx="1477108" cy="311331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7" name="Rounded Rectangle 6"/>
          <p:cNvSpPr/>
          <p:nvPr/>
        </p:nvSpPr>
        <p:spPr bwMode="auto">
          <a:xfrm>
            <a:off x="2275875" y="5418369"/>
            <a:ext cx="5466702" cy="1077038"/>
          </a:xfrm>
          <a:prstGeom prst="round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8" name="TextBox 7"/>
          <p:cNvSpPr txBox="1"/>
          <p:nvPr/>
        </p:nvSpPr>
        <p:spPr>
          <a:xfrm>
            <a:off x="2281006" y="1447802"/>
            <a:ext cx="1477108" cy="272143"/>
          </a:xfrm>
          <a:prstGeom prst="rect">
            <a:avLst/>
          </a:prstGeom>
          <a:noFill/>
        </p:spPr>
        <p:txBody>
          <a:bodyPr wrap="square" lIns="36000" rIns="36000" rtlCol="0" anchor="ctr">
            <a:noAutofit/>
          </a:bodyPr>
          <a:lstStyle/>
          <a:p>
            <a:pPr algn="ctr"/>
            <a:r>
              <a:rPr lang="es-ES_tradnl" b="1" dirty="0" smtClean="0">
                <a:solidFill>
                  <a:srgbClr val="000066"/>
                </a:solidFill>
                <a:latin typeface="Arial" pitchFamily="34" charset="0"/>
                <a:cs typeface="+mn-cs"/>
              </a:rPr>
              <a:t>COMERCIAL</a:t>
            </a:r>
            <a:endParaRPr lang="en-US" b="1" dirty="0" smtClean="0">
              <a:solidFill>
                <a:srgbClr val="000066"/>
              </a:solidFill>
              <a:latin typeface="Arial" pitchFamily="34" charset="0"/>
              <a:cs typeface="+mn-cs"/>
            </a:endParaRPr>
          </a:p>
        </p:txBody>
      </p:sp>
      <p:sp>
        <p:nvSpPr>
          <p:cNvPr id="9" name="TextBox 8"/>
          <p:cNvSpPr txBox="1"/>
          <p:nvPr/>
        </p:nvSpPr>
        <p:spPr>
          <a:xfrm>
            <a:off x="4210485" y="1447802"/>
            <a:ext cx="1738519" cy="304798"/>
          </a:xfrm>
          <a:prstGeom prst="rect">
            <a:avLst/>
          </a:prstGeom>
          <a:noFill/>
        </p:spPr>
        <p:txBody>
          <a:bodyPr wrap="square" lIns="36000" rIns="36000" rtlCol="0" anchor="ctr">
            <a:noAutofit/>
          </a:bodyPr>
          <a:lstStyle/>
          <a:p>
            <a:pPr algn="ctr"/>
            <a:r>
              <a:rPr lang="es-ES_tradnl" b="1" dirty="0" smtClean="0">
                <a:solidFill>
                  <a:srgbClr val="000066"/>
                </a:solidFill>
                <a:latin typeface="Arial" pitchFamily="34" charset="0"/>
                <a:cs typeface="+mn-cs"/>
              </a:rPr>
              <a:t>DISTRIBUCIÓN</a:t>
            </a:r>
            <a:endParaRPr lang="en-US" b="1" dirty="0" smtClean="0">
              <a:solidFill>
                <a:srgbClr val="000066"/>
              </a:solidFill>
              <a:latin typeface="Arial" pitchFamily="34" charset="0"/>
              <a:cs typeface="+mn-cs"/>
            </a:endParaRPr>
          </a:p>
        </p:txBody>
      </p:sp>
      <p:sp>
        <p:nvSpPr>
          <p:cNvPr id="10" name="TextBox 9"/>
          <p:cNvSpPr txBox="1"/>
          <p:nvPr/>
        </p:nvSpPr>
        <p:spPr>
          <a:xfrm>
            <a:off x="6210414" y="1447802"/>
            <a:ext cx="1783211" cy="272143"/>
          </a:xfrm>
          <a:prstGeom prst="rect">
            <a:avLst/>
          </a:prstGeom>
          <a:noFill/>
        </p:spPr>
        <p:txBody>
          <a:bodyPr wrap="square" lIns="36000" rIns="36000" rtlCol="0" anchor="ctr">
            <a:noAutofit/>
          </a:bodyPr>
          <a:lstStyle/>
          <a:p>
            <a:pPr algn="ctr"/>
            <a:r>
              <a:rPr lang="es-ES_tradnl" b="1" dirty="0" smtClean="0">
                <a:solidFill>
                  <a:srgbClr val="000066"/>
                </a:solidFill>
                <a:latin typeface="Arial" pitchFamily="34" charset="0"/>
                <a:cs typeface="+mn-cs"/>
              </a:rPr>
              <a:t>GENERACIÓN</a:t>
            </a:r>
            <a:endParaRPr lang="en-US" b="1" dirty="0" smtClean="0">
              <a:solidFill>
                <a:srgbClr val="000066"/>
              </a:solidFill>
              <a:latin typeface="Arial" pitchFamily="34" charset="0"/>
              <a:cs typeface="+mn-cs"/>
            </a:endParaRPr>
          </a:p>
        </p:txBody>
      </p:sp>
      <p:sp>
        <p:nvSpPr>
          <p:cNvPr id="12" name="Rounded Rectangle 11"/>
          <p:cNvSpPr/>
          <p:nvPr/>
        </p:nvSpPr>
        <p:spPr bwMode="auto">
          <a:xfrm>
            <a:off x="518746" y="2002968"/>
            <a:ext cx="7700826" cy="489857"/>
          </a:xfrm>
          <a:prstGeom prst="roundRect">
            <a:avLst/>
          </a:prstGeom>
          <a:noFill/>
          <a:ln w="9525" cap="flat" cmpd="sng" algn="ctr">
            <a:solidFill>
              <a:schemeClr val="tx1"/>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16" name="Rounded Rectangle 15"/>
          <p:cNvSpPr/>
          <p:nvPr/>
        </p:nvSpPr>
        <p:spPr bwMode="auto">
          <a:xfrm>
            <a:off x="518746" y="3799112"/>
            <a:ext cx="7700826" cy="883106"/>
          </a:xfrm>
          <a:prstGeom prst="roundRect">
            <a:avLst/>
          </a:prstGeom>
          <a:noFill/>
          <a:ln w="9525" cap="flat" cmpd="sng" algn="ctr">
            <a:solidFill>
              <a:schemeClr val="tx1"/>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14" name="Rounded Rectangle 13"/>
          <p:cNvSpPr/>
          <p:nvPr/>
        </p:nvSpPr>
        <p:spPr bwMode="auto">
          <a:xfrm>
            <a:off x="518746" y="2852054"/>
            <a:ext cx="7700826" cy="718460"/>
          </a:xfrm>
          <a:prstGeom prst="roundRect">
            <a:avLst/>
          </a:prstGeom>
          <a:noFill/>
          <a:ln w="9525" cap="flat" cmpd="sng" algn="ctr">
            <a:solidFill>
              <a:schemeClr val="tx1"/>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19" name="TextBox 18"/>
          <p:cNvSpPr txBox="1"/>
          <p:nvPr/>
        </p:nvSpPr>
        <p:spPr>
          <a:xfrm>
            <a:off x="683318" y="2111825"/>
            <a:ext cx="1477108" cy="272143"/>
          </a:xfrm>
          <a:prstGeom prst="rect">
            <a:avLst/>
          </a:prstGeom>
          <a:noFill/>
        </p:spPr>
        <p:txBody>
          <a:bodyPr wrap="square" lIns="36000" rIns="36000" rtlCol="0" anchor="ctr">
            <a:noAutofit/>
          </a:bodyPr>
          <a:lstStyle/>
          <a:p>
            <a:pPr algn="ctr"/>
            <a:r>
              <a:rPr lang="es-ES_tradnl" b="1" dirty="0" smtClean="0">
                <a:solidFill>
                  <a:srgbClr val="000066"/>
                </a:solidFill>
                <a:latin typeface="Arial" pitchFamily="34" charset="0"/>
                <a:cs typeface="+mn-cs"/>
              </a:rPr>
              <a:t>MC</a:t>
            </a:r>
            <a:endParaRPr lang="en-US" b="1" dirty="0" smtClean="0">
              <a:solidFill>
                <a:srgbClr val="000066"/>
              </a:solidFill>
              <a:latin typeface="Arial" pitchFamily="34" charset="0"/>
              <a:cs typeface="+mn-cs"/>
            </a:endParaRPr>
          </a:p>
        </p:txBody>
      </p:sp>
      <p:sp>
        <p:nvSpPr>
          <p:cNvPr id="20" name="TextBox 19"/>
          <p:cNvSpPr txBox="1"/>
          <p:nvPr/>
        </p:nvSpPr>
        <p:spPr>
          <a:xfrm>
            <a:off x="518746" y="2960913"/>
            <a:ext cx="1641680" cy="329037"/>
          </a:xfrm>
          <a:prstGeom prst="rect">
            <a:avLst/>
          </a:prstGeom>
          <a:noFill/>
        </p:spPr>
        <p:txBody>
          <a:bodyPr wrap="square" lIns="36000" rIns="36000" rtlCol="0" anchor="ctr">
            <a:noAutofit/>
          </a:bodyPr>
          <a:lstStyle/>
          <a:p>
            <a:pPr algn="ctr"/>
            <a:r>
              <a:rPr lang="es-ES_tradnl" b="1" dirty="0" smtClean="0">
                <a:solidFill>
                  <a:srgbClr val="000066"/>
                </a:solidFill>
                <a:latin typeface="Arial" pitchFamily="34" charset="0"/>
                <a:cs typeface="+mn-cs"/>
              </a:rPr>
              <a:t>BPO</a:t>
            </a:r>
            <a:br>
              <a:rPr lang="es-ES_tradnl" b="1" dirty="0" smtClean="0">
                <a:solidFill>
                  <a:srgbClr val="000066"/>
                </a:solidFill>
                <a:latin typeface="Arial" pitchFamily="34" charset="0"/>
                <a:cs typeface="+mn-cs"/>
              </a:rPr>
            </a:br>
            <a:r>
              <a:rPr lang="es-ES_tradnl" b="1" dirty="0" smtClean="0">
                <a:solidFill>
                  <a:srgbClr val="000066"/>
                </a:solidFill>
                <a:latin typeface="Arial" pitchFamily="34" charset="0"/>
                <a:cs typeface="+mn-cs"/>
              </a:rPr>
              <a:t>(Back-Office)</a:t>
            </a:r>
            <a:endParaRPr lang="en-US" b="1" dirty="0" smtClean="0">
              <a:solidFill>
                <a:srgbClr val="000066"/>
              </a:solidFill>
              <a:latin typeface="Arial" pitchFamily="34" charset="0"/>
              <a:cs typeface="+mn-cs"/>
            </a:endParaRPr>
          </a:p>
        </p:txBody>
      </p:sp>
      <p:sp>
        <p:nvSpPr>
          <p:cNvPr id="21" name="TextBox 20"/>
          <p:cNvSpPr txBox="1"/>
          <p:nvPr/>
        </p:nvSpPr>
        <p:spPr>
          <a:xfrm>
            <a:off x="683318" y="4125008"/>
            <a:ext cx="1477108" cy="272143"/>
          </a:xfrm>
          <a:prstGeom prst="rect">
            <a:avLst/>
          </a:prstGeom>
          <a:noFill/>
        </p:spPr>
        <p:txBody>
          <a:bodyPr wrap="square" lIns="36000" rIns="36000" rtlCol="0" anchor="ctr">
            <a:noAutofit/>
          </a:bodyPr>
          <a:lstStyle/>
          <a:p>
            <a:pPr algn="ctr"/>
            <a:r>
              <a:rPr lang="es-ES_tradnl" b="1" dirty="0" smtClean="0">
                <a:solidFill>
                  <a:srgbClr val="000066"/>
                </a:solidFill>
                <a:latin typeface="Arial" pitchFamily="34" charset="0"/>
                <a:cs typeface="+mn-cs"/>
              </a:rPr>
              <a:t>SI/AO</a:t>
            </a:r>
            <a:endParaRPr lang="en-US" b="1" dirty="0" smtClean="0">
              <a:solidFill>
                <a:srgbClr val="000066"/>
              </a:solidFill>
              <a:latin typeface="Arial" pitchFamily="34" charset="0"/>
              <a:cs typeface="+mn-cs"/>
            </a:endParaRPr>
          </a:p>
        </p:txBody>
      </p:sp>
      <p:sp>
        <p:nvSpPr>
          <p:cNvPr id="22" name="TextBox 21"/>
          <p:cNvSpPr txBox="1"/>
          <p:nvPr/>
        </p:nvSpPr>
        <p:spPr>
          <a:xfrm>
            <a:off x="4069450" y="5097243"/>
            <a:ext cx="1879555" cy="272143"/>
          </a:xfrm>
          <a:prstGeom prst="rect">
            <a:avLst/>
          </a:prstGeom>
          <a:noFill/>
        </p:spPr>
        <p:txBody>
          <a:bodyPr wrap="square" lIns="36000" rIns="36000" rtlCol="0" anchor="ctr">
            <a:noAutofit/>
          </a:bodyPr>
          <a:lstStyle/>
          <a:p>
            <a:pPr algn="ctr"/>
            <a:r>
              <a:rPr lang="es-ES_tradnl" b="1" dirty="0" smtClean="0">
                <a:solidFill>
                  <a:srgbClr val="000066"/>
                </a:solidFill>
                <a:latin typeface="Arial" pitchFamily="34" charset="0"/>
                <a:cs typeface="+mn-cs"/>
              </a:rPr>
              <a:t>CORPORATIVO</a:t>
            </a:r>
            <a:endParaRPr lang="en-US" b="1" dirty="0" smtClean="0">
              <a:solidFill>
                <a:srgbClr val="000066"/>
              </a:solidFill>
              <a:latin typeface="Arial" pitchFamily="34" charset="0"/>
              <a:cs typeface="+mn-cs"/>
            </a:endParaRPr>
          </a:p>
        </p:txBody>
      </p:sp>
      <p:sp>
        <p:nvSpPr>
          <p:cNvPr id="23" name="TextBox 22"/>
          <p:cNvSpPr txBox="1"/>
          <p:nvPr/>
        </p:nvSpPr>
        <p:spPr>
          <a:xfrm>
            <a:off x="2270535" y="5489131"/>
            <a:ext cx="1125807" cy="272143"/>
          </a:xfrm>
          <a:prstGeom prst="rect">
            <a:avLst/>
          </a:prstGeom>
          <a:noFill/>
        </p:spPr>
        <p:txBody>
          <a:bodyPr wrap="square" lIns="36000" rIns="36000" rtlCol="0" anchor="ctr">
            <a:noAutofit/>
          </a:bodyPr>
          <a:lstStyle/>
          <a:p>
            <a:pPr algn="ctr"/>
            <a:r>
              <a:rPr lang="es-ES_tradnl" sz="1400" b="1" dirty="0" smtClean="0">
                <a:solidFill>
                  <a:srgbClr val="000066"/>
                </a:solidFill>
                <a:latin typeface="Arial" pitchFamily="34" charset="0"/>
                <a:cs typeface="+mn-cs"/>
              </a:rPr>
              <a:t>IT</a:t>
            </a:r>
            <a:endParaRPr lang="en-US" sz="1400" b="1" dirty="0" smtClean="0">
              <a:solidFill>
                <a:srgbClr val="000066"/>
              </a:solidFill>
              <a:latin typeface="Arial" pitchFamily="34" charset="0"/>
              <a:cs typeface="+mn-cs"/>
            </a:endParaRPr>
          </a:p>
        </p:txBody>
      </p:sp>
      <p:sp>
        <p:nvSpPr>
          <p:cNvPr id="24" name="TextBox 23"/>
          <p:cNvSpPr txBox="1"/>
          <p:nvPr/>
        </p:nvSpPr>
        <p:spPr>
          <a:xfrm>
            <a:off x="3583802" y="5489131"/>
            <a:ext cx="1125807" cy="272143"/>
          </a:xfrm>
          <a:prstGeom prst="rect">
            <a:avLst/>
          </a:prstGeom>
          <a:noFill/>
        </p:spPr>
        <p:txBody>
          <a:bodyPr wrap="square" lIns="36000" rIns="36000" rtlCol="0" anchor="ctr">
            <a:noAutofit/>
          </a:bodyPr>
          <a:lstStyle/>
          <a:p>
            <a:pPr algn="ctr"/>
            <a:r>
              <a:rPr lang="es-ES_tradnl" sz="1400" b="1" dirty="0" smtClean="0">
                <a:solidFill>
                  <a:srgbClr val="000066"/>
                </a:solidFill>
                <a:latin typeface="Arial" pitchFamily="34" charset="0"/>
                <a:cs typeface="+mn-cs"/>
              </a:rPr>
              <a:t>RRHH</a:t>
            </a:r>
            <a:endParaRPr lang="en-US" sz="1400" b="1" dirty="0" smtClean="0">
              <a:solidFill>
                <a:srgbClr val="000066"/>
              </a:solidFill>
              <a:latin typeface="Arial" pitchFamily="34" charset="0"/>
              <a:cs typeface="+mn-cs"/>
            </a:endParaRPr>
          </a:p>
        </p:txBody>
      </p:sp>
      <p:sp>
        <p:nvSpPr>
          <p:cNvPr id="25" name="TextBox 24"/>
          <p:cNvSpPr txBox="1"/>
          <p:nvPr/>
        </p:nvSpPr>
        <p:spPr>
          <a:xfrm>
            <a:off x="4897069" y="5489131"/>
            <a:ext cx="1125807" cy="272143"/>
          </a:xfrm>
          <a:prstGeom prst="rect">
            <a:avLst/>
          </a:prstGeom>
          <a:noFill/>
        </p:spPr>
        <p:txBody>
          <a:bodyPr wrap="square" lIns="36000" rIns="36000" rtlCol="0" anchor="ctr">
            <a:noAutofit/>
          </a:bodyPr>
          <a:lstStyle/>
          <a:p>
            <a:pPr algn="ctr"/>
            <a:r>
              <a:rPr lang="es-ES_tradnl" sz="1400" b="1" dirty="0" smtClean="0">
                <a:solidFill>
                  <a:srgbClr val="000066"/>
                </a:solidFill>
                <a:latin typeface="Arial" pitchFamily="34" charset="0"/>
                <a:cs typeface="+mn-cs"/>
              </a:rPr>
              <a:t>FINANCE</a:t>
            </a:r>
            <a:endParaRPr lang="en-US" sz="1400" b="1" dirty="0" smtClean="0">
              <a:solidFill>
                <a:srgbClr val="000066"/>
              </a:solidFill>
              <a:latin typeface="Arial" pitchFamily="34" charset="0"/>
              <a:cs typeface="+mn-cs"/>
            </a:endParaRPr>
          </a:p>
        </p:txBody>
      </p:sp>
      <p:sp>
        <p:nvSpPr>
          <p:cNvPr id="26" name="TextBox 25"/>
          <p:cNvSpPr txBox="1"/>
          <p:nvPr/>
        </p:nvSpPr>
        <p:spPr>
          <a:xfrm>
            <a:off x="6210337" y="5489131"/>
            <a:ext cx="1506787" cy="272143"/>
          </a:xfrm>
          <a:prstGeom prst="rect">
            <a:avLst/>
          </a:prstGeom>
          <a:noFill/>
        </p:spPr>
        <p:txBody>
          <a:bodyPr wrap="square" lIns="36000" rIns="36000" rtlCol="0" anchor="ctr">
            <a:noAutofit/>
          </a:bodyPr>
          <a:lstStyle/>
          <a:p>
            <a:pPr algn="ctr"/>
            <a:r>
              <a:rPr lang="es-ES_tradnl" sz="1400" b="1" dirty="0" smtClean="0">
                <a:solidFill>
                  <a:srgbClr val="000066"/>
                </a:solidFill>
                <a:latin typeface="Arial" pitchFamily="34" charset="0"/>
                <a:cs typeface="+mn-cs"/>
              </a:rPr>
              <a:t>PROCUREMENT</a:t>
            </a:r>
            <a:endParaRPr lang="en-US" sz="1400" b="1" dirty="0" smtClean="0">
              <a:solidFill>
                <a:srgbClr val="000066"/>
              </a:solidFill>
              <a:latin typeface="Arial" pitchFamily="34" charset="0"/>
              <a:cs typeface="+mn-cs"/>
            </a:endParaRPr>
          </a:p>
        </p:txBody>
      </p:sp>
      <p:pic>
        <p:nvPicPr>
          <p:cNvPr id="27" name="Picture 8" descr="endesa_grande"/>
          <p:cNvPicPr>
            <a:picLocks noChangeAspect="1" noChangeArrowheads="1"/>
          </p:cNvPicPr>
          <p:nvPr/>
        </p:nvPicPr>
        <p:blipFill>
          <a:blip r:embed="rId2" cstate="email"/>
          <a:srcRect/>
          <a:stretch>
            <a:fillRect/>
          </a:stretch>
        </p:blipFill>
        <p:spPr bwMode="auto">
          <a:xfrm>
            <a:off x="2390540" y="2095386"/>
            <a:ext cx="323526" cy="381001"/>
          </a:xfrm>
          <a:prstGeom prst="rect">
            <a:avLst/>
          </a:prstGeom>
          <a:noFill/>
          <a:ln w="9525">
            <a:noFill/>
            <a:miter lim="800000"/>
            <a:headEnd/>
            <a:tailEnd/>
          </a:ln>
        </p:spPr>
      </p:pic>
      <p:pic>
        <p:nvPicPr>
          <p:cNvPr id="30"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5500" t="10000" r="72184" b="79333"/>
          <a:stretch/>
        </p:blipFill>
        <p:spPr bwMode="auto">
          <a:xfrm>
            <a:off x="3108426" y="2910729"/>
            <a:ext cx="575830" cy="310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eon_logo1" descr="EON_W"/>
          <p:cNvPicPr>
            <a:picLocks noChangeAspect="1" noChangeArrowheads="1"/>
          </p:cNvPicPr>
          <p:nvPr/>
        </p:nvPicPr>
        <p:blipFill>
          <a:blip r:embed="rId4" cstate="print"/>
          <a:srcRect/>
          <a:stretch>
            <a:fillRect/>
          </a:stretch>
        </p:blipFill>
        <p:spPr bwMode="gray">
          <a:xfrm>
            <a:off x="3108426" y="3325074"/>
            <a:ext cx="575830" cy="188312"/>
          </a:xfrm>
          <a:prstGeom prst="rect">
            <a:avLst/>
          </a:prstGeom>
          <a:noFill/>
          <a:ln w="12700">
            <a:noFill/>
            <a:miter lim="800000"/>
            <a:headEnd/>
            <a:tailEnd type="none" w="med" len="lg"/>
          </a:ln>
        </p:spPr>
      </p:pic>
      <p:pic>
        <p:nvPicPr>
          <p:cNvPr id="4098" name="Picture 2" descr="http://www.detea.es/opencms75/export/sites/detea/galerias/imagenes/logosClientes/EDP.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37218" y="2107629"/>
            <a:ext cx="700257" cy="32478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descr="endesa_grande"/>
          <p:cNvPicPr>
            <a:picLocks noChangeAspect="1" noChangeArrowheads="1"/>
          </p:cNvPicPr>
          <p:nvPr/>
        </p:nvPicPr>
        <p:blipFill>
          <a:blip r:embed="rId2" cstate="email"/>
          <a:srcRect/>
          <a:stretch>
            <a:fillRect/>
          </a:stretch>
        </p:blipFill>
        <p:spPr bwMode="auto">
          <a:xfrm>
            <a:off x="2362552" y="2892541"/>
            <a:ext cx="289145" cy="340512"/>
          </a:xfrm>
          <a:prstGeom prst="rect">
            <a:avLst/>
          </a:prstGeom>
          <a:noFill/>
          <a:ln w="9525">
            <a:noFill/>
            <a:miter lim="800000"/>
            <a:headEnd/>
            <a:tailEnd/>
          </a:ln>
        </p:spPr>
      </p:pic>
      <p:pic>
        <p:nvPicPr>
          <p:cNvPr id="36" name="Picture 2" descr="http://www.detea.es/opencms75/export/sites/detea/galerias/imagenes/logosClientes/EDP.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30174" y="3289950"/>
            <a:ext cx="528608" cy="24517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5500" t="10000" r="72184" b="79333"/>
          <a:stretch/>
        </p:blipFill>
        <p:spPr bwMode="auto">
          <a:xfrm>
            <a:off x="3108426" y="3871409"/>
            <a:ext cx="575830" cy="310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eon_logo1" descr="EON_W"/>
          <p:cNvPicPr>
            <a:picLocks noChangeAspect="1" noChangeArrowheads="1"/>
          </p:cNvPicPr>
          <p:nvPr/>
        </p:nvPicPr>
        <p:blipFill>
          <a:blip r:embed="rId4" cstate="print"/>
          <a:srcRect/>
          <a:stretch>
            <a:fillRect/>
          </a:stretch>
        </p:blipFill>
        <p:spPr bwMode="gray">
          <a:xfrm>
            <a:off x="3108426" y="4285754"/>
            <a:ext cx="575830" cy="188312"/>
          </a:xfrm>
          <a:prstGeom prst="rect">
            <a:avLst/>
          </a:prstGeom>
          <a:noFill/>
          <a:ln w="12700">
            <a:noFill/>
            <a:miter lim="800000"/>
            <a:headEnd/>
            <a:tailEnd type="none" w="med" len="lg"/>
          </a:ln>
        </p:spPr>
      </p:pic>
      <p:pic>
        <p:nvPicPr>
          <p:cNvPr id="39" name="Picture 8" descr="endesa_grande"/>
          <p:cNvPicPr>
            <a:picLocks noChangeAspect="1" noChangeArrowheads="1"/>
          </p:cNvPicPr>
          <p:nvPr/>
        </p:nvPicPr>
        <p:blipFill>
          <a:blip r:embed="rId2" cstate="email"/>
          <a:srcRect/>
          <a:stretch>
            <a:fillRect/>
          </a:stretch>
        </p:blipFill>
        <p:spPr bwMode="auto">
          <a:xfrm>
            <a:off x="2362552" y="3853221"/>
            <a:ext cx="289145" cy="340512"/>
          </a:xfrm>
          <a:prstGeom prst="rect">
            <a:avLst/>
          </a:prstGeom>
          <a:noFill/>
          <a:ln w="9525">
            <a:noFill/>
            <a:miter lim="800000"/>
            <a:headEnd/>
            <a:tailEnd/>
          </a:ln>
        </p:spPr>
      </p:pic>
      <p:pic>
        <p:nvPicPr>
          <p:cNvPr id="40" name="Picture 2" descr="http://www.detea.es/opencms75/export/sites/detea/galerias/imagenes/logosClientes/EDP.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30174" y="4250630"/>
            <a:ext cx="528608" cy="245170"/>
          </a:xfrm>
          <a:prstGeom prst="rect">
            <a:avLst/>
          </a:prstGeom>
          <a:noFill/>
          <a:extLst>
            <a:ext uri="{909E8E84-426E-40DD-AFC4-6F175D3DCCD1}">
              <a14:hiddenFill xmlns:a14="http://schemas.microsoft.com/office/drawing/2010/main">
                <a:solidFill>
                  <a:srgbClr val="FFFFFF"/>
                </a:solidFill>
              </a14:hiddenFill>
            </a:ext>
          </a:extLst>
        </p:spPr>
      </p:pic>
      <p:sp>
        <p:nvSpPr>
          <p:cNvPr id="49" name="Rounded Rectangle 48"/>
          <p:cNvSpPr/>
          <p:nvPr/>
        </p:nvSpPr>
        <p:spPr bwMode="auto">
          <a:xfrm>
            <a:off x="5017477" y="2002966"/>
            <a:ext cx="42202" cy="2679252"/>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mtClean="0">
              <a:solidFill>
                <a:srgbClr val="000066"/>
              </a:solidFill>
              <a:latin typeface="Arial" pitchFamily="34" charset="0"/>
              <a:cs typeface="+mn-cs"/>
            </a:endParaRPr>
          </a:p>
        </p:txBody>
      </p:sp>
      <p:sp>
        <p:nvSpPr>
          <p:cNvPr id="51" name="TextBox 50"/>
          <p:cNvSpPr txBox="1"/>
          <p:nvPr/>
        </p:nvSpPr>
        <p:spPr>
          <a:xfrm>
            <a:off x="4228470" y="1792492"/>
            <a:ext cx="878104" cy="272143"/>
          </a:xfrm>
          <a:prstGeom prst="rect">
            <a:avLst/>
          </a:prstGeom>
          <a:noFill/>
        </p:spPr>
        <p:txBody>
          <a:bodyPr wrap="square" lIns="36000" rIns="36000" rtlCol="0" anchor="ctr">
            <a:noAutofit/>
          </a:bodyPr>
          <a:lstStyle/>
          <a:p>
            <a:pPr algn="ctr"/>
            <a:r>
              <a:rPr lang="es-ES_tradnl" sz="1000" b="1" dirty="0" smtClean="0">
                <a:solidFill>
                  <a:srgbClr val="000066"/>
                </a:solidFill>
                <a:latin typeface="Arial" pitchFamily="34" charset="0"/>
                <a:cs typeface="+mn-cs"/>
              </a:rPr>
              <a:t>SSCC</a:t>
            </a:r>
            <a:endParaRPr lang="en-US" sz="1000" b="1" dirty="0" smtClean="0">
              <a:solidFill>
                <a:srgbClr val="000066"/>
              </a:solidFill>
              <a:latin typeface="Arial" pitchFamily="34" charset="0"/>
              <a:cs typeface="+mn-cs"/>
            </a:endParaRPr>
          </a:p>
        </p:txBody>
      </p:sp>
      <p:sp>
        <p:nvSpPr>
          <p:cNvPr id="52" name="TextBox 51"/>
          <p:cNvSpPr txBox="1"/>
          <p:nvPr/>
        </p:nvSpPr>
        <p:spPr>
          <a:xfrm>
            <a:off x="4952955" y="1792492"/>
            <a:ext cx="878104" cy="272143"/>
          </a:xfrm>
          <a:prstGeom prst="rect">
            <a:avLst/>
          </a:prstGeom>
          <a:noFill/>
        </p:spPr>
        <p:txBody>
          <a:bodyPr wrap="square" lIns="36000" rIns="36000" rtlCol="0" anchor="ctr">
            <a:noAutofit/>
          </a:bodyPr>
          <a:lstStyle/>
          <a:p>
            <a:pPr algn="ctr"/>
            <a:r>
              <a:rPr lang="es-ES_tradnl" sz="1000" b="1" dirty="0" smtClean="0">
                <a:solidFill>
                  <a:srgbClr val="000066"/>
                </a:solidFill>
                <a:latin typeface="Arial" pitchFamily="34" charset="0"/>
                <a:cs typeface="+mn-cs"/>
              </a:rPr>
              <a:t>SSTT</a:t>
            </a:r>
            <a:endParaRPr lang="en-US" sz="1000" b="1" dirty="0" smtClean="0">
              <a:solidFill>
                <a:srgbClr val="000066"/>
              </a:solidFill>
              <a:latin typeface="Arial" pitchFamily="34" charset="0"/>
              <a:cs typeface="+mn-cs"/>
            </a:endParaRPr>
          </a:p>
        </p:txBody>
      </p:sp>
      <p:pic>
        <p:nvPicPr>
          <p:cNvPr id="53" name="eon_logo1" descr="EON_W"/>
          <p:cNvPicPr>
            <a:picLocks noChangeAspect="1" noChangeArrowheads="1"/>
          </p:cNvPicPr>
          <p:nvPr/>
        </p:nvPicPr>
        <p:blipFill>
          <a:blip r:embed="rId4" cstate="print"/>
          <a:srcRect/>
          <a:stretch>
            <a:fillRect/>
          </a:stretch>
        </p:blipFill>
        <p:spPr bwMode="gray">
          <a:xfrm>
            <a:off x="4445391" y="2311891"/>
            <a:ext cx="451293" cy="147585"/>
          </a:xfrm>
          <a:prstGeom prst="rect">
            <a:avLst/>
          </a:prstGeom>
          <a:noFill/>
          <a:ln w="12700">
            <a:noFill/>
            <a:miter lim="800000"/>
            <a:headEnd/>
            <a:tailEnd type="none" w="med" len="lg"/>
          </a:ln>
        </p:spPr>
      </p:pic>
      <p:pic>
        <p:nvPicPr>
          <p:cNvPr id="29" name="Imagen 11" descr="MarcaGN F.png"/>
          <p:cNvPicPr>
            <a:picLocks noChangeAspect="1"/>
          </p:cNvPicPr>
          <p:nvPr/>
        </p:nvPicPr>
        <p:blipFill>
          <a:blip r:embed="rId7" cstate="print"/>
          <a:srcRect/>
          <a:stretch>
            <a:fillRect/>
          </a:stretch>
        </p:blipFill>
        <p:spPr bwMode="auto">
          <a:xfrm>
            <a:off x="4709609" y="2025826"/>
            <a:ext cx="582183" cy="286490"/>
          </a:xfrm>
          <a:prstGeom prst="rect">
            <a:avLst/>
          </a:prstGeom>
          <a:solidFill>
            <a:schemeClr val="bg1"/>
          </a:solidFill>
          <a:ln w="9525">
            <a:noFill/>
            <a:miter lim="800000"/>
            <a:headEnd/>
            <a:tailEnd/>
          </a:ln>
        </p:spPr>
      </p:pic>
      <p:pic>
        <p:nvPicPr>
          <p:cNvPr id="55" name="Picture 8" descr="endesa_grande"/>
          <p:cNvPicPr>
            <a:picLocks noChangeAspect="1" noChangeArrowheads="1"/>
          </p:cNvPicPr>
          <p:nvPr/>
        </p:nvPicPr>
        <p:blipFill>
          <a:blip r:embed="rId2" cstate="email"/>
          <a:srcRect/>
          <a:stretch>
            <a:fillRect/>
          </a:stretch>
        </p:blipFill>
        <p:spPr bwMode="auto">
          <a:xfrm>
            <a:off x="4445391" y="2892541"/>
            <a:ext cx="289145" cy="340512"/>
          </a:xfrm>
          <a:prstGeom prst="rect">
            <a:avLst/>
          </a:prstGeom>
          <a:noFill/>
          <a:ln w="9525">
            <a:noFill/>
            <a:miter lim="800000"/>
            <a:headEnd/>
            <a:tailEnd/>
          </a:ln>
        </p:spPr>
      </p:pic>
      <p:pic>
        <p:nvPicPr>
          <p:cNvPr id="56"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5500" t="10000" r="72184" b="79333"/>
          <a:stretch/>
        </p:blipFill>
        <p:spPr bwMode="auto">
          <a:xfrm>
            <a:off x="4589714" y="3890391"/>
            <a:ext cx="435287" cy="234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eon_logo1" descr="EON_W"/>
          <p:cNvPicPr>
            <a:picLocks noChangeAspect="1" noChangeArrowheads="1"/>
          </p:cNvPicPr>
          <p:nvPr/>
        </p:nvPicPr>
        <p:blipFill>
          <a:blip r:embed="rId4" cstate="print"/>
          <a:srcRect/>
          <a:stretch>
            <a:fillRect/>
          </a:stretch>
        </p:blipFill>
        <p:spPr bwMode="gray">
          <a:xfrm>
            <a:off x="4407895" y="4496951"/>
            <a:ext cx="411047" cy="134423"/>
          </a:xfrm>
          <a:prstGeom prst="rect">
            <a:avLst/>
          </a:prstGeom>
          <a:noFill/>
          <a:ln w="12700">
            <a:noFill/>
            <a:miter lim="800000"/>
            <a:headEnd/>
            <a:tailEnd type="none" w="med" len="lg"/>
          </a:ln>
        </p:spPr>
      </p:pic>
      <p:pic>
        <p:nvPicPr>
          <p:cNvPr id="58" name="Picture 8" descr="endesa_grande"/>
          <p:cNvPicPr>
            <a:picLocks noChangeAspect="1" noChangeArrowheads="1"/>
          </p:cNvPicPr>
          <p:nvPr/>
        </p:nvPicPr>
        <p:blipFill>
          <a:blip r:embed="rId2" cstate="email"/>
          <a:srcRect/>
          <a:stretch>
            <a:fillRect/>
          </a:stretch>
        </p:blipFill>
        <p:spPr bwMode="auto">
          <a:xfrm>
            <a:off x="4295406" y="3878432"/>
            <a:ext cx="257583" cy="303343"/>
          </a:xfrm>
          <a:prstGeom prst="rect">
            <a:avLst/>
          </a:prstGeom>
          <a:noFill/>
          <a:ln w="9525">
            <a:noFill/>
            <a:miter lim="800000"/>
            <a:headEnd/>
            <a:tailEnd/>
          </a:ln>
        </p:spPr>
      </p:pic>
      <p:pic>
        <p:nvPicPr>
          <p:cNvPr id="59" name="Picture 2" descr="http://www.detea.es/opencms75/export/sites/detea/galerias/imagenes/logosClientes/EDP.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60470" y="4240034"/>
            <a:ext cx="452878" cy="210046"/>
          </a:xfrm>
          <a:prstGeom prst="rect">
            <a:avLst/>
          </a:prstGeom>
          <a:noFill/>
          <a:extLst>
            <a:ext uri="{909E8E84-426E-40DD-AFC4-6F175D3DCCD1}">
              <a14:hiddenFill xmlns:a14="http://schemas.microsoft.com/office/drawing/2010/main">
                <a:solidFill>
                  <a:srgbClr val="FFFFFF"/>
                </a:solidFill>
              </a14:hiddenFill>
            </a:ext>
          </a:extLst>
        </p:spPr>
      </p:pic>
      <p:pic>
        <p:nvPicPr>
          <p:cNvPr id="60" name="Imagen 11" descr="MarcaGN F.png"/>
          <p:cNvPicPr>
            <a:picLocks noChangeAspect="1"/>
          </p:cNvPicPr>
          <p:nvPr/>
        </p:nvPicPr>
        <p:blipFill>
          <a:blip r:embed="rId7" cstate="print"/>
          <a:srcRect/>
          <a:stretch>
            <a:fillRect/>
          </a:stretch>
        </p:blipFill>
        <p:spPr bwMode="auto">
          <a:xfrm>
            <a:off x="6363673" y="2070436"/>
            <a:ext cx="452011" cy="222433"/>
          </a:xfrm>
          <a:prstGeom prst="rect">
            <a:avLst/>
          </a:prstGeom>
          <a:solidFill>
            <a:schemeClr val="bg1"/>
          </a:solidFill>
          <a:ln w="9525">
            <a:noFill/>
            <a:miter lim="800000"/>
            <a:headEnd/>
            <a:tailEnd/>
          </a:ln>
        </p:spPr>
      </p:pic>
      <p:pic>
        <p:nvPicPr>
          <p:cNvPr id="61" name="Picture 8" descr="endesa_grande"/>
          <p:cNvPicPr>
            <a:picLocks noChangeAspect="1" noChangeArrowheads="1"/>
          </p:cNvPicPr>
          <p:nvPr/>
        </p:nvPicPr>
        <p:blipFill>
          <a:blip r:embed="rId2" cstate="email"/>
          <a:srcRect/>
          <a:stretch>
            <a:fillRect/>
          </a:stretch>
        </p:blipFill>
        <p:spPr bwMode="auto">
          <a:xfrm>
            <a:off x="6925368" y="2070437"/>
            <a:ext cx="237913" cy="280178"/>
          </a:xfrm>
          <a:prstGeom prst="rect">
            <a:avLst/>
          </a:prstGeom>
          <a:noFill/>
          <a:ln w="9525">
            <a:noFill/>
            <a:miter lim="800000"/>
            <a:headEnd/>
            <a:tailEnd/>
          </a:ln>
        </p:spPr>
      </p:pic>
      <p:pic>
        <p:nvPicPr>
          <p:cNvPr id="63" name="Picture 2" descr="http://www.detea.es/opencms75/export/sites/detea/galerias/imagenes/logosClientes/EDP.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51085" y="2070439"/>
            <a:ext cx="487463" cy="226087"/>
          </a:xfrm>
          <a:prstGeom prst="rect">
            <a:avLst/>
          </a:prstGeom>
          <a:noFill/>
          <a:extLst>
            <a:ext uri="{909E8E84-426E-40DD-AFC4-6F175D3DCCD1}">
              <a14:hiddenFill xmlns:a14="http://schemas.microsoft.com/office/drawing/2010/main">
                <a:solidFill>
                  <a:srgbClr val="FFFFFF"/>
                </a:solidFill>
              </a14:hiddenFill>
            </a:ext>
          </a:extLst>
        </p:spPr>
      </p:pic>
      <p:pic>
        <p:nvPicPr>
          <p:cNvPr id="65" name="Imagen 11" descr="MarcaGN F.png"/>
          <p:cNvPicPr>
            <a:picLocks noChangeAspect="1"/>
          </p:cNvPicPr>
          <p:nvPr/>
        </p:nvPicPr>
        <p:blipFill>
          <a:blip r:embed="rId7" cstate="print"/>
          <a:srcRect/>
          <a:stretch>
            <a:fillRect/>
          </a:stretch>
        </p:blipFill>
        <p:spPr bwMode="auto">
          <a:xfrm>
            <a:off x="13384447" y="1159111"/>
            <a:ext cx="582183" cy="286490"/>
          </a:xfrm>
          <a:prstGeom prst="rect">
            <a:avLst/>
          </a:prstGeom>
          <a:solidFill>
            <a:schemeClr val="bg1"/>
          </a:solidFill>
          <a:ln w="9525">
            <a:noFill/>
            <a:miter lim="800000"/>
            <a:headEnd/>
            <a:tailEnd/>
          </a:ln>
        </p:spPr>
      </p:pic>
      <p:pic>
        <p:nvPicPr>
          <p:cNvPr id="66" name="Picture 8" descr="endesa_grande"/>
          <p:cNvPicPr>
            <a:picLocks noChangeAspect="1" noChangeArrowheads="1"/>
          </p:cNvPicPr>
          <p:nvPr/>
        </p:nvPicPr>
        <p:blipFill>
          <a:blip r:embed="rId2" cstate="email"/>
          <a:srcRect/>
          <a:stretch>
            <a:fillRect/>
          </a:stretch>
        </p:blipFill>
        <p:spPr bwMode="auto">
          <a:xfrm>
            <a:off x="2687140" y="5799441"/>
            <a:ext cx="323526" cy="381001"/>
          </a:xfrm>
          <a:prstGeom prst="rect">
            <a:avLst/>
          </a:prstGeom>
          <a:noFill/>
          <a:ln w="9525">
            <a:noFill/>
            <a:miter lim="800000"/>
            <a:headEnd/>
            <a:tailEnd/>
          </a:ln>
        </p:spPr>
      </p:pic>
      <p:pic>
        <p:nvPicPr>
          <p:cNvPr id="67" name="Imagen 11" descr="MarcaGN F.png"/>
          <p:cNvPicPr>
            <a:picLocks noChangeAspect="1"/>
          </p:cNvPicPr>
          <p:nvPr/>
        </p:nvPicPr>
        <p:blipFill>
          <a:blip r:embed="rId7" cstate="print"/>
          <a:srcRect/>
          <a:stretch>
            <a:fillRect/>
          </a:stretch>
        </p:blipFill>
        <p:spPr bwMode="auto">
          <a:xfrm>
            <a:off x="3863208" y="5799438"/>
            <a:ext cx="582183" cy="286490"/>
          </a:xfrm>
          <a:prstGeom prst="rect">
            <a:avLst/>
          </a:prstGeom>
          <a:solidFill>
            <a:schemeClr val="bg1"/>
          </a:solidFill>
          <a:ln w="9525">
            <a:noFill/>
            <a:miter lim="800000"/>
            <a:headEnd/>
            <a:tailEnd/>
          </a:ln>
        </p:spPr>
      </p:pic>
      <p:pic>
        <p:nvPicPr>
          <p:cNvPr id="68" name="Picture 8" descr="endesa_grande"/>
          <p:cNvPicPr>
            <a:picLocks noChangeAspect="1" noChangeArrowheads="1"/>
          </p:cNvPicPr>
          <p:nvPr/>
        </p:nvPicPr>
        <p:blipFill>
          <a:blip r:embed="rId2" cstate="email"/>
          <a:srcRect/>
          <a:stretch>
            <a:fillRect/>
          </a:stretch>
        </p:blipFill>
        <p:spPr bwMode="auto">
          <a:xfrm>
            <a:off x="5230243" y="5799441"/>
            <a:ext cx="323526" cy="381001"/>
          </a:xfrm>
          <a:prstGeom prst="rect">
            <a:avLst/>
          </a:prstGeom>
          <a:noFill/>
          <a:ln w="9525">
            <a:noFill/>
            <a:miter lim="800000"/>
            <a:headEnd/>
            <a:tailEnd/>
          </a:ln>
        </p:spPr>
      </p:pic>
      <p:pic>
        <p:nvPicPr>
          <p:cNvPr id="69" name="eon_logo1" descr="EON_W"/>
          <p:cNvPicPr>
            <a:picLocks noChangeAspect="1" noChangeArrowheads="1"/>
          </p:cNvPicPr>
          <p:nvPr/>
        </p:nvPicPr>
        <p:blipFill>
          <a:blip r:embed="rId4" cstate="print"/>
          <a:srcRect/>
          <a:stretch>
            <a:fillRect/>
          </a:stretch>
        </p:blipFill>
        <p:spPr bwMode="gray">
          <a:xfrm>
            <a:off x="5110739" y="6267029"/>
            <a:ext cx="575830" cy="188312"/>
          </a:xfrm>
          <a:prstGeom prst="rect">
            <a:avLst/>
          </a:prstGeom>
          <a:noFill/>
          <a:ln w="12700">
            <a:noFill/>
            <a:miter lim="800000"/>
            <a:headEnd/>
            <a:tailEnd type="none" w="med" len="lg"/>
          </a:ln>
        </p:spPr>
      </p:pic>
      <p:pic>
        <p:nvPicPr>
          <p:cNvPr id="70" name="Imagen 11" descr="MarcaGN F.png"/>
          <p:cNvPicPr>
            <a:picLocks noChangeAspect="1"/>
          </p:cNvPicPr>
          <p:nvPr/>
        </p:nvPicPr>
        <p:blipFill>
          <a:blip r:embed="rId7" cstate="print"/>
          <a:srcRect/>
          <a:stretch>
            <a:fillRect/>
          </a:stretch>
        </p:blipFill>
        <p:spPr bwMode="auto">
          <a:xfrm>
            <a:off x="6718061" y="5744353"/>
            <a:ext cx="582183" cy="286490"/>
          </a:xfrm>
          <a:prstGeom prst="rect">
            <a:avLst/>
          </a:prstGeom>
          <a:solidFill>
            <a:schemeClr val="bg1"/>
          </a:solidFill>
          <a:ln w="9525">
            <a:noFill/>
            <a:miter lim="800000"/>
            <a:headEnd/>
            <a:tailEnd/>
          </a:ln>
        </p:spPr>
      </p:pic>
      <p:pic>
        <p:nvPicPr>
          <p:cNvPr id="71" name="Picture 8" descr="endesa_grande"/>
          <p:cNvPicPr>
            <a:picLocks noChangeAspect="1" noChangeArrowheads="1"/>
          </p:cNvPicPr>
          <p:nvPr/>
        </p:nvPicPr>
        <p:blipFill>
          <a:blip r:embed="rId2" cstate="email"/>
          <a:srcRect/>
          <a:stretch>
            <a:fillRect/>
          </a:stretch>
        </p:blipFill>
        <p:spPr bwMode="auto">
          <a:xfrm>
            <a:off x="6925367" y="6089068"/>
            <a:ext cx="323526" cy="381001"/>
          </a:xfrm>
          <a:prstGeom prst="rect">
            <a:avLst/>
          </a:prstGeom>
          <a:noFill/>
          <a:ln w="9525">
            <a:noFill/>
            <a:miter lim="800000"/>
            <a:headEnd/>
            <a:tailEnd/>
          </a:ln>
        </p:spPr>
      </p:pic>
      <p:sp>
        <p:nvSpPr>
          <p:cNvPr id="72" name="Rectangle 2"/>
          <p:cNvSpPr txBox="1">
            <a:spLocks noChangeArrowheads="1"/>
          </p:cNvSpPr>
          <p:nvPr/>
        </p:nvSpPr>
        <p:spPr bwMode="auto">
          <a:xfrm>
            <a:off x="208275" y="248725"/>
            <a:ext cx="6881256" cy="42183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a:lstStyle>
          <a:p>
            <a:pPr marL="355600" lvl="2">
              <a:defRPr/>
            </a:pPr>
            <a:r>
              <a:rPr lang="es-ES" sz="2400" dirty="0" smtClean="0">
                <a:cs typeface="+mn-cs"/>
              </a:rPr>
              <a:t>III. Presencia de Accenture en Utilities españolas </a:t>
            </a:r>
            <a:br>
              <a:rPr lang="es-ES" sz="2400" dirty="0" smtClean="0">
                <a:cs typeface="+mn-cs"/>
              </a:rPr>
            </a:br>
            <a:endParaRPr lang="es-ES" sz="2400" dirty="0">
              <a:cs typeface="+mn-cs"/>
            </a:endParaRPr>
          </a:p>
        </p:txBody>
      </p:sp>
    </p:spTree>
    <p:extLst>
      <p:ext uri="{BB962C8B-B14F-4D97-AF65-F5344CB8AC3E}">
        <p14:creationId xmlns:p14="http://schemas.microsoft.com/office/powerpoint/2010/main" val="284503894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Referencias</a:t>
            </a:r>
            <a:endParaRPr lang="es-ES" dirty="0"/>
          </a:p>
        </p:txBody>
      </p:sp>
      <p:sp>
        <p:nvSpPr>
          <p:cNvPr id="4" name="Content Placeholder 3"/>
          <p:cNvSpPr>
            <a:spLocks noGrp="1"/>
          </p:cNvSpPr>
          <p:nvPr>
            <p:ph sz="quarter" idx="11"/>
          </p:nvPr>
        </p:nvSpPr>
        <p:spPr>
          <a:xfrm>
            <a:off x="444627" y="1183341"/>
            <a:ext cx="8251698" cy="5242859"/>
          </a:xfrm>
        </p:spPr>
        <p:txBody>
          <a:bodyPr/>
          <a:lstStyle/>
          <a:p>
            <a:r>
              <a:rPr lang="es-ES" sz="1600" dirty="0">
                <a:solidFill>
                  <a:schemeClr val="accent5"/>
                </a:solidFill>
              </a:rPr>
              <a:t>Informe REE 2012: </a:t>
            </a:r>
            <a:r>
              <a:rPr lang="es-ES" sz="1600" u="sng" dirty="0">
                <a:solidFill>
                  <a:schemeClr val="accent5"/>
                </a:solidFill>
                <a:hlinkClick r:id="rId2"/>
              </a:rPr>
              <a:t>http://</a:t>
            </a:r>
            <a:r>
              <a:rPr lang="es-ES" sz="1600" u="sng" dirty="0" smtClean="0">
                <a:solidFill>
                  <a:schemeClr val="accent5"/>
                </a:solidFill>
                <a:hlinkClick r:id="rId2"/>
              </a:rPr>
              <a:t>www.ree.es/sistema_electrico/pdf/infosis/Avance_REE_2012.pdf</a:t>
            </a:r>
            <a:endParaRPr lang="es-ES" sz="1600" u="sng" dirty="0" smtClean="0">
              <a:solidFill>
                <a:schemeClr val="accent5"/>
              </a:solidFill>
            </a:endParaRPr>
          </a:p>
          <a:p>
            <a:endParaRPr lang="es-ES" sz="1600" u="sng" dirty="0">
              <a:solidFill>
                <a:schemeClr val="accent4">
                  <a:lumMod val="75000"/>
                </a:schemeClr>
              </a:solidFill>
            </a:endParaRPr>
          </a:p>
          <a:p>
            <a:r>
              <a:rPr lang="es-ES" sz="1600" dirty="0" smtClean="0">
                <a:solidFill>
                  <a:schemeClr val="accent5"/>
                </a:solidFill>
              </a:rPr>
              <a:t>Mecanismos de Ajuste de Demanda y Producción: </a:t>
            </a:r>
            <a:r>
              <a:rPr lang="es-ES" sz="1600" u="sng" dirty="0">
                <a:solidFill>
                  <a:schemeClr val="accent5"/>
                </a:solidFill>
                <a:hlinkClick r:id="rId3"/>
              </a:rPr>
              <a:t>http://</a:t>
            </a:r>
            <a:r>
              <a:rPr lang="es-ES" sz="1600" u="sng" dirty="0" smtClean="0">
                <a:solidFill>
                  <a:schemeClr val="accent5"/>
                </a:solidFill>
                <a:hlinkClick r:id="rId3"/>
              </a:rPr>
              <a:t>www.energiaysociedad.es/detalle_material_didactico.asp?id=24&amp;secc=6</a:t>
            </a:r>
            <a:endParaRPr lang="es-ES" sz="1600" u="sng" dirty="0" smtClean="0">
              <a:solidFill>
                <a:schemeClr val="accent5"/>
              </a:solidFill>
            </a:endParaRPr>
          </a:p>
          <a:p>
            <a:endParaRPr lang="es-ES" sz="1600" dirty="0">
              <a:solidFill>
                <a:schemeClr val="accent5"/>
              </a:solidFill>
            </a:endParaRPr>
          </a:p>
          <a:p>
            <a:r>
              <a:rPr lang="es-ES" sz="1600" dirty="0" smtClean="0">
                <a:solidFill>
                  <a:schemeClr val="accent5"/>
                </a:solidFill>
              </a:rPr>
              <a:t>Formación de precios en el Mercado Mayorista Diario: </a:t>
            </a:r>
            <a:r>
              <a:rPr lang="es-ES" sz="1600" u="sng" dirty="0" smtClean="0">
                <a:solidFill>
                  <a:schemeClr val="accent5"/>
                </a:solidFill>
                <a:hlinkClick r:id="rId4"/>
              </a:rPr>
              <a:t>http</a:t>
            </a:r>
            <a:r>
              <a:rPr lang="es-ES" sz="1600" u="sng" dirty="0">
                <a:solidFill>
                  <a:schemeClr val="accent5"/>
                </a:solidFill>
                <a:hlinkClick r:id="rId4"/>
              </a:rPr>
              <a:t>://</a:t>
            </a:r>
            <a:r>
              <a:rPr lang="es-ES" sz="1600" u="sng" dirty="0" smtClean="0">
                <a:solidFill>
                  <a:schemeClr val="accent5"/>
                </a:solidFill>
                <a:hlinkClick r:id="rId4"/>
              </a:rPr>
              <a:t>www.energiaysociedad.es/detalle_material_didactico.asp?id=18&amp;secc=5</a:t>
            </a:r>
            <a:endParaRPr lang="es-ES" sz="1600" u="sng" dirty="0" smtClean="0">
              <a:solidFill>
                <a:schemeClr val="accent5"/>
              </a:solidFill>
            </a:endParaRPr>
          </a:p>
          <a:p>
            <a:endParaRPr lang="es-ES" sz="1600" u="sng" dirty="0">
              <a:solidFill>
                <a:schemeClr val="accent5"/>
              </a:solidFill>
            </a:endParaRPr>
          </a:p>
          <a:p>
            <a:r>
              <a:rPr lang="es-ES" sz="1600" dirty="0" smtClean="0">
                <a:solidFill>
                  <a:schemeClr val="accent5"/>
                </a:solidFill>
              </a:rPr>
              <a:t>Tarifas de acceso: estructura, costes y liquidación de </a:t>
            </a:r>
            <a:r>
              <a:rPr lang="es-ES" sz="1600" dirty="0">
                <a:solidFill>
                  <a:schemeClr val="accent5"/>
                </a:solidFill>
              </a:rPr>
              <a:t>los ingresos: </a:t>
            </a:r>
            <a:r>
              <a:rPr lang="es-ES" sz="1600" u="sng" dirty="0">
                <a:solidFill>
                  <a:schemeClr val="accent5"/>
                </a:solidFill>
                <a:hlinkClick r:id="rId5"/>
              </a:rPr>
              <a:t>http://</a:t>
            </a:r>
            <a:r>
              <a:rPr lang="es-ES" sz="1600" u="sng" dirty="0" smtClean="0">
                <a:solidFill>
                  <a:schemeClr val="accent5"/>
                </a:solidFill>
                <a:hlinkClick r:id="rId5"/>
              </a:rPr>
              <a:t>www.energiaysociedad.es/detalle_material_didactico.asp?id=12&amp;secc=3</a:t>
            </a:r>
            <a:endParaRPr lang="es-ES" sz="1600" u="sng" dirty="0" smtClean="0">
              <a:solidFill>
                <a:schemeClr val="accent5"/>
              </a:solidFill>
            </a:endParaRPr>
          </a:p>
          <a:p>
            <a:endParaRPr lang="es-ES" sz="1600" dirty="0">
              <a:solidFill>
                <a:schemeClr val="accent5"/>
              </a:solidFill>
            </a:endParaRPr>
          </a:p>
          <a:p>
            <a:r>
              <a:rPr lang="es-ES" sz="1600" dirty="0" smtClean="0">
                <a:solidFill>
                  <a:schemeClr val="accent5"/>
                </a:solidFill>
              </a:rPr>
              <a:t>Comparación datos energéticos en la UE: </a:t>
            </a:r>
            <a:r>
              <a:rPr lang="es-ES" sz="1600" u="sng" dirty="0">
                <a:solidFill>
                  <a:schemeClr val="accent1"/>
                </a:solidFill>
                <a:hlinkClick r:id="rId6"/>
              </a:rPr>
              <a:t>http://</a:t>
            </a:r>
            <a:r>
              <a:rPr lang="es-ES" sz="1600" u="sng" dirty="0" smtClean="0">
                <a:solidFill>
                  <a:schemeClr val="accent1"/>
                </a:solidFill>
                <a:hlinkClick r:id="rId6"/>
              </a:rPr>
              <a:t>epp.eurostat.ec.europa.eu/portal/page/portal/energy/data/main_tables</a:t>
            </a:r>
            <a:endParaRPr lang="es-ES" sz="1600" u="sng" dirty="0" smtClean="0">
              <a:solidFill>
                <a:schemeClr val="accent1"/>
              </a:solidFill>
            </a:endParaRPr>
          </a:p>
          <a:p>
            <a:endParaRPr lang="es-ES" sz="1600" dirty="0">
              <a:solidFill>
                <a:schemeClr val="accent1"/>
              </a:solidFill>
            </a:endParaRPr>
          </a:p>
          <a:p>
            <a:r>
              <a:rPr lang="es-ES" sz="1600" dirty="0" smtClean="0">
                <a:solidFill>
                  <a:schemeClr val="accent1"/>
                </a:solidFill>
              </a:rPr>
              <a:t>Análisis de la calidad de suministro </a:t>
            </a:r>
            <a:r>
              <a:rPr lang="es-ES" sz="1600" dirty="0">
                <a:solidFill>
                  <a:schemeClr val="accent1"/>
                </a:solidFill>
              </a:rPr>
              <a:t>(España y EEUU): </a:t>
            </a:r>
            <a:r>
              <a:rPr lang="es-ES" sz="1600" dirty="0">
                <a:solidFill>
                  <a:schemeClr val="accent1"/>
                </a:solidFill>
                <a:hlinkClick r:id="rId7"/>
              </a:rPr>
              <a:t>http://</a:t>
            </a:r>
            <a:r>
              <a:rPr lang="es-ES" sz="1600" dirty="0" smtClean="0">
                <a:solidFill>
                  <a:schemeClr val="accent1"/>
                </a:solidFill>
                <a:hlinkClick r:id="rId7"/>
              </a:rPr>
              <a:t>www.inega.es/sites/default/descargas/enerxia_galicia/tablas_tiepi_espana_castellano.pdf</a:t>
            </a:r>
            <a:endParaRPr lang="es-ES" sz="1600" dirty="0" smtClean="0">
              <a:solidFill>
                <a:schemeClr val="accent1"/>
              </a:solidFill>
            </a:endParaRPr>
          </a:p>
          <a:p>
            <a:endParaRPr lang="es-ES" sz="1600" u="sng" dirty="0">
              <a:solidFill>
                <a:schemeClr val="accent1"/>
              </a:solidFill>
            </a:endParaRPr>
          </a:p>
          <a:p>
            <a:endParaRPr lang="es-ES" sz="1600" u="sng" dirty="0">
              <a:solidFill>
                <a:schemeClr val="accent1"/>
              </a:solidFill>
            </a:endParaRPr>
          </a:p>
          <a:p>
            <a:endParaRPr lang="es-ES" sz="1600" dirty="0" smtClean="0">
              <a:solidFill>
                <a:schemeClr val="accent5"/>
              </a:solidFill>
            </a:endParaRPr>
          </a:p>
          <a:p>
            <a:endParaRPr lang="es-ES" sz="1600" u="sng" dirty="0">
              <a:solidFill>
                <a:schemeClr val="accent5"/>
              </a:solidFill>
            </a:endParaRPr>
          </a:p>
          <a:p>
            <a:endParaRPr lang="es-ES" sz="1600" u="sng" dirty="0">
              <a:solidFill>
                <a:schemeClr val="accent5"/>
              </a:solidFill>
            </a:endParaRPr>
          </a:p>
          <a:p>
            <a:endParaRPr lang="es-ES" sz="1600" u="sng" dirty="0">
              <a:solidFill>
                <a:schemeClr val="accent4">
                  <a:lumMod val="75000"/>
                </a:schemeClr>
              </a:solidFill>
            </a:endParaRPr>
          </a:p>
          <a:p>
            <a:endParaRPr lang="es-ES" sz="1600" u="sng" dirty="0">
              <a:solidFill>
                <a:schemeClr val="accent4">
                  <a:lumMod val="75000"/>
                </a:schemeClr>
              </a:solidFill>
            </a:endParaRPr>
          </a:p>
        </p:txBody>
      </p:sp>
      <p:sp>
        <p:nvSpPr>
          <p:cNvPr id="5" name="Slide Number Placeholder 4"/>
          <p:cNvSpPr>
            <a:spLocks noGrp="1"/>
          </p:cNvSpPr>
          <p:nvPr>
            <p:ph type="sldNum" sz="quarter" idx="4"/>
          </p:nvPr>
        </p:nvSpPr>
        <p:spPr/>
        <p:txBody>
          <a:bodyPr/>
          <a:lstStyle/>
          <a:p>
            <a:pPr>
              <a:defRPr/>
            </a:pPr>
            <a:fld id="{90CBDC3A-D49F-4631-A8C7-55D59B33E5FA}" type="slidenum">
              <a:rPr lang="en-US" smtClean="0"/>
              <a:pPr>
                <a:defRPr/>
              </a:pPr>
              <a:t>36</a:t>
            </a:fld>
            <a:endParaRPr lang="en-US" dirty="0"/>
          </a:p>
        </p:txBody>
      </p:sp>
    </p:spTree>
    <p:extLst>
      <p:ext uri="{BB962C8B-B14F-4D97-AF65-F5344CB8AC3E}">
        <p14:creationId xmlns:p14="http://schemas.microsoft.com/office/powerpoint/2010/main" val="22252321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1"/>
          </p:nvPr>
        </p:nvSpPr>
        <p:spPr>
          <a:xfrm>
            <a:off x="446151" y="525183"/>
            <a:ext cx="8251698" cy="5807635"/>
          </a:xfrm>
        </p:spPr>
        <p:txBody>
          <a:bodyPr>
            <a:noAutofit/>
          </a:bodyPr>
          <a:lstStyle/>
          <a:p>
            <a:pPr>
              <a:spcBef>
                <a:spcPts val="1200"/>
              </a:spcBef>
              <a:spcAft>
                <a:spcPts val="600"/>
              </a:spcAft>
            </a:pPr>
            <a:r>
              <a:rPr lang="es-ES_tradnl" dirty="0">
                <a:solidFill>
                  <a:schemeClr val="bg1">
                    <a:lumMod val="65000"/>
                  </a:schemeClr>
                </a:solidFill>
              </a:rPr>
              <a:t>Esquema General.</a:t>
            </a:r>
          </a:p>
          <a:p>
            <a:pPr>
              <a:spcBef>
                <a:spcPts val="1200"/>
              </a:spcBef>
              <a:spcAft>
                <a:spcPts val="600"/>
              </a:spcAft>
            </a:pPr>
            <a:r>
              <a:rPr lang="es-ES_tradnl" dirty="0" smtClean="0">
                <a:solidFill>
                  <a:schemeClr val="tx1"/>
                </a:solidFill>
              </a:rPr>
              <a:t>Introducción a la cadena de valor.</a:t>
            </a:r>
          </a:p>
          <a:p>
            <a:pPr>
              <a:spcBef>
                <a:spcPts val="1200"/>
              </a:spcBef>
              <a:spcAft>
                <a:spcPts val="600"/>
              </a:spcAft>
            </a:pPr>
            <a:r>
              <a:rPr lang="es-ES_tradnl" dirty="0" smtClean="0">
                <a:solidFill>
                  <a:schemeClr val="bg1">
                    <a:lumMod val="65000"/>
                  </a:schemeClr>
                </a:solidFill>
              </a:rPr>
              <a:t>Remuneración Actividades Liberalizadas </a:t>
            </a:r>
          </a:p>
          <a:p>
            <a:pPr>
              <a:spcBef>
                <a:spcPts val="1200"/>
              </a:spcBef>
              <a:spcAft>
                <a:spcPts val="600"/>
              </a:spcAft>
            </a:pPr>
            <a:r>
              <a:rPr lang="es-ES_tradnl" dirty="0" smtClean="0">
                <a:solidFill>
                  <a:schemeClr val="bg1">
                    <a:lumMod val="65000"/>
                  </a:schemeClr>
                </a:solidFill>
              </a:rPr>
              <a:t>Remuneración de Actividades Reguladas</a:t>
            </a:r>
          </a:p>
          <a:p>
            <a:pPr>
              <a:spcBef>
                <a:spcPts val="1200"/>
              </a:spcBef>
              <a:spcAft>
                <a:spcPts val="600"/>
              </a:spcAft>
            </a:pPr>
            <a:r>
              <a:rPr lang="es-ES_tradnl" dirty="0" smtClean="0">
                <a:solidFill>
                  <a:schemeClr val="bg1">
                    <a:lumMod val="65000"/>
                  </a:schemeClr>
                </a:solidFill>
              </a:rPr>
              <a:t>Situación en España. Déficit de tarifa</a:t>
            </a:r>
          </a:p>
          <a:p>
            <a:pPr>
              <a:spcBef>
                <a:spcPts val="1200"/>
              </a:spcBef>
              <a:spcAft>
                <a:spcPts val="600"/>
              </a:spcAft>
            </a:pPr>
            <a:r>
              <a:rPr lang="es-ES_tradnl" dirty="0" smtClean="0">
                <a:solidFill>
                  <a:schemeClr val="bg1">
                    <a:lumMod val="65000"/>
                  </a:schemeClr>
                </a:solidFill>
              </a:rPr>
              <a:t>Mapa de procesos.</a:t>
            </a:r>
          </a:p>
          <a:p>
            <a:pPr>
              <a:spcBef>
                <a:spcPts val="1200"/>
              </a:spcBef>
              <a:spcAft>
                <a:spcPts val="600"/>
              </a:spcAft>
            </a:pPr>
            <a:r>
              <a:rPr lang="es-ES_tradnl" dirty="0" smtClean="0">
                <a:solidFill>
                  <a:schemeClr val="bg1">
                    <a:lumMod val="65000"/>
                  </a:schemeClr>
                </a:solidFill>
              </a:rPr>
              <a:t>Nuevas tecnologías.</a:t>
            </a:r>
          </a:p>
          <a:p>
            <a:pPr>
              <a:spcBef>
                <a:spcPts val="1200"/>
              </a:spcBef>
              <a:spcAft>
                <a:spcPts val="600"/>
              </a:spcAft>
            </a:pPr>
            <a:r>
              <a:rPr lang="es-ES_tradnl" dirty="0" smtClean="0">
                <a:solidFill>
                  <a:schemeClr val="bg1">
                    <a:lumMod val="65000"/>
                  </a:schemeClr>
                </a:solidFill>
              </a:rPr>
              <a:t>Offerings de Accenture.</a:t>
            </a:r>
          </a:p>
          <a:p>
            <a:pPr>
              <a:spcBef>
                <a:spcPts val="1200"/>
              </a:spcBef>
              <a:spcAft>
                <a:spcPts val="600"/>
              </a:spcAft>
            </a:pPr>
            <a:r>
              <a:rPr lang="es-ES_tradnl" dirty="0" smtClean="0">
                <a:solidFill>
                  <a:schemeClr val="bg1">
                    <a:lumMod val="65000"/>
                  </a:schemeClr>
                </a:solidFill>
              </a:rPr>
              <a:t>Experiencias Accenture.</a:t>
            </a:r>
          </a:p>
        </p:txBody>
      </p:sp>
      <p:sp>
        <p:nvSpPr>
          <p:cNvPr id="40" name="Slide Number Placeholder 39"/>
          <p:cNvSpPr>
            <a:spLocks noGrp="1"/>
          </p:cNvSpPr>
          <p:nvPr>
            <p:ph type="sldNum" sz="quarter" idx="4"/>
          </p:nvPr>
        </p:nvSpPr>
        <p:spPr/>
        <p:txBody>
          <a:bodyPr/>
          <a:lstStyle/>
          <a:p>
            <a:fld id="{90CBDC3A-D49F-4631-A8C7-55D59B33E5FA}" type="slidenum">
              <a:rPr lang="en-US" smtClean="0"/>
              <a:pPr/>
              <a:t>4</a:t>
            </a:fld>
            <a:endParaRPr lang="en-US" dirty="0"/>
          </a:p>
        </p:txBody>
      </p:sp>
      <p:sp>
        <p:nvSpPr>
          <p:cNvPr id="5" name="Rounded Rectangle 4"/>
          <p:cNvSpPr/>
          <p:nvPr/>
        </p:nvSpPr>
        <p:spPr>
          <a:xfrm>
            <a:off x="281354" y="1012874"/>
            <a:ext cx="8707901" cy="6752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9639668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06618" y="5303735"/>
            <a:ext cx="8319881" cy="1173265"/>
            <a:chOff x="317500" y="5532335"/>
            <a:chExt cx="8509000" cy="970065"/>
          </a:xfrm>
        </p:grpSpPr>
        <p:sp>
          <p:nvSpPr>
            <p:cNvPr id="2" name="L-Shape 1"/>
            <p:cNvSpPr/>
            <p:nvPr/>
          </p:nvSpPr>
          <p:spPr>
            <a:xfrm>
              <a:off x="317500" y="5532335"/>
              <a:ext cx="8509000" cy="970065"/>
            </a:xfrm>
            <a:prstGeom prst="corner">
              <a:avLst>
                <a:gd name="adj1" fmla="val 50000"/>
                <a:gd name="adj2" fmla="val 185184"/>
              </a:avLst>
            </a:prstGeom>
            <a:solidFill>
              <a:srgbClr val="408FCD"/>
            </a:solidFill>
            <a:ln w="127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pt-PT">
                <a:solidFill>
                  <a:schemeClr val="tx1"/>
                </a:solidFill>
                <a:latin typeface="+mj-lt"/>
              </a:endParaRPr>
            </a:p>
          </p:txBody>
        </p:sp>
        <p:sp>
          <p:nvSpPr>
            <p:cNvPr id="21" name="L-Shape 20"/>
            <p:cNvSpPr/>
            <p:nvPr/>
          </p:nvSpPr>
          <p:spPr>
            <a:xfrm flipH="1">
              <a:off x="4762500" y="5532335"/>
              <a:ext cx="4064000" cy="970065"/>
            </a:xfrm>
            <a:prstGeom prst="corner">
              <a:avLst>
                <a:gd name="adj1" fmla="val 50000"/>
                <a:gd name="adj2" fmla="val 191978"/>
              </a:avLst>
            </a:prstGeom>
            <a:solidFill>
              <a:srgbClr val="408FCD"/>
            </a:solidFill>
            <a:ln w="127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pt-PT">
                <a:solidFill>
                  <a:schemeClr val="tx1"/>
                </a:solidFill>
                <a:latin typeface="+mj-lt"/>
              </a:endParaRPr>
            </a:p>
          </p:txBody>
        </p:sp>
      </p:grpSp>
      <p:sp>
        <p:nvSpPr>
          <p:cNvPr id="52" name="Down Arrow Callout 51"/>
          <p:cNvSpPr/>
          <p:nvPr/>
        </p:nvSpPr>
        <p:spPr>
          <a:xfrm>
            <a:off x="6573590" y="2298696"/>
            <a:ext cx="2164010" cy="3005039"/>
          </a:xfrm>
          <a:prstGeom prst="downArrowCallout">
            <a:avLst>
              <a:gd name="adj1" fmla="val 15036"/>
              <a:gd name="adj2" fmla="val 17716"/>
              <a:gd name="adj3" fmla="val 8339"/>
              <a:gd name="adj4" fmla="val 89715"/>
            </a:avLst>
          </a:prstGeom>
          <a:solidFill>
            <a:srgbClr val="408FCD"/>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51" name="Down Arrow Callout 50"/>
          <p:cNvSpPr/>
          <p:nvPr/>
        </p:nvSpPr>
        <p:spPr>
          <a:xfrm>
            <a:off x="2896442" y="2298697"/>
            <a:ext cx="3420684" cy="2702247"/>
          </a:xfrm>
          <a:prstGeom prst="downArrowCallout">
            <a:avLst>
              <a:gd name="adj1" fmla="val 15025"/>
              <a:gd name="adj2" fmla="val 15409"/>
              <a:gd name="adj3" fmla="val 6881"/>
              <a:gd name="adj4" fmla="val 89715"/>
            </a:avLst>
          </a:prstGeom>
          <a:solidFill>
            <a:schemeClr val="bg1">
              <a:lumMod val="75000"/>
            </a:schemeClr>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49" name="Down Arrow Callout 48"/>
          <p:cNvSpPr/>
          <p:nvPr/>
        </p:nvSpPr>
        <p:spPr>
          <a:xfrm>
            <a:off x="506620" y="2298696"/>
            <a:ext cx="2164010" cy="3005039"/>
          </a:xfrm>
          <a:prstGeom prst="downArrowCallout">
            <a:avLst>
              <a:gd name="adj1" fmla="val 25000"/>
              <a:gd name="adj2" fmla="val 25000"/>
              <a:gd name="adj3" fmla="val 9567"/>
              <a:gd name="adj4" fmla="val 89715"/>
            </a:avLst>
          </a:prstGeom>
          <a:solidFill>
            <a:srgbClr val="408FCD"/>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28" name="Title 27"/>
          <p:cNvSpPr>
            <a:spLocks noGrp="1"/>
          </p:cNvSpPr>
          <p:nvPr>
            <p:ph type="title"/>
          </p:nvPr>
        </p:nvSpPr>
        <p:spPr/>
        <p:txBody>
          <a:bodyPr/>
          <a:lstStyle/>
          <a:p>
            <a:r>
              <a:rPr lang="es-ES_tradnl" b="1" dirty="0" smtClean="0"/>
              <a:t>Introducción a la cadena de valor: </a:t>
            </a:r>
            <a:br>
              <a:rPr lang="es-ES_tradnl" b="1" dirty="0" smtClean="0"/>
            </a:br>
            <a:r>
              <a:rPr lang="es-ES_tradnl" dirty="0" smtClean="0"/>
              <a:t>Negocios Regulados frente a Negocios Liberalizados </a:t>
            </a:r>
            <a:endParaRPr lang="es-ES_tradnl" dirty="0"/>
          </a:p>
        </p:txBody>
      </p:sp>
      <p:sp>
        <p:nvSpPr>
          <p:cNvPr id="40" name="Slide Number Placeholder 39"/>
          <p:cNvSpPr>
            <a:spLocks noGrp="1"/>
          </p:cNvSpPr>
          <p:nvPr>
            <p:ph type="sldNum" sz="quarter" idx="4"/>
          </p:nvPr>
        </p:nvSpPr>
        <p:spPr/>
        <p:txBody>
          <a:bodyPr/>
          <a:lstStyle/>
          <a:p>
            <a:pPr>
              <a:defRPr/>
            </a:pPr>
            <a:fld id="{90CBDC3A-D49F-4631-A8C7-55D59B33E5FA}" type="slidenum">
              <a:rPr lang="es-ES_tradnl" smtClean="0">
                <a:latin typeface="+mj-lt"/>
              </a:rPr>
              <a:pPr>
                <a:defRPr/>
              </a:pPr>
              <a:t>5</a:t>
            </a:fld>
            <a:endParaRPr lang="es-ES_tradnl">
              <a:latin typeface="+mj-lt"/>
            </a:endParaRPr>
          </a:p>
        </p:txBody>
      </p:sp>
      <p:sp>
        <p:nvSpPr>
          <p:cNvPr id="3" name="Pentagon 2"/>
          <p:cNvSpPr/>
          <p:nvPr/>
        </p:nvSpPr>
        <p:spPr>
          <a:xfrm>
            <a:off x="506619" y="1321872"/>
            <a:ext cx="2164010" cy="784404"/>
          </a:xfrm>
          <a:prstGeom prst="homePlate">
            <a:avLst>
              <a:gd name="adj" fmla="val 38213"/>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smtClean="0">
                <a:latin typeface="+mj-lt"/>
              </a:rPr>
              <a:t>Generación</a:t>
            </a:r>
            <a:endParaRPr lang="es-ES_tradnl" sz="1400" dirty="0">
              <a:latin typeface="+mj-lt"/>
            </a:endParaRPr>
          </a:p>
        </p:txBody>
      </p:sp>
      <p:sp>
        <p:nvSpPr>
          <p:cNvPr id="26" name="Chevron 25"/>
          <p:cNvSpPr/>
          <p:nvPr/>
        </p:nvSpPr>
        <p:spPr>
          <a:xfrm>
            <a:off x="2715798" y="1321872"/>
            <a:ext cx="1981189" cy="784404"/>
          </a:xfrm>
          <a:prstGeom prst="chevron">
            <a:avLst>
              <a:gd name="adj" fmla="val 38214"/>
            </a:avLst>
          </a:prstGeom>
          <a:solidFill>
            <a:schemeClr val="bg1">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a:latin typeface="+mj-lt"/>
              </a:rPr>
              <a:t>Transporte</a:t>
            </a:r>
          </a:p>
        </p:txBody>
      </p:sp>
      <p:sp>
        <p:nvSpPr>
          <p:cNvPr id="37" name="Chevron 36"/>
          <p:cNvSpPr/>
          <p:nvPr/>
        </p:nvSpPr>
        <p:spPr>
          <a:xfrm>
            <a:off x="4485851" y="1321872"/>
            <a:ext cx="1981189" cy="784404"/>
          </a:xfrm>
          <a:prstGeom prst="chevron">
            <a:avLst>
              <a:gd name="adj" fmla="val 38214"/>
            </a:avLst>
          </a:prstGeom>
          <a:solidFill>
            <a:schemeClr val="bg1">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a:latin typeface="+mj-lt"/>
              </a:rPr>
              <a:t>Distribución</a:t>
            </a:r>
          </a:p>
        </p:txBody>
      </p:sp>
      <p:sp>
        <p:nvSpPr>
          <p:cNvPr id="38" name="Chevron 37"/>
          <p:cNvSpPr/>
          <p:nvPr/>
        </p:nvSpPr>
        <p:spPr>
          <a:xfrm>
            <a:off x="6446132" y="1321872"/>
            <a:ext cx="2207372" cy="784404"/>
          </a:xfrm>
          <a:prstGeom prst="chevron">
            <a:avLst>
              <a:gd name="adj" fmla="val 38214"/>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a:latin typeface="+mj-lt"/>
              </a:rPr>
              <a:t>Comercialización</a:t>
            </a:r>
          </a:p>
        </p:txBody>
      </p:sp>
      <p:sp>
        <p:nvSpPr>
          <p:cNvPr id="41" name="Text Box 15"/>
          <p:cNvSpPr txBox="1">
            <a:spLocks noChangeArrowheads="1"/>
          </p:cNvSpPr>
          <p:nvPr/>
        </p:nvSpPr>
        <p:spPr bwMode="gray">
          <a:xfrm>
            <a:off x="615685" y="2405587"/>
            <a:ext cx="1945879" cy="2186364"/>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oAutofit/>
          </a:bodyPr>
          <a:lstStyle/>
          <a:p>
            <a:pPr algn="ctr">
              <a:spcBef>
                <a:spcPct val="50000"/>
              </a:spcBef>
            </a:pPr>
            <a:r>
              <a:rPr lang="es-ES_tradnl" sz="1200" b="1" dirty="0" smtClean="0">
                <a:solidFill>
                  <a:schemeClr val="accent1"/>
                </a:solidFill>
                <a:latin typeface="+mj-lt"/>
              </a:rPr>
              <a:t>ACTIVIDAD </a:t>
            </a:r>
            <a:r>
              <a:rPr lang="es-ES_tradnl" sz="1200" b="1" dirty="0">
                <a:solidFill>
                  <a:schemeClr val="accent1"/>
                </a:solidFill>
                <a:latin typeface="+mj-lt"/>
              </a:rPr>
              <a:t>LIBERALIZADA</a:t>
            </a:r>
          </a:p>
          <a:p>
            <a:pPr marL="171450" indent="-171450">
              <a:spcBef>
                <a:spcPct val="50000"/>
              </a:spcBef>
              <a:buSzPct val="100000"/>
              <a:buFont typeface="Arial" pitchFamily="34" charset="0"/>
              <a:buChar char="•"/>
            </a:pPr>
            <a:r>
              <a:rPr lang="es-ES_tradnl" sz="1100" dirty="0">
                <a:solidFill>
                  <a:schemeClr val="accent1"/>
                </a:solidFill>
              </a:rPr>
              <a:t>Intensamente competitiva</a:t>
            </a:r>
          </a:p>
          <a:p>
            <a:pPr marL="171450" indent="-171450">
              <a:spcBef>
                <a:spcPct val="50000"/>
              </a:spcBef>
              <a:buSzPct val="100000"/>
              <a:buFont typeface="Arial" pitchFamily="34" charset="0"/>
              <a:buChar char="•"/>
            </a:pPr>
            <a:r>
              <a:rPr lang="es-ES_tradnl" sz="1100" dirty="0">
                <a:solidFill>
                  <a:schemeClr val="accent1"/>
                </a:solidFill>
              </a:rPr>
              <a:t>Mercado Mayorista</a:t>
            </a:r>
          </a:p>
          <a:p>
            <a:pPr marL="171450" indent="-171450">
              <a:spcBef>
                <a:spcPct val="50000"/>
              </a:spcBef>
              <a:buSzPct val="100000"/>
              <a:buFont typeface="Arial" pitchFamily="34" charset="0"/>
              <a:buChar char="•"/>
            </a:pPr>
            <a:r>
              <a:rPr lang="es-ES_tradnl" sz="1100" dirty="0">
                <a:solidFill>
                  <a:schemeClr val="accent1"/>
                </a:solidFill>
              </a:rPr>
              <a:t>Competencia basada en costes</a:t>
            </a:r>
          </a:p>
          <a:p>
            <a:pPr marL="171450" indent="-171450">
              <a:spcBef>
                <a:spcPct val="50000"/>
              </a:spcBef>
              <a:buSzPct val="100000"/>
              <a:buFont typeface="Arial" pitchFamily="34" charset="0"/>
              <a:buChar char="•"/>
            </a:pPr>
            <a:r>
              <a:rPr lang="es-ES_tradnl" sz="1100" dirty="0" err="1">
                <a:solidFill>
                  <a:schemeClr val="accent1"/>
                </a:solidFill>
              </a:rPr>
              <a:t>Mix</a:t>
            </a:r>
            <a:r>
              <a:rPr lang="es-ES_tradnl" sz="1100" dirty="0">
                <a:solidFill>
                  <a:schemeClr val="accent1"/>
                </a:solidFill>
              </a:rPr>
              <a:t> de generación </a:t>
            </a:r>
            <a:r>
              <a:rPr lang="es-ES_tradnl" sz="1100" dirty="0" smtClean="0">
                <a:solidFill>
                  <a:schemeClr val="accent1"/>
                </a:solidFill>
              </a:rPr>
              <a:t>diversificado</a:t>
            </a:r>
            <a:endParaRPr lang="es-ES_tradnl" sz="1100" dirty="0">
              <a:solidFill>
                <a:schemeClr val="accent1"/>
              </a:solidFill>
            </a:endParaRPr>
          </a:p>
        </p:txBody>
      </p:sp>
      <p:sp>
        <p:nvSpPr>
          <p:cNvPr id="42" name="Text Box 15"/>
          <p:cNvSpPr txBox="1">
            <a:spLocks noChangeArrowheads="1"/>
          </p:cNvSpPr>
          <p:nvPr/>
        </p:nvSpPr>
        <p:spPr bwMode="gray">
          <a:xfrm>
            <a:off x="3036167" y="2431386"/>
            <a:ext cx="3141234" cy="2159708"/>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oAutofit/>
          </a:bodyPr>
          <a:lstStyle>
            <a:defPPr>
              <a:defRPr lang="en-US"/>
            </a:defPPr>
            <a:lvl1pPr algn="ctr">
              <a:spcBef>
                <a:spcPct val="50000"/>
              </a:spcBef>
              <a:defRPr sz="1200" b="1"/>
            </a:lvl1pPr>
          </a:lstStyle>
          <a:p>
            <a:pPr>
              <a:spcBef>
                <a:spcPts val="1000"/>
              </a:spcBef>
            </a:pPr>
            <a:r>
              <a:rPr lang="es-ES_tradnl" dirty="0" smtClean="0">
                <a:solidFill>
                  <a:schemeClr val="accent1"/>
                </a:solidFill>
                <a:latin typeface="+mj-lt"/>
              </a:rPr>
              <a:t>ACTIVIDADES REGULADAS</a:t>
            </a:r>
          </a:p>
          <a:p>
            <a:pPr marL="171450" indent="-171450" algn="l">
              <a:spcBef>
                <a:spcPts val="600"/>
              </a:spcBef>
              <a:spcAft>
                <a:spcPts val="600"/>
              </a:spcAft>
              <a:buFont typeface="Arial" pitchFamily="34" charset="0"/>
              <a:buChar char="•"/>
            </a:pPr>
            <a:r>
              <a:rPr lang="es-ES_tradnl" sz="1100" b="0" dirty="0">
                <a:solidFill>
                  <a:schemeClr val="accent1"/>
                </a:solidFill>
              </a:rPr>
              <a:t>Monopolio natural debido a los elevados costes fijos </a:t>
            </a:r>
          </a:p>
          <a:p>
            <a:pPr marL="171450" indent="-171450" algn="l">
              <a:spcBef>
                <a:spcPts val="600"/>
              </a:spcBef>
              <a:spcAft>
                <a:spcPts val="600"/>
              </a:spcAft>
              <a:buFont typeface="Arial" pitchFamily="34" charset="0"/>
              <a:buChar char="•"/>
            </a:pPr>
            <a:r>
              <a:rPr lang="es-ES_tradnl" sz="1100" b="0" dirty="0">
                <a:solidFill>
                  <a:schemeClr val="accent1"/>
                </a:solidFill>
              </a:rPr>
              <a:t>Necesidad de expandir la red de manera continua para adecuarse al aumento de demanda</a:t>
            </a:r>
          </a:p>
          <a:p>
            <a:pPr marL="171450" indent="-171450" algn="l">
              <a:spcBef>
                <a:spcPts val="600"/>
              </a:spcBef>
              <a:spcAft>
                <a:spcPts val="600"/>
              </a:spcAft>
              <a:buFont typeface="Arial" pitchFamily="34" charset="0"/>
              <a:buChar char="•"/>
            </a:pPr>
            <a:r>
              <a:rPr lang="es-ES_tradnl" sz="1100" b="0" dirty="0">
                <a:solidFill>
                  <a:schemeClr val="accent1"/>
                </a:solidFill>
              </a:rPr>
              <a:t>Clientes cautivos</a:t>
            </a:r>
          </a:p>
          <a:p>
            <a:pPr marL="171450" indent="-171450" algn="l">
              <a:spcBef>
                <a:spcPts val="600"/>
              </a:spcBef>
              <a:spcAft>
                <a:spcPts val="600"/>
              </a:spcAft>
              <a:buFont typeface="Arial" pitchFamily="34" charset="0"/>
              <a:buChar char="•"/>
            </a:pPr>
            <a:r>
              <a:rPr lang="es-ES_tradnl" sz="1100" b="0" dirty="0">
                <a:solidFill>
                  <a:schemeClr val="accent1"/>
                </a:solidFill>
              </a:rPr>
              <a:t>Eficiencia en costes crítica</a:t>
            </a:r>
          </a:p>
        </p:txBody>
      </p:sp>
      <p:sp>
        <p:nvSpPr>
          <p:cNvPr id="43" name="Text Box 15"/>
          <p:cNvSpPr txBox="1">
            <a:spLocks noChangeArrowheads="1"/>
          </p:cNvSpPr>
          <p:nvPr/>
        </p:nvSpPr>
        <p:spPr bwMode="gray">
          <a:xfrm>
            <a:off x="6682656" y="2442240"/>
            <a:ext cx="1945879" cy="214971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oAutofit/>
          </a:bodyPr>
          <a:lstStyle/>
          <a:p>
            <a:pPr algn="ctr">
              <a:spcBef>
                <a:spcPts val="1200"/>
              </a:spcBef>
            </a:pPr>
            <a:r>
              <a:rPr lang="es-ES_tradnl" sz="1200" b="1" dirty="0" smtClean="0">
                <a:solidFill>
                  <a:schemeClr val="accent1"/>
                </a:solidFill>
                <a:latin typeface="+mj-lt"/>
              </a:rPr>
              <a:t>ACTIVIDAD LIBERALIZADA</a:t>
            </a:r>
            <a:endParaRPr lang="es-ES_tradnl" sz="1200" b="1" dirty="0">
              <a:solidFill>
                <a:schemeClr val="accent1"/>
              </a:solidFill>
              <a:latin typeface="+mj-lt"/>
            </a:endParaRPr>
          </a:p>
          <a:p>
            <a:pPr marL="171450" indent="-171450">
              <a:spcBef>
                <a:spcPts val="1200"/>
              </a:spcBef>
              <a:buFont typeface="Arial" pitchFamily="34" charset="0"/>
              <a:buChar char="•"/>
            </a:pPr>
            <a:r>
              <a:rPr lang="es-ES_tradnl" sz="1100" dirty="0">
                <a:solidFill>
                  <a:schemeClr val="accent1"/>
                </a:solidFill>
              </a:rPr>
              <a:t>Actividad competitiva</a:t>
            </a:r>
          </a:p>
          <a:p>
            <a:pPr marL="171450" indent="-171450">
              <a:spcBef>
                <a:spcPts val="1200"/>
              </a:spcBef>
              <a:buFont typeface="Arial" pitchFamily="34" charset="0"/>
              <a:buChar char="•"/>
            </a:pPr>
            <a:r>
              <a:rPr lang="es-ES_tradnl" sz="1100" dirty="0">
                <a:solidFill>
                  <a:schemeClr val="accent1"/>
                </a:solidFill>
              </a:rPr>
              <a:t>Mercado Minorista y Mayorista</a:t>
            </a:r>
          </a:p>
          <a:p>
            <a:pPr marL="171450" indent="-171450">
              <a:spcBef>
                <a:spcPts val="1200"/>
              </a:spcBef>
              <a:buFont typeface="Arial" pitchFamily="34" charset="0"/>
              <a:buChar char="•"/>
            </a:pPr>
            <a:r>
              <a:rPr lang="es-ES_tradnl" sz="1100" dirty="0">
                <a:solidFill>
                  <a:schemeClr val="accent1"/>
                </a:solidFill>
              </a:rPr>
              <a:t>Protección a consumidores vulnerables</a:t>
            </a:r>
          </a:p>
        </p:txBody>
      </p:sp>
      <p:sp>
        <p:nvSpPr>
          <p:cNvPr id="55" name="Text Box 15"/>
          <p:cNvSpPr txBox="1">
            <a:spLocks noChangeArrowheads="1"/>
          </p:cNvSpPr>
          <p:nvPr/>
        </p:nvSpPr>
        <p:spPr bwMode="gray">
          <a:xfrm>
            <a:off x="506620" y="5994400"/>
            <a:ext cx="8165810" cy="370888"/>
          </a:xfrm>
          <a:prstGeom prst="roundRect">
            <a:avLst>
              <a:gd name="adj" fmla="val 10832"/>
            </a:avLst>
          </a:prstGeom>
          <a:noFill/>
          <a:ln w="12700">
            <a:noFill/>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600" dirty="0" smtClean="0">
                <a:solidFill>
                  <a:schemeClr val="bg1"/>
                </a:solidFill>
                <a:latin typeface="+mj-lt"/>
              </a:rPr>
              <a:t>MERCADO MAYORISTA DE COMPRA-VENTA DE ENERGÍA</a:t>
            </a:r>
            <a:endParaRPr lang="es-ES_tradnl" sz="1600" dirty="0">
              <a:solidFill>
                <a:schemeClr val="bg1"/>
              </a:solidFill>
              <a:latin typeface="+mj-lt"/>
            </a:endParaRPr>
          </a:p>
        </p:txBody>
      </p:sp>
      <p:sp>
        <p:nvSpPr>
          <p:cNvPr id="48" name="Rectangle 47"/>
          <p:cNvSpPr/>
          <p:nvPr/>
        </p:nvSpPr>
        <p:spPr>
          <a:xfrm>
            <a:off x="2896442" y="5010535"/>
            <a:ext cx="3506534" cy="759279"/>
          </a:xfrm>
          <a:prstGeom prst="rect">
            <a:avLst/>
          </a:prstGeom>
          <a:solidFill>
            <a:schemeClr val="bg1">
              <a:lumMod val="75000"/>
            </a:schemeClr>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50" name="Text Box 15"/>
          <p:cNvSpPr txBox="1">
            <a:spLocks noChangeArrowheads="1"/>
          </p:cNvSpPr>
          <p:nvPr/>
        </p:nvSpPr>
        <p:spPr bwMode="gray">
          <a:xfrm>
            <a:off x="3046589" y="5158160"/>
            <a:ext cx="3141234" cy="49435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accent1"/>
                </a:solidFill>
                <a:latin typeface="+mj-lt"/>
              </a:rPr>
              <a:t>MODELO RETRIBUTIVO FIJADO POR LA REGULACIÓN</a:t>
            </a:r>
            <a:endParaRPr lang="es-ES_tradnl" sz="1400" dirty="0">
              <a:solidFill>
                <a:schemeClr val="accent1"/>
              </a:solidFill>
              <a:latin typeface="+mj-lt"/>
            </a:endParaRPr>
          </a:p>
        </p:txBody>
      </p:sp>
    </p:spTree>
    <p:extLst>
      <p:ext uri="{BB962C8B-B14F-4D97-AF65-F5344CB8AC3E}">
        <p14:creationId xmlns:p14="http://schemas.microsoft.com/office/powerpoint/2010/main" val="14189080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1"/>
          </p:nvPr>
        </p:nvSpPr>
        <p:spPr>
          <a:xfrm>
            <a:off x="446151" y="525183"/>
            <a:ext cx="8251698" cy="5807635"/>
          </a:xfrm>
        </p:spPr>
        <p:txBody>
          <a:bodyPr>
            <a:noAutofit/>
          </a:bodyPr>
          <a:lstStyle/>
          <a:p>
            <a:pPr>
              <a:spcBef>
                <a:spcPts val="1200"/>
              </a:spcBef>
              <a:spcAft>
                <a:spcPts val="600"/>
              </a:spcAft>
            </a:pPr>
            <a:r>
              <a:rPr lang="es-ES_tradnl" dirty="0">
                <a:solidFill>
                  <a:schemeClr val="bg1">
                    <a:lumMod val="65000"/>
                  </a:schemeClr>
                </a:solidFill>
              </a:rPr>
              <a:t>Esquema General.</a:t>
            </a:r>
          </a:p>
          <a:p>
            <a:pPr>
              <a:spcBef>
                <a:spcPts val="1200"/>
              </a:spcBef>
              <a:spcAft>
                <a:spcPts val="600"/>
              </a:spcAft>
            </a:pPr>
            <a:r>
              <a:rPr lang="es-ES_tradnl" dirty="0" smtClean="0">
                <a:solidFill>
                  <a:schemeClr val="bg1">
                    <a:lumMod val="65000"/>
                  </a:schemeClr>
                </a:solidFill>
              </a:rPr>
              <a:t>Introducción a la cadena de valor.</a:t>
            </a:r>
          </a:p>
          <a:p>
            <a:pPr>
              <a:spcBef>
                <a:spcPts val="1200"/>
              </a:spcBef>
              <a:spcAft>
                <a:spcPts val="600"/>
              </a:spcAft>
            </a:pPr>
            <a:r>
              <a:rPr lang="es-ES_tradnl" dirty="0" smtClean="0">
                <a:solidFill>
                  <a:schemeClr val="tx1"/>
                </a:solidFill>
              </a:rPr>
              <a:t>Remuneración Actividades Liberalizadas </a:t>
            </a:r>
          </a:p>
          <a:p>
            <a:pPr>
              <a:spcBef>
                <a:spcPts val="1200"/>
              </a:spcBef>
              <a:spcAft>
                <a:spcPts val="600"/>
              </a:spcAft>
            </a:pPr>
            <a:r>
              <a:rPr lang="es-ES_tradnl" dirty="0" smtClean="0">
                <a:solidFill>
                  <a:schemeClr val="bg1">
                    <a:lumMod val="65000"/>
                  </a:schemeClr>
                </a:solidFill>
              </a:rPr>
              <a:t>Remuneración de Actividades Reguladas</a:t>
            </a:r>
          </a:p>
          <a:p>
            <a:pPr>
              <a:spcBef>
                <a:spcPts val="1200"/>
              </a:spcBef>
              <a:spcAft>
                <a:spcPts val="600"/>
              </a:spcAft>
            </a:pPr>
            <a:r>
              <a:rPr lang="es-ES_tradnl" dirty="0" smtClean="0">
                <a:solidFill>
                  <a:schemeClr val="bg1">
                    <a:lumMod val="65000"/>
                  </a:schemeClr>
                </a:solidFill>
              </a:rPr>
              <a:t>Situación en España. Déficit de tarifa</a:t>
            </a:r>
          </a:p>
          <a:p>
            <a:pPr>
              <a:spcBef>
                <a:spcPts val="1200"/>
              </a:spcBef>
              <a:spcAft>
                <a:spcPts val="600"/>
              </a:spcAft>
            </a:pPr>
            <a:r>
              <a:rPr lang="es-ES_tradnl" dirty="0" smtClean="0">
                <a:solidFill>
                  <a:schemeClr val="bg1">
                    <a:lumMod val="65000"/>
                  </a:schemeClr>
                </a:solidFill>
              </a:rPr>
              <a:t>Mapa de procesos.</a:t>
            </a:r>
          </a:p>
          <a:p>
            <a:pPr>
              <a:spcBef>
                <a:spcPts val="1200"/>
              </a:spcBef>
              <a:spcAft>
                <a:spcPts val="600"/>
              </a:spcAft>
            </a:pPr>
            <a:r>
              <a:rPr lang="es-ES_tradnl" dirty="0" smtClean="0">
                <a:solidFill>
                  <a:schemeClr val="bg1">
                    <a:lumMod val="65000"/>
                  </a:schemeClr>
                </a:solidFill>
              </a:rPr>
              <a:t>Nuevas tecnologías.</a:t>
            </a:r>
          </a:p>
          <a:p>
            <a:pPr>
              <a:spcBef>
                <a:spcPts val="1200"/>
              </a:spcBef>
              <a:spcAft>
                <a:spcPts val="600"/>
              </a:spcAft>
            </a:pPr>
            <a:r>
              <a:rPr lang="es-ES_tradnl" dirty="0" smtClean="0">
                <a:solidFill>
                  <a:schemeClr val="bg1">
                    <a:lumMod val="65000"/>
                  </a:schemeClr>
                </a:solidFill>
              </a:rPr>
              <a:t>Offerings de Accenture.</a:t>
            </a:r>
          </a:p>
          <a:p>
            <a:pPr>
              <a:spcBef>
                <a:spcPts val="1200"/>
              </a:spcBef>
              <a:spcAft>
                <a:spcPts val="600"/>
              </a:spcAft>
            </a:pPr>
            <a:r>
              <a:rPr lang="es-ES_tradnl" dirty="0" smtClean="0">
                <a:solidFill>
                  <a:schemeClr val="bg1">
                    <a:lumMod val="65000"/>
                  </a:schemeClr>
                </a:solidFill>
              </a:rPr>
              <a:t>Experiencias Accenture.</a:t>
            </a:r>
          </a:p>
        </p:txBody>
      </p:sp>
      <p:sp>
        <p:nvSpPr>
          <p:cNvPr id="40" name="Slide Number Placeholder 39"/>
          <p:cNvSpPr>
            <a:spLocks noGrp="1"/>
          </p:cNvSpPr>
          <p:nvPr>
            <p:ph type="sldNum" sz="quarter" idx="4"/>
          </p:nvPr>
        </p:nvSpPr>
        <p:spPr/>
        <p:txBody>
          <a:bodyPr/>
          <a:lstStyle/>
          <a:p>
            <a:fld id="{90CBDC3A-D49F-4631-A8C7-55D59B33E5FA}" type="slidenum">
              <a:rPr lang="en-US" smtClean="0"/>
              <a:pPr/>
              <a:t>6</a:t>
            </a:fld>
            <a:endParaRPr lang="en-US" dirty="0"/>
          </a:p>
        </p:txBody>
      </p:sp>
      <p:sp>
        <p:nvSpPr>
          <p:cNvPr id="5" name="Rounded Rectangle 4"/>
          <p:cNvSpPr/>
          <p:nvPr/>
        </p:nvSpPr>
        <p:spPr>
          <a:xfrm>
            <a:off x="281354" y="1674070"/>
            <a:ext cx="8707901" cy="6752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8100452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06618" y="5303735"/>
            <a:ext cx="8319881" cy="1173265"/>
            <a:chOff x="317500" y="5532335"/>
            <a:chExt cx="8509000" cy="970065"/>
          </a:xfrm>
          <a:solidFill>
            <a:srgbClr val="FF0000"/>
          </a:solidFill>
        </p:grpSpPr>
        <p:sp>
          <p:nvSpPr>
            <p:cNvPr id="2" name="L-Shape 1"/>
            <p:cNvSpPr/>
            <p:nvPr/>
          </p:nvSpPr>
          <p:spPr>
            <a:xfrm>
              <a:off x="317500" y="5532335"/>
              <a:ext cx="8509000" cy="970065"/>
            </a:xfrm>
            <a:prstGeom prst="corner">
              <a:avLst>
                <a:gd name="adj1" fmla="val 50000"/>
                <a:gd name="adj2" fmla="val 185184"/>
              </a:avLst>
            </a:prstGeom>
            <a:grpFill/>
            <a:ln w="127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pt-PT">
                <a:solidFill>
                  <a:schemeClr val="tx1"/>
                </a:solidFill>
                <a:latin typeface="+mj-lt"/>
              </a:endParaRPr>
            </a:p>
          </p:txBody>
        </p:sp>
        <p:sp>
          <p:nvSpPr>
            <p:cNvPr id="21" name="L-Shape 20"/>
            <p:cNvSpPr/>
            <p:nvPr/>
          </p:nvSpPr>
          <p:spPr>
            <a:xfrm flipH="1">
              <a:off x="4762500" y="5532335"/>
              <a:ext cx="4064000" cy="970065"/>
            </a:xfrm>
            <a:prstGeom prst="corner">
              <a:avLst>
                <a:gd name="adj1" fmla="val 50000"/>
                <a:gd name="adj2" fmla="val 191978"/>
              </a:avLst>
            </a:prstGeom>
            <a:grpFill/>
            <a:ln w="127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pt-PT">
                <a:solidFill>
                  <a:schemeClr val="tx1"/>
                </a:solidFill>
                <a:latin typeface="+mj-lt"/>
              </a:endParaRPr>
            </a:p>
          </p:txBody>
        </p:sp>
      </p:grpSp>
      <p:sp>
        <p:nvSpPr>
          <p:cNvPr id="52" name="Down Arrow Callout 51"/>
          <p:cNvSpPr/>
          <p:nvPr/>
        </p:nvSpPr>
        <p:spPr>
          <a:xfrm>
            <a:off x="6573590" y="2298696"/>
            <a:ext cx="2164010" cy="3005039"/>
          </a:xfrm>
          <a:prstGeom prst="downArrowCallout">
            <a:avLst>
              <a:gd name="adj1" fmla="val 15036"/>
              <a:gd name="adj2" fmla="val 17716"/>
              <a:gd name="adj3" fmla="val 8339"/>
              <a:gd name="adj4" fmla="val 89715"/>
            </a:avLst>
          </a:prstGeom>
          <a:solidFill>
            <a:srgbClr val="FF0000"/>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51" name="Down Arrow Callout 50"/>
          <p:cNvSpPr/>
          <p:nvPr/>
        </p:nvSpPr>
        <p:spPr>
          <a:xfrm>
            <a:off x="2896442" y="2298697"/>
            <a:ext cx="3420684" cy="2702247"/>
          </a:xfrm>
          <a:prstGeom prst="downArrowCallout">
            <a:avLst>
              <a:gd name="adj1" fmla="val 15025"/>
              <a:gd name="adj2" fmla="val 15409"/>
              <a:gd name="adj3" fmla="val 6881"/>
              <a:gd name="adj4" fmla="val 89715"/>
            </a:avLst>
          </a:prstGeom>
          <a:solidFill>
            <a:schemeClr val="bg1">
              <a:lumMod val="75000"/>
            </a:schemeClr>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49" name="Down Arrow Callout 48"/>
          <p:cNvSpPr/>
          <p:nvPr/>
        </p:nvSpPr>
        <p:spPr>
          <a:xfrm>
            <a:off x="506620" y="2298696"/>
            <a:ext cx="2164010" cy="3005039"/>
          </a:xfrm>
          <a:prstGeom prst="downArrowCallout">
            <a:avLst>
              <a:gd name="adj1" fmla="val 25000"/>
              <a:gd name="adj2" fmla="val 25000"/>
              <a:gd name="adj3" fmla="val 9567"/>
              <a:gd name="adj4" fmla="val 89715"/>
            </a:avLst>
          </a:prstGeom>
          <a:solidFill>
            <a:srgbClr val="FF0000"/>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40" name="Slide Number Placeholder 39"/>
          <p:cNvSpPr>
            <a:spLocks noGrp="1"/>
          </p:cNvSpPr>
          <p:nvPr>
            <p:ph type="sldNum" sz="quarter" idx="4"/>
          </p:nvPr>
        </p:nvSpPr>
        <p:spPr/>
        <p:txBody>
          <a:bodyPr/>
          <a:lstStyle/>
          <a:p>
            <a:pPr>
              <a:defRPr/>
            </a:pPr>
            <a:fld id="{90CBDC3A-D49F-4631-A8C7-55D59B33E5FA}" type="slidenum">
              <a:rPr lang="es-ES_tradnl" smtClean="0">
                <a:latin typeface="+mj-lt"/>
              </a:rPr>
              <a:pPr>
                <a:defRPr/>
              </a:pPr>
              <a:t>7</a:t>
            </a:fld>
            <a:endParaRPr lang="es-ES_tradnl">
              <a:latin typeface="+mj-lt"/>
            </a:endParaRPr>
          </a:p>
        </p:txBody>
      </p:sp>
      <p:sp>
        <p:nvSpPr>
          <p:cNvPr id="3" name="Pentagon 2"/>
          <p:cNvSpPr/>
          <p:nvPr/>
        </p:nvSpPr>
        <p:spPr>
          <a:xfrm>
            <a:off x="506619" y="1321872"/>
            <a:ext cx="2164010" cy="784404"/>
          </a:xfrm>
          <a:prstGeom prst="homePlate">
            <a:avLst>
              <a:gd name="adj" fmla="val 38213"/>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smtClean="0">
                <a:latin typeface="+mj-lt"/>
              </a:rPr>
              <a:t>Generación</a:t>
            </a:r>
            <a:endParaRPr lang="es-ES_tradnl" sz="1400" dirty="0">
              <a:latin typeface="+mj-lt"/>
            </a:endParaRPr>
          </a:p>
        </p:txBody>
      </p:sp>
      <p:sp>
        <p:nvSpPr>
          <p:cNvPr id="26" name="Chevron 25"/>
          <p:cNvSpPr/>
          <p:nvPr/>
        </p:nvSpPr>
        <p:spPr>
          <a:xfrm>
            <a:off x="2715798" y="1321872"/>
            <a:ext cx="1981189" cy="784404"/>
          </a:xfrm>
          <a:prstGeom prst="chevron">
            <a:avLst>
              <a:gd name="adj" fmla="val 38214"/>
            </a:avLst>
          </a:prstGeom>
          <a:solidFill>
            <a:schemeClr val="bg1">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a:latin typeface="+mj-lt"/>
              </a:rPr>
              <a:t>Transporte</a:t>
            </a:r>
          </a:p>
        </p:txBody>
      </p:sp>
      <p:sp>
        <p:nvSpPr>
          <p:cNvPr id="37" name="Chevron 36"/>
          <p:cNvSpPr/>
          <p:nvPr/>
        </p:nvSpPr>
        <p:spPr>
          <a:xfrm>
            <a:off x="4485851" y="1321872"/>
            <a:ext cx="1981189" cy="784404"/>
          </a:xfrm>
          <a:prstGeom prst="chevron">
            <a:avLst>
              <a:gd name="adj" fmla="val 38214"/>
            </a:avLst>
          </a:prstGeom>
          <a:solidFill>
            <a:schemeClr val="bg1">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a:latin typeface="+mj-lt"/>
              </a:rPr>
              <a:t>Distribución</a:t>
            </a:r>
          </a:p>
        </p:txBody>
      </p:sp>
      <p:sp>
        <p:nvSpPr>
          <p:cNvPr id="38" name="Chevron 37"/>
          <p:cNvSpPr/>
          <p:nvPr/>
        </p:nvSpPr>
        <p:spPr>
          <a:xfrm>
            <a:off x="6446132" y="1321872"/>
            <a:ext cx="2207372" cy="784404"/>
          </a:xfrm>
          <a:prstGeom prst="chevron">
            <a:avLst>
              <a:gd name="adj" fmla="val 38214"/>
            </a:avLst>
          </a:prstGeom>
          <a:solidFill>
            <a:schemeClr val="accent4">
              <a:lumMod val="50000"/>
            </a:schemeClr>
          </a:solidFill>
          <a:ln w="12700"/>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s-ES_tradnl" sz="1400" dirty="0">
                <a:latin typeface="+mj-lt"/>
              </a:rPr>
              <a:t>Comercialización</a:t>
            </a:r>
          </a:p>
        </p:txBody>
      </p:sp>
      <p:sp>
        <p:nvSpPr>
          <p:cNvPr id="41" name="Text Box 15"/>
          <p:cNvSpPr txBox="1">
            <a:spLocks noChangeArrowheads="1"/>
          </p:cNvSpPr>
          <p:nvPr/>
        </p:nvSpPr>
        <p:spPr bwMode="gray">
          <a:xfrm>
            <a:off x="615685" y="2405587"/>
            <a:ext cx="1945879" cy="2186364"/>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oAutofit/>
          </a:bodyPr>
          <a:lstStyle/>
          <a:p>
            <a:pPr algn="ctr">
              <a:spcBef>
                <a:spcPct val="50000"/>
              </a:spcBef>
            </a:pPr>
            <a:r>
              <a:rPr lang="es-ES_tradnl" sz="1200" b="1" dirty="0" smtClean="0">
                <a:solidFill>
                  <a:schemeClr val="accent1"/>
                </a:solidFill>
                <a:latin typeface="+mj-lt"/>
              </a:rPr>
              <a:t>ACTIVIDAD </a:t>
            </a:r>
            <a:r>
              <a:rPr lang="es-ES_tradnl" sz="1200" b="1" dirty="0">
                <a:solidFill>
                  <a:schemeClr val="accent1"/>
                </a:solidFill>
                <a:latin typeface="+mj-lt"/>
              </a:rPr>
              <a:t>LIBERALIZADA</a:t>
            </a:r>
          </a:p>
          <a:p>
            <a:pPr marL="171450" indent="-171450">
              <a:spcBef>
                <a:spcPct val="50000"/>
              </a:spcBef>
              <a:buSzPct val="100000"/>
              <a:buFont typeface="Arial" pitchFamily="34" charset="0"/>
              <a:buChar char="•"/>
            </a:pPr>
            <a:r>
              <a:rPr lang="es-ES_tradnl" sz="1100" dirty="0">
                <a:solidFill>
                  <a:schemeClr val="accent1"/>
                </a:solidFill>
              </a:rPr>
              <a:t>Intensamente competitiva</a:t>
            </a:r>
          </a:p>
          <a:p>
            <a:pPr marL="171450" indent="-171450">
              <a:spcBef>
                <a:spcPct val="50000"/>
              </a:spcBef>
              <a:buSzPct val="100000"/>
              <a:buFont typeface="Arial" pitchFamily="34" charset="0"/>
              <a:buChar char="•"/>
            </a:pPr>
            <a:r>
              <a:rPr lang="es-ES_tradnl" sz="1100" dirty="0">
                <a:solidFill>
                  <a:schemeClr val="accent1"/>
                </a:solidFill>
              </a:rPr>
              <a:t>Mercado Mayorista</a:t>
            </a:r>
          </a:p>
          <a:p>
            <a:pPr marL="171450" indent="-171450">
              <a:spcBef>
                <a:spcPct val="50000"/>
              </a:spcBef>
              <a:buSzPct val="100000"/>
              <a:buFont typeface="Arial" pitchFamily="34" charset="0"/>
              <a:buChar char="•"/>
            </a:pPr>
            <a:r>
              <a:rPr lang="es-ES_tradnl" sz="1100" dirty="0">
                <a:solidFill>
                  <a:schemeClr val="accent1"/>
                </a:solidFill>
              </a:rPr>
              <a:t>Competencia basada en costes</a:t>
            </a:r>
          </a:p>
          <a:p>
            <a:pPr marL="171450" indent="-171450">
              <a:spcBef>
                <a:spcPct val="50000"/>
              </a:spcBef>
              <a:buSzPct val="100000"/>
              <a:buFont typeface="Arial" pitchFamily="34" charset="0"/>
              <a:buChar char="•"/>
            </a:pPr>
            <a:r>
              <a:rPr lang="es-ES_tradnl" sz="1100" dirty="0" err="1">
                <a:solidFill>
                  <a:schemeClr val="accent1"/>
                </a:solidFill>
              </a:rPr>
              <a:t>Mix</a:t>
            </a:r>
            <a:r>
              <a:rPr lang="es-ES_tradnl" sz="1100" dirty="0">
                <a:solidFill>
                  <a:schemeClr val="accent1"/>
                </a:solidFill>
              </a:rPr>
              <a:t> de generación </a:t>
            </a:r>
            <a:r>
              <a:rPr lang="es-ES_tradnl" sz="1100" dirty="0" smtClean="0">
                <a:solidFill>
                  <a:schemeClr val="accent1"/>
                </a:solidFill>
              </a:rPr>
              <a:t>diversificado</a:t>
            </a:r>
            <a:endParaRPr lang="es-ES_tradnl" sz="1100" dirty="0">
              <a:solidFill>
                <a:schemeClr val="accent1"/>
              </a:solidFill>
            </a:endParaRPr>
          </a:p>
        </p:txBody>
      </p:sp>
      <p:sp>
        <p:nvSpPr>
          <p:cNvPr id="42" name="Text Box 15"/>
          <p:cNvSpPr txBox="1">
            <a:spLocks noChangeArrowheads="1"/>
          </p:cNvSpPr>
          <p:nvPr/>
        </p:nvSpPr>
        <p:spPr bwMode="gray">
          <a:xfrm>
            <a:off x="3036167" y="2431386"/>
            <a:ext cx="3141234" cy="2159708"/>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oAutofit/>
          </a:bodyPr>
          <a:lstStyle>
            <a:defPPr>
              <a:defRPr lang="en-US"/>
            </a:defPPr>
            <a:lvl1pPr algn="ctr">
              <a:spcBef>
                <a:spcPct val="50000"/>
              </a:spcBef>
              <a:defRPr sz="1200" b="1"/>
            </a:lvl1pPr>
          </a:lstStyle>
          <a:p>
            <a:pPr>
              <a:spcBef>
                <a:spcPts val="1000"/>
              </a:spcBef>
            </a:pPr>
            <a:r>
              <a:rPr lang="es-ES_tradnl" dirty="0" smtClean="0">
                <a:solidFill>
                  <a:schemeClr val="accent1"/>
                </a:solidFill>
                <a:latin typeface="+mj-lt"/>
              </a:rPr>
              <a:t>ACTIVIDADES REGULADAS</a:t>
            </a:r>
          </a:p>
          <a:p>
            <a:pPr marL="171450" indent="-171450" algn="l">
              <a:spcBef>
                <a:spcPts val="600"/>
              </a:spcBef>
              <a:spcAft>
                <a:spcPts val="600"/>
              </a:spcAft>
              <a:buFont typeface="Arial" pitchFamily="34" charset="0"/>
              <a:buChar char="•"/>
            </a:pPr>
            <a:r>
              <a:rPr lang="es-ES_tradnl" sz="1100" b="0" dirty="0">
                <a:solidFill>
                  <a:schemeClr val="accent1"/>
                </a:solidFill>
              </a:rPr>
              <a:t>Monopolio natural debido a los elevados costes fijos </a:t>
            </a:r>
          </a:p>
          <a:p>
            <a:pPr marL="171450" indent="-171450" algn="l">
              <a:spcBef>
                <a:spcPts val="600"/>
              </a:spcBef>
              <a:spcAft>
                <a:spcPts val="600"/>
              </a:spcAft>
              <a:buFont typeface="Arial" pitchFamily="34" charset="0"/>
              <a:buChar char="•"/>
            </a:pPr>
            <a:r>
              <a:rPr lang="es-ES_tradnl" sz="1100" b="0" dirty="0">
                <a:solidFill>
                  <a:schemeClr val="accent1"/>
                </a:solidFill>
              </a:rPr>
              <a:t>Necesidad de expandir la red de manera continua para adecuarse al aumento de demanda</a:t>
            </a:r>
          </a:p>
          <a:p>
            <a:pPr marL="171450" indent="-171450" algn="l">
              <a:spcBef>
                <a:spcPts val="600"/>
              </a:spcBef>
              <a:spcAft>
                <a:spcPts val="600"/>
              </a:spcAft>
              <a:buFont typeface="Arial" pitchFamily="34" charset="0"/>
              <a:buChar char="•"/>
            </a:pPr>
            <a:r>
              <a:rPr lang="es-ES_tradnl" sz="1100" b="0" dirty="0">
                <a:solidFill>
                  <a:schemeClr val="accent1"/>
                </a:solidFill>
              </a:rPr>
              <a:t>Clientes cautivos</a:t>
            </a:r>
          </a:p>
          <a:p>
            <a:pPr marL="171450" indent="-171450" algn="l">
              <a:spcBef>
                <a:spcPts val="600"/>
              </a:spcBef>
              <a:spcAft>
                <a:spcPts val="600"/>
              </a:spcAft>
              <a:buFont typeface="Arial" pitchFamily="34" charset="0"/>
              <a:buChar char="•"/>
            </a:pPr>
            <a:r>
              <a:rPr lang="es-ES_tradnl" sz="1100" b="0" dirty="0">
                <a:solidFill>
                  <a:schemeClr val="accent1"/>
                </a:solidFill>
              </a:rPr>
              <a:t>Eficiencia en costes crítica</a:t>
            </a:r>
          </a:p>
        </p:txBody>
      </p:sp>
      <p:sp>
        <p:nvSpPr>
          <p:cNvPr id="43" name="Text Box 15"/>
          <p:cNvSpPr txBox="1">
            <a:spLocks noChangeArrowheads="1"/>
          </p:cNvSpPr>
          <p:nvPr/>
        </p:nvSpPr>
        <p:spPr bwMode="gray">
          <a:xfrm>
            <a:off x="6682656" y="2442240"/>
            <a:ext cx="1945879" cy="214971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oAutofit/>
          </a:bodyPr>
          <a:lstStyle/>
          <a:p>
            <a:pPr algn="ctr">
              <a:spcBef>
                <a:spcPts val="1200"/>
              </a:spcBef>
            </a:pPr>
            <a:r>
              <a:rPr lang="es-ES_tradnl" sz="1200" b="1" dirty="0" smtClean="0">
                <a:solidFill>
                  <a:schemeClr val="accent1"/>
                </a:solidFill>
                <a:latin typeface="+mj-lt"/>
              </a:rPr>
              <a:t>ACTIVIDAD LIBERALIZADA</a:t>
            </a:r>
            <a:endParaRPr lang="es-ES_tradnl" sz="1200" b="1" dirty="0">
              <a:solidFill>
                <a:schemeClr val="accent1"/>
              </a:solidFill>
              <a:latin typeface="+mj-lt"/>
            </a:endParaRPr>
          </a:p>
          <a:p>
            <a:pPr marL="171450" indent="-171450">
              <a:spcBef>
                <a:spcPts val="1200"/>
              </a:spcBef>
              <a:buFont typeface="Arial" pitchFamily="34" charset="0"/>
              <a:buChar char="•"/>
            </a:pPr>
            <a:r>
              <a:rPr lang="es-ES_tradnl" sz="1100" dirty="0">
                <a:solidFill>
                  <a:schemeClr val="accent1"/>
                </a:solidFill>
              </a:rPr>
              <a:t>Actividad competitiva</a:t>
            </a:r>
          </a:p>
          <a:p>
            <a:pPr marL="171450" indent="-171450">
              <a:spcBef>
                <a:spcPts val="1200"/>
              </a:spcBef>
              <a:buFont typeface="Arial" pitchFamily="34" charset="0"/>
              <a:buChar char="•"/>
            </a:pPr>
            <a:r>
              <a:rPr lang="es-ES_tradnl" sz="1100" dirty="0">
                <a:solidFill>
                  <a:schemeClr val="accent1"/>
                </a:solidFill>
              </a:rPr>
              <a:t>Mercado Minorista y Mayorista</a:t>
            </a:r>
          </a:p>
          <a:p>
            <a:pPr marL="171450" indent="-171450">
              <a:spcBef>
                <a:spcPts val="1200"/>
              </a:spcBef>
              <a:buFont typeface="Arial" pitchFamily="34" charset="0"/>
              <a:buChar char="•"/>
            </a:pPr>
            <a:r>
              <a:rPr lang="es-ES_tradnl" sz="1100" dirty="0">
                <a:solidFill>
                  <a:schemeClr val="accent1"/>
                </a:solidFill>
              </a:rPr>
              <a:t>Protección a consumidores vulnerables</a:t>
            </a:r>
          </a:p>
        </p:txBody>
      </p:sp>
      <p:sp>
        <p:nvSpPr>
          <p:cNvPr id="55" name="Text Box 15"/>
          <p:cNvSpPr txBox="1">
            <a:spLocks noChangeArrowheads="1"/>
          </p:cNvSpPr>
          <p:nvPr/>
        </p:nvSpPr>
        <p:spPr bwMode="gray">
          <a:xfrm>
            <a:off x="506620" y="5994400"/>
            <a:ext cx="8165810" cy="370888"/>
          </a:xfrm>
          <a:prstGeom prst="roundRect">
            <a:avLst>
              <a:gd name="adj" fmla="val 10832"/>
            </a:avLst>
          </a:prstGeom>
          <a:noFill/>
          <a:ln w="12700">
            <a:noFill/>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600" dirty="0" smtClean="0">
                <a:solidFill>
                  <a:schemeClr val="bg1"/>
                </a:solidFill>
                <a:latin typeface="+mj-lt"/>
              </a:rPr>
              <a:t>MERCADO MAYORISTA DE COMPRA-VENTA DE ENERGÍA</a:t>
            </a:r>
            <a:endParaRPr lang="es-ES_tradnl" sz="1600" dirty="0">
              <a:solidFill>
                <a:schemeClr val="bg1"/>
              </a:solidFill>
              <a:latin typeface="+mj-lt"/>
            </a:endParaRPr>
          </a:p>
        </p:txBody>
      </p:sp>
      <p:sp>
        <p:nvSpPr>
          <p:cNvPr id="48" name="Rectangle 47"/>
          <p:cNvSpPr/>
          <p:nvPr/>
        </p:nvSpPr>
        <p:spPr>
          <a:xfrm>
            <a:off x="2896442" y="5010535"/>
            <a:ext cx="3506534" cy="759279"/>
          </a:xfrm>
          <a:prstGeom prst="rect">
            <a:avLst/>
          </a:prstGeom>
          <a:solidFill>
            <a:schemeClr val="bg1">
              <a:lumMod val="75000"/>
            </a:schemeClr>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50" name="Text Box 15"/>
          <p:cNvSpPr txBox="1">
            <a:spLocks noChangeArrowheads="1"/>
          </p:cNvSpPr>
          <p:nvPr/>
        </p:nvSpPr>
        <p:spPr bwMode="gray">
          <a:xfrm>
            <a:off x="3046589" y="5158160"/>
            <a:ext cx="3141234" cy="494351"/>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0" tIns="36000" rIns="36000" bIns="0" anchor="ctr">
            <a:noAutofit/>
          </a:bodyPr>
          <a:lstStyle>
            <a:defPPr>
              <a:defRPr lang="en-US"/>
            </a:defPPr>
            <a:lvl1pPr algn="ctr">
              <a:spcBef>
                <a:spcPct val="50000"/>
              </a:spcBef>
              <a:defRPr sz="1200" b="1"/>
            </a:lvl1pPr>
          </a:lstStyle>
          <a:p>
            <a:pPr>
              <a:spcBef>
                <a:spcPts val="1000"/>
              </a:spcBef>
            </a:pPr>
            <a:r>
              <a:rPr lang="es-ES_tradnl" sz="1400" dirty="0" smtClean="0">
                <a:solidFill>
                  <a:schemeClr val="accent1"/>
                </a:solidFill>
                <a:latin typeface="+mj-lt"/>
              </a:rPr>
              <a:t>MODELO RETRIBUTIVO FIJADO POR LA REGULACIÓN</a:t>
            </a:r>
            <a:endParaRPr lang="es-ES_tradnl" sz="1400" dirty="0">
              <a:solidFill>
                <a:schemeClr val="accent1"/>
              </a:solidFill>
              <a:latin typeface="+mj-lt"/>
            </a:endParaRPr>
          </a:p>
        </p:txBody>
      </p:sp>
      <p:sp>
        <p:nvSpPr>
          <p:cNvPr id="22" name="Title 1"/>
          <p:cNvSpPr>
            <a:spLocks noGrp="1"/>
          </p:cNvSpPr>
          <p:nvPr>
            <p:ph type="title"/>
          </p:nvPr>
        </p:nvSpPr>
        <p:spPr>
          <a:xfrm>
            <a:off x="447330" y="113919"/>
            <a:ext cx="8229600" cy="783654"/>
          </a:xfrm>
        </p:spPr>
        <p:txBody>
          <a:bodyPr/>
          <a:lstStyle/>
          <a:p>
            <a:r>
              <a:rPr lang="es-ES_tradnl" dirty="0" smtClean="0"/>
              <a:t>Remuneración Actividades Liberalizadas</a:t>
            </a:r>
            <a:br>
              <a:rPr lang="es-ES_tradnl" dirty="0" smtClean="0"/>
            </a:br>
            <a:r>
              <a:rPr lang="es-ES_tradnl" b="1" dirty="0" smtClean="0"/>
              <a:t>Mercado Mayorista de compra – venta de energía</a:t>
            </a:r>
            <a:endParaRPr lang="es-ES_tradnl" b="1" dirty="0"/>
          </a:p>
        </p:txBody>
      </p:sp>
    </p:spTree>
    <p:extLst>
      <p:ext uri="{BB962C8B-B14F-4D97-AF65-F5344CB8AC3E}">
        <p14:creationId xmlns:p14="http://schemas.microsoft.com/office/powerpoint/2010/main" val="3759244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smtClean="0"/>
              <a:t>Mercado Mayorista de compra – venta de energía</a:t>
            </a:r>
            <a:br>
              <a:rPr lang="es-ES_tradnl" dirty="0" smtClean="0"/>
            </a:br>
            <a:r>
              <a:rPr lang="es-ES_tradnl" b="1" dirty="0" smtClean="0"/>
              <a:t>Agentes del mercado</a:t>
            </a:r>
            <a:endParaRPr lang="es-ES_tradnl" b="1" dirty="0"/>
          </a:p>
        </p:txBody>
      </p:sp>
      <p:sp>
        <p:nvSpPr>
          <p:cNvPr id="5" name="Slide Number Placeholder 4"/>
          <p:cNvSpPr>
            <a:spLocks noGrp="1"/>
          </p:cNvSpPr>
          <p:nvPr>
            <p:ph type="sldNum" sz="quarter" idx="4"/>
          </p:nvPr>
        </p:nvSpPr>
        <p:spPr/>
        <p:txBody>
          <a:bodyPr/>
          <a:lstStyle/>
          <a:p>
            <a:pPr>
              <a:defRPr/>
            </a:pPr>
            <a:fld id="{90CBDC3A-D49F-4631-A8C7-55D59B33E5FA}" type="slidenum">
              <a:rPr lang="en-US" smtClean="0"/>
              <a:pPr>
                <a:defRPr/>
              </a:pPr>
              <a:t>8</a:t>
            </a:fld>
            <a:endParaRPr lang="en-US" dirty="0"/>
          </a:p>
        </p:txBody>
      </p:sp>
      <p:sp>
        <p:nvSpPr>
          <p:cNvPr id="18" name="Rectangle 17"/>
          <p:cNvSpPr/>
          <p:nvPr/>
        </p:nvSpPr>
        <p:spPr>
          <a:xfrm>
            <a:off x="791806" y="5617760"/>
            <a:ext cx="7572858" cy="922739"/>
          </a:xfrm>
          <a:prstGeom prst="rect">
            <a:avLst/>
          </a:prstGeom>
          <a:noFill/>
          <a:ln w="28575">
            <a:solidFill>
              <a:schemeClr val="accent4">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s-ES_tradnl" b="1" dirty="0">
                <a:solidFill>
                  <a:schemeClr val="accent5">
                    <a:lumMod val="90000"/>
                    <a:lumOff val="10000"/>
                  </a:schemeClr>
                </a:solidFill>
              </a:rPr>
              <a:t>OFERTAS DE ADQUISICIÓN DE ENERGÍA</a:t>
            </a:r>
          </a:p>
        </p:txBody>
      </p:sp>
      <p:sp>
        <p:nvSpPr>
          <p:cNvPr id="21" name="Rectangle 20"/>
          <p:cNvSpPr/>
          <p:nvPr/>
        </p:nvSpPr>
        <p:spPr>
          <a:xfrm>
            <a:off x="791806" y="1168920"/>
            <a:ext cx="7572858" cy="833663"/>
          </a:xfrm>
          <a:prstGeom prst="rect">
            <a:avLst/>
          </a:prstGeom>
          <a:noFill/>
          <a:ln w="28575">
            <a:solidFill>
              <a:schemeClr val="accent4">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s-ES_tradnl" b="1" dirty="0">
                <a:solidFill>
                  <a:schemeClr val="accent5">
                    <a:lumMod val="90000"/>
                    <a:lumOff val="10000"/>
                  </a:schemeClr>
                </a:solidFill>
              </a:rPr>
              <a:t>OFERTAS DE VENTA DE ENERGÍA</a:t>
            </a:r>
          </a:p>
          <a:p>
            <a:pPr algn="ctr"/>
            <a:endParaRPr lang="es-ES_tradnl" b="1" dirty="0">
              <a:solidFill>
                <a:schemeClr val="accent5">
                  <a:lumMod val="90000"/>
                  <a:lumOff val="10000"/>
                </a:schemeClr>
              </a:solidFill>
              <a:latin typeface="+mj-lt"/>
            </a:endParaRPr>
          </a:p>
        </p:txBody>
      </p:sp>
      <p:sp>
        <p:nvSpPr>
          <p:cNvPr id="23" name="Rectangle 22"/>
          <p:cNvSpPr/>
          <p:nvPr/>
        </p:nvSpPr>
        <p:spPr>
          <a:xfrm>
            <a:off x="884570" y="2340981"/>
            <a:ext cx="7400260" cy="1587372"/>
          </a:xfrm>
          <a:prstGeom prst="rect">
            <a:avLst/>
          </a:prstGeom>
          <a:solidFill>
            <a:srgbClr val="B0D1EA"/>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ES_tradnl">
              <a:solidFill>
                <a:schemeClr val="tx1"/>
              </a:solidFill>
              <a:latin typeface="+mj-lt"/>
            </a:endParaRPr>
          </a:p>
        </p:txBody>
      </p:sp>
      <p:sp>
        <p:nvSpPr>
          <p:cNvPr id="24" name="Text Box 15"/>
          <p:cNvSpPr txBox="1">
            <a:spLocks noChangeArrowheads="1"/>
          </p:cNvSpPr>
          <p:nvPr/>
        </p:nvSpPr>
        <p:spPr bwMode="gray">
          <a:xfrm>
            <a:off x="1747807" y="2527090"/>
            <a:ext cx="5676952" cy="373360"/>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36000" tIns="36000" rIns="36000" bIns="0" anchor="ctr">
            <a:noAutofit/>
          </a:bodyPr>
          <a:lstStyle>
            <a:defPPr>
              <a:defRPr lang="en-US"/>
            </a:defPPr>
            <a:lvl1pPr algn="ctr">
              <a:spcBef>
                <a:spcPct val="50000"/>
              </a:spcBef>
              <a:defRPr sz="1200" b="1"/>
            </a:lvl1pPr>
          </a:lstStyle>
          <a:p>
            <a:pPr>
              <a:spcBef>
                <a:spcPts val="1000"/>
              </a:spcBef>
            </a:pPr>
            <a:r>
              <a:rPr lang="es-ES_tradnl" dirty="0" smtClean="0">
                <a:solidFill>
                  <a:schemeClr val="accent1"/>
                </a:solidFill>
                <a:latin typeface="+mj-lt"/>
              </a:rPr>
              <a:t>MERCADO DE PRODUCCIÓN</a:t>
            </a:r>
          </a:p>
        </p:txBody>
      </p:sp>
      <p:sp>
        <p:nvSpPr>
          <p:cNvPr id="25" name="Text Box 15"/>
          <p:cNvSpPr txBox="1">
            <a:spLocks noChangeArrowheads="1"/>
          </p:cNvSpPr>
          <p:nvPr/>
        </p:nvSpPr>
        <p:spPr bwMode="gray">
          <a:xfrm>
            <a:off x="1382440" y="3029610"/>
            <a:ext cx="1989737" cy="727574"/>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36000" tIns="36000" rIns="36000" bIns="0" anchor="ctr">
            <a:noAutofit/>
          </a:bodyPr>
          <a:lstStyle>
            <a:defPPr>
              <a:defRPr lang="en-US"/>
            </a:defPPr>
            <a:lvl1pPr algn="ctr">
              <a:spcBef>
                <a:spcPct val="50000"/>
              </a:spcBef>
              <a:defRPr sz="1200" b="1"/>
            </a:lvl1pPr>
          </a:lstStyle>
          <a:p>
            <a:pPr>
              <a:spcBef>
                <a:spcPts val="1000"/>
              </a:spcBef>
            </a:pPr>
            <a:r>
              <a:rPr lang="es-ES_tradnl" dirty="0" smtClean="0">
                <a:solidFill>
                  <a:schemeClr val="accent1"/>
                </a:solidFill>
                <a:latin typeface="+mj-lt"/>
              </a:rPr>
              <a:t>Mercado diario</a:t>
            </a:r>
          </a:p>
          <a:p>
            <a:pPr>
              <a:spcBef>
                <a:spcPts val="1000"/>
              </a:spcBef>
            </a:pPr>
            <a:r>
              <a:rPr lang="es-ES_tradnl" sz="1100" b="0" dirty="0" smtClean="0">
                <a:solidFill>
                  <a:schemeClr val="accent1"/>
                </a:solidFill>
                <a:latin typeface="+mj-lt"/>
              </a:rPr>
              <a:t>Suministro ofertado al día siguiente</a:t>
            </a:r>
          </a:p>
        </p:txBody>
      </p:sp>
      <p:sp>
        <p:nvSpPr>
          <p:cNvPr id="28" name="Text Box 15"/>
          <p:cNvSpPr txBox="1">
            <a:spLocks noChangeArrowheads="1"/>
          </p:cNvSpPr>
          <p:nvPr/>
        </p:nvSpPr>
        <p:spPr bwMode="gray">
          <a:xfrm>
            <a:off x="3582556" y="3029610"/>
            <a:ext cx="1989737" cy="727574"/>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36000" tIns="36000" rIns="36000" bIns="0" anchor="ctr">
            <a:noAutofit/>
          </a:bodyPr>
          <a:lstStyle>
            <a:defPPr>
              <a:defRPr lang="en-US"/>
            </a:defPPr>
            <a:lvl1pPr algn="ctr">
              <a:spcBef>
                <a:spcPct val="50000"/>
              </a:spcBef>
              <a:defRPr sz="1200" b="1"/>
            </a:lvl1pPr>
          </a:lstStyle>
          <a:p>
            <a:pPr>
              <a:spcBef>
                <a:spcPts val="1000"/>
              </a:spcBef>
            </a:pPr>
            <a:r>
              <a:rPr lang="es-ES_tradnl" dirty="0" smtClean="0">
                <a:solidFill>
                  <a:schemeClr val="accent1"/>
                </a:solidFill>
                <a:latin typeface="+mj-lt"/>
              </a:rPr>
              <a:t>Mercado </a:t>
            </a:r>
            <a:r>
              <a:rPr lang="es-ES_tradnl" dirty="0" err="1" smtClean="0">
                <a:solidFill>
                  <a:schemeClr val="accent1"/>
                </a:solidFill>
                <a:latin typeface="+mj-lt"/>
              </a:rPr>
              <a:t>Intra</a:t>
            </a:r>
            <a:r>
              <a:rPr lang="es-ES_tradnl" dirty="0" smtClean="0">
                <a:solidFill>
                  <a:schemeClr val="accent1"/>
                </a:solidFill>
                <a:latin typeface="+mj-lt"/>
              </a:rPr>
              <a:t>-diario</a:t>
            </a:r>
          </a:p>
          <a:p>
            <a:pPr>
              <a:spcBef>
                <a:spcPts val="1000"/>
              </a:spcBef>
            </a:pPr>
            <a:r>
              <a:rPr lang="es-ES_tradnl" sz="1100" b="0" dirty="0" smtClean="0">
                <a:solidFill>
                  <a:schemeClr val="accent1"/>
                </a:solidFill>
                <a:latin typeface="+mj-lt"/>
              </a:rPr>
              <a:t>Ajuste a la programación diaria</a:t>
            </a:r>
            <a:endParaRPr lang="es-ES_tradnl" b="0" dirty="0" smtClean="0">
              <a:solidFill>
                <a:schemeClr val="accent1"/>
              </a:solidFill>
              <a:latin typeface="+mj-lt"/>
            </a:endParaRPr>
          </a:p>
        </p:txBody>
      </p:sp>
      <p:sp>
        <p:nvSpPr>
          <p:cNvPr id="29" name="Text Box 15"/>
          <p:cNvSpPr txBox="1">
            <a:spLocks noChangeArrowheads="1"/>
          </p:cNvSpPr>
          <p:nvPr/>
        </p:nvSpPr>
        <p:spPr bwMode="gray">
          <a:xfrm>
            <a:off x="5798351" y="3029610"/>
            <a:ext cx="1989737" cy="727574"/>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36000" tIns="36000" rIns="36000" bIns="0" anchor="ctr">
            <a:noAutofit/>
          </a:bodyPr>
          <a:lstStyle>
            <a:defPPr>
              <a:defRPr lang="en-US"/>
            </a:defPPr>
            <a:lvl1pPr algn="ctr">
              <a:spcBef>
                <a:spcPct val="50000"/>
              </a:spcBef>
              <a:defRPr sz="1200" b="1"/>
            </a:lvl1pPr>
          </a:lstStyle>
          <a:p>
            <a:pPr>
              <a:spcBef>
                <a:spcPts val="1000"/>
              </a:spcBef>
            </a:pPr>
            <a:r>
              <a:rPr lang="es-ES_tradnl" dirty="0" smtClean="0">
                <a:solidFill>
                  <a:schemeClr val="accent1"/>
                </a:solidFill>
                <a:latin typeface="+mj-lt"/>
              </a:rPr>
              <a:t>Mercado de restricciones y  SS. CC</a:t>
            </a:r>
            <a:br>
              <a:rPr lang="es-ES_tradnl" dirty="0" smtClean="0">
                <a:solidFill>
                  <a:schemeClr val="accent1"/>
                </a:solidFill>
                <a:latin typeface="+mj-lt"/>
              </a:rPr>
            </a:br>
            <a:r>
              <a:rPr lang="es-ES_tradnl" sz="1100" b="0" dirty="0" smtClean="0">
                <a:solidFill>
                  <a:schemeClr val="accent1"/>
                </a:solidFill>
                <a:latin typeface="+mj-lt"/>
              </a:rPr>
              <a:t>Condiciones de calidad, fiabilidad</a:t>
            </a:r>
          </a:p>
        </p:txBody>
      </p:sp>
      <p:sp>
        <p:nvSpPr>
          <p:cNvPr id="3" name="Cloud 2"/>
          <p:cNvSpPr/>
          <p:nvPr/>
        </p:nvSpPr>
        <p:spPr>
          <a:xfrm>
            <a:off x="83125" y="2586465"/>
            <a:ext cx="1448792" cy="1035854"/>
          </a:xfrm>
          <a:prstGeom prst="cloud">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b="1" dirty="0" smtClean="0">
                <a:solidFill>
                  <a:schemeClr val="accent4">
                    <a:lumMod val="50000"/>
                  </a:schemeClr>
                </a:solidFill>
              </a:rPr>
              <a:t>Contratos bilaterales físicos</a:t>
            </a:r>
            <a:endParaRPr lang="es-ES_tradnl" sz="1100" b="1" dirty="0">
              <a:solidFill>
                <a:schemeClr val="accent4">
                  <a:lumMod val="50000"/>
                </a:schemeClr>
              </a:solidFill>
            </a:endParaRPr>
          </a:p>
        </p:txBody>
      </p:sp>
      <p:sp>
        <p:nvSpPr>
          <p:cNvPr id="31" name="Text Box 15"/>
          <p:cNvSpPr txBox="1">
            <a:spLocks noChangeArrowheads="1"/>
          </p:cNvSpPr>
          <p:nvPr/>
        </p:nvSpPr>
        <p:spPr bwMode="gray">
          <a:xfrm>
            <a:off x="891011" y="4449429"/>
            <a:ext cx="3230230" cy="1059688"/>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0" anchor="ctr">
            <a:noAutofit/>
          </a:bodyPr>
          <a:lstStyle>
            <a:defPPr>
              <a:defRPr lang="en-US"/>
            </a:defPPr>
            <a:lvl1pPr algn="ctr">
              <a:spcBef>
                <a:spcPct val="50000"/>
              </a:spcBef>
              <a:defRPr sz="1200" b="1"/>
            </a:lvl1pPr>
          </a:lstStyle>
          <a:p>
            <a:r>
              <a:rPr lang="es-ES_tradnl" sz="1400" dirty="0" smtClean="0">
                <a:solidFill>
                  <a:schemeClr val="tx1"/>
                </a:solidFill>
                <a:latin typeface="+mj-lt"/>
              </a:rPr>
              <a:t>OPERADOR DE MERCADO</a:t>
            </a:r>
          </a:p>
          <a:p>
            <a:pPr marL="171450" indent="-171450" algn="l">
              <a:buFont typeface="Arial" pitchFamily="34" charset="0"/>
              <a:buChar char="•"/>
            </a:pPr>
            <a:r>
              <a:rPr lang="es-ES_tradnl" sz="1400" dirty="0">
                <a:solidFill>
                  <a:schemeClr val="tx1"/>
                </a:solidFill>
                <a:latin typeface="+mj-lt"/>
              </a:rPr>
              <a:t>Casación de ofertas</a:t>
            </a:r>
          </a:p>
          <a:p>
            <a:pPr marL="171450" indent="-171450" algn="l">
              <a:buFont typeface="Arial" pitchFamily="34" charset="0"/>
              <a:buChar char="•"/>
            </a:pPr>
            <a:r>
              <a:rPr lang="es-ES_tradnl" sz="1400" dirty="0">
                <a:solidFill>
                  <a:schemeClr val="tx1"/>
                </a:solidFill>
                <a:latin typeface="+mj-lt"/>
              </a:rPr>
              <a:t>Operaciones de </a:t>
            </a:r>
            <a:r>
              <a:rPr lang="es-ES_tradnl" sz="1400" dirty="0" smtClean="0">
                <a:solidFill>
                  <a:schemeClr val="tx1"/>
                </a:solidFill>
                <a:latin typeface="+mj-lt"/>
              </a:rPr>
              <a:t>liquidación</a:t>
            </a:r>
            <a:endParaRPr lang="es-ES_tradnl" sz="1400" dirty="0">
              <a:solidFill>
                <a:schemeClr val="tx1"/>
              </a:solidFill>
              <a:latin typeface="+mj-lt"/>
            </a:endParaRPr>
          </a:p>
        </p:txBody>
      </p:sp>
      <p:sp>
        <p:nvSpPr>
          <p:cNvPr id="33" name="Text Box 15"/>
          <p:cNvSpPr txBox="1">
            <a:spLocks noChangeArrowheads="1"/>
          </p:cNvSpPr>
          <p:nvPr/>
        </p:nvSpPr>
        <p:spPr bwMode="gray">
          <a:xfrm>
            <a:off x="5054600" y="4449429"/>
            <a:ext cx="3230230" cy="1059688"/>
          </a:xfrm>
          <a:prstGeom prst="roundRect">
            <a:avLst>
              <a:gd name="adj" fmla="val 10832"/>
            </a:avLst>
          </a:prstGeom>
          <a:ln w="12700">
            <a:headEnd/>
            <a:tailEnd/>
          </a:ln>
        </p:spPr>
        <p:style>
          <a:lnRef idx="2">
            <a:schemeClr val="accent1"/>
          </a:lnRef>
          <a:fillRef idx="1">
            <a:schemeClr val="lt1"/>
          </a:fillRef>
          <a:effectRef idx="0">
            <a:schemeClr val="accent1"/>
          </a:effectRef>
          <a:fontRef idx="minor">
            <a:schemeClr val="dk1"/>
          </a:fontRef>
        </p:style>
        <p:txBody>
          <a:bodyPr wrap="square" lIns="72000" tIns="36000" rIns="36000" bIns="36000" anchor="ctr">
            <a:noAutofit/>
          </a:bodyPr>
          <a:lstStyle>
            <a:defPPr>
              <a:defRPr lang="en-US"/>
            </a:defPPr>
            <a:lvl1pPr algn="ctr">
              <a:spcBef>
                <a:spcPct val="50000"/>
              </a:spcBef>
              <a:defRPr sz="1200" b="1"/>
            </a:lvl1pPr>
          </a:lstStyle>
          <a:p>
            <a:r>
              <a:rPr lang="es-ES_tradnl" sz="1400" dirty="0" smtClean="0">
                <a:solidFill>
                  <a:schemeClr val="tx1"/>
                </a:solidFill>
                <a:latin typeface="+mj-lt"/>
              </a:rPr>
              <a:t>OPERADOR DEL SISTEMA</a:t>
            </a:r>
          </a:p>
          <a:p>
            <a:pPr marL="171450" indent="-171450" algn="l">
              <a:buFont typeface="Arial" pitchFamily="34" charset="0"/>
              <a:buChar char="•"/>
            </a:pPr>
            <a:r>
              <a:rPr lang="es-ES_tradnl" sz="1400" dirty="0" smtClean="0">
                <a:solidFill>
                  <a:schemeClr val="tx1"/>
                </a:solidFill>
                <a:latin typeface="+mj-lt"/>
              </a:rPr>
              <a:t>Viabilidad técnica de la casación</a:t>
            </a:r>
            <a:endParaRPr lang="es-ES_tradnl" sz="1400" dirty="0">
              <a:solidFill>
                <a:schemeClr val="tx1"/>
              </a:solidFill>
              <a:latin typeface="+mj-lt"/>
            </a:endParaRPr>
          </a:p>
          <a:p>
            <a:pPr marL="171450" indent="-171450" algn="l">
              <a:buFont typeface="Arial" pitchFamily="34" charset="0"/>
              <a:buChar char="•"/>
            </a:pPr>
            <a:r>
              <a:rPr lang="es-ES_tradnl" sz="1400" dirty="0" smtClean="0">
                <a:solidFill>
                  <a:schemeClr val="tx1"/>
                </a:solidFill>
                <a:latin typeface="+mj-lt"/>
              </a:rPr>
              <a:t>Gestión de los SS. CC.</a:t>
            </a:r>
            <a:endParaRPr lang="es-ES_tradnl" sz="1400" dirty="0">
              <a:solidFill>
                <a:schemeClr val="tx1"/>
              </a:solidFill>
              <a:latin typeface="+mj-lt"/>
            </a:endParaRPr>
          </a:p>
        </p:txBody>
      </p:sp>
      <p:cxnSp>
        <p:nvCxnSpPr>
          <p:cNvPr id="34" name="Straight Arrow Connector 33"/>
          <p:cNvCxnSpPr>
            <a:stCxn id="21" idx="2"/>
            <a:endCxn id="23" idx="0"/>
          </p:cNvCxnSpPr>
          <p:nvPr/>
        </p:nvCxnSpPr>
        <p:spPr>
          <a:xfrm>
            <a:off x="4578235" y="2002583"/>
            <a:ext cx="6465" cy="33839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68" name="Straight Arrow Connector 7167"/>
          <p:cNvCxnSpPr>
            <a:stCxn id="18" idx="0"/>
            <a:endCxn id="23" idx="2"/>
          </p:cNvCxnSpPr>
          <p:nvPr/>
        </p:nvCxnSpPr>
        <p:spPr>
          <a:xfrm flipV="1">
            <a:off x="4578235" y="3928353"/>
            <a:ext cx="6465" cy="168940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0" name="Text Box 15"/>
          <p:cNvSpPr txBox="1">
            <a:spLocks noChangeArrowheads="1"/>
          </p:cNvSpPr>
          <p:nvPr/>
        </p:nvSpPr>
        <p:spPr bwMode="gray">
          <a:xfrm>
            <a:off x="1209810" y="1550806"/>
            <a:ext cx="2619565" cy="350177"/>
          </a:xfrm>
          <a:prstGeom prst="roundRect">
            <a:avLst>
              <a:gd name="adj" fmla="val 10832"/>
            </a:avLst>
          </a:prstGeom>
          <a:solidFill>
            <a:schemeClr val="accent4">
              <a:lumMod val="50000"/>
            </a:schemeClr>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_tradnl" sz="1400" dirty="0"/>
              <a:t>Productores</a:t>
            </a:r>
          </a:p>
        </p:txBody>
      </p:sp>
      <p:sp>
        <p:nvSpPr>
          <p:cNvPr id="26" name="Text Box 15"/>
          <p:cNvSpPr txBox="1">
            <a:spLocks noChangeArrowheads="1"/>
          </p:cNvSpPr>
          <p:nvPr/>
        </p:nvSpPr>
        <p:spPr bwMode="gray">
          <a:xfrm>
            <a:off x="5315751" y="1576206"/>
            <a:ext cx="2619565" cy="350177"/>
          </a:xfrm>
          <a:prstGeom prst="roundRect">
            <a:avLst>
              <a:gd name="adj" fmla="val 10832"/>
            </a:avLst>
          </a:prstGeom>
          <a:solidFill>
            <a:schemeClr val="accent4">
              <a:lumMod val="50000"/>
            </a:schemeClr>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_tradnl" sz="1400" dirty="0"/>
              <a:t>Agentes externos</a:t>
            </a:r>
          </a:p>
        </p:txBody>
      </p:sp>
      <p:sp>
        <p:nvSpPr>
          <p:cNvPr id="27" name="Text Box 15"/>
          <p:cNvSpPr txBox="1">
            <a:spLocks noChangeArrowheads="1"/>
          </p:cNvSpPr>
          <p:nvPr/>
        </p:nvSpPr>
        <p:spPr bwMode="gray">
          <a:xfrm>
            <a:off x="968511" y="6074541"/>
            <a:ext cx="2244590" cy="350177"/>
          </a:xfrm>
          <a:prstGeom prst="roundRect">
            <a:avLst>
              <a:gd name="adj" fmla="val 10832"/>
            </a:avLst>
          </a:prstGeom>
          <a:solidFill>
            <a:schemeClr val="accent4">
              <a:lumMod val="50000"/>
            </a:schemeClr>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_tradnl" sz="1400" dirty="0"/>
              <a:t>Comercializadores</a:t>
            </a:r>
          </a:p>
        </p:txBody>
      </p:sp>
      <p:sp>
        <p:nvSpPr>
          <p:cNvPr id="35" name="Text Box 15"/>
          <p:cNvSpPr txBox="1">
            <a:spLocks noChangeArrowheads="1"/>
          </p:cNvSpPr>
          <p:nvPr/>
        </p:nvSpPr>
        <p:spPr bwMode="gray">
          <a:xfrm>
            <a:off x="3504375" y="6074541"/>
            <a:ext cx="2244590" cy="350177"/>
          </a:xfrm>
          <a:prstGeom prst="roundRect">
            <a:avLst>
              <a:gd name="adj" fmla="val 10832"/>
            </a:avLst>
          </a:prstGeom>
          <a:solidFill>
            <a:schemeClr val="accent4">
              <a:lumMod val="50000"/>
            </a:schemeClr>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_tradnl" sz="1400" dirty="0"/>
              <a:t>C. Cualificados</a:t>
            </a:r>
          </a:p>
        </p:txBody>
      </p:sp>
      <p:sp>
        <p:nvSpPr>
          <p:cNvPr id="36" name="Text Box 15"/>
          <p:cNvSpPr txBox="1">
            <a:spLocks noChangeArrowheads="1"/>
          </p:cNvSpPr>
          <p:nvPr/>
        </p:nvSpPr>
        <p:spPr bwMode="gray">
          <a:xfrm>
            <a:off x="6040240" y="6074541"/>
            <a:ext cx="2244590" cy="350177"/>
          </a:xfrm>
          <a:prstGeom prst="roundRect">
            <a:avLst>
              <a:gd name="adj" fmla="val 10832"/>
            </a:avLst>
          </a:prstGeom>
          <a:solidFill>
            <a:schemeClr val="accent4">
              <a:lumMod val="50000"/>
            </a:schemeClr>
          </a:solidFill>
          <a:ln w="12700">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_tradnl" sz="1400" dirty="0"/>
              <a:t>Comercializadores </a:t>
            </a:r>
            <a:r>
              <a:rPr lang="es-ES_tradnl" sz="1400" dirty="0" smtClean="0"/>
              <a:t>U.R</a:t>
            </a:r>
            <a:endParaRPr lang="es-ES_tradnl" sz="1400" dirty="0"/>
          </a:p>
        </p:txBody>
      </p:sp>
      <p:pic>
        <p:nvPicPr>
          <p:cNvPr id="41" name="Picture 2" descr="http://globedia.com/imagenes/noticias/2011/3/2/coche-electrico-mejor-2020_1_60959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72222" y="4034382"/>
            <a:ext cx="1153987" cy="34837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http://www.omie.es/files/framework_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636" y="4034381"/>
            <a:ext cx="1038290" cy="348374"/>
          </a:xfrm>
          <a:prstGeom prst="rect">
            <a:avLst/>
          </a:prstGeom>
          <a:noFill/>
        </p:spPr>
      </p:pic>
      <p:sp>
        <p:nvSpPr>
          <p:cNvPr id="11" name="Up Arrow 10"/>
          <p:cNvSpPr/>
          <p:nvPr/>
        </p:nvSpPr>
        <p:spPr>
          <a:xfrm>
            <a:off x="2377308" y="4034382"/>
            <a:ext cx="1672842" cy="355049"/>
          </a:xfrm>
          <a:prstGeom prst="upArrow">
            <a:avLst>
              <a:gd name="adj1" fmla="val 43926"/>
              <a:gd name="adj2" fmla="val 50000"/>
            </a:avLst>
          </a:prstGeom>
          <a:solidFill>
            <a:schemeClr val="accent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Up Arrow 42"/>
          <p:cNvSpPr/>
          <p:nvPr/>
        </p:nvSpPr>
        <p:spPr>
          <a:xfrm>
            <a:off x="5120377" y="4034382"/>
            <a:ext cx="1672842" cy="355049"/>
          </a:xfrm>
          <a:prstGeom prst="upArrow">
            <a:avLst>
              <a:gd name="adj1" fmla="val 43926"/>
              <a:gd name="adj2" fmla="val 50000"/>
            </a:avLst>
          </a:prstGeom>
          <a:solidFill>
            <a:schemeClr val="accent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2384502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39"/>
          <p:cNvSpPr>
            <a:spLocks noGrp="1"/>
          </p:cNvSpPr>
          <p:nvPr>
            <p:ph type="sldNum" sz="quarter" idx="4"/>
          </p:nvPr>
        </p:nvSpPr>
        <p:spPr>
          <a:prstGeom prst="roundRect">
            <a:avLst/>
          </a:prstGeom>
        </p:spPr>
        <p:txBody>
          <a:bodyPr/>
          <a:lstStyle/>
          <a:p>
            <a:pPr>
              <a:defRPr/>
            </a:pPr>
            <a:fld id="{90CBDC3A-D49F-4631-A8C7-55D59B33E5FA}" type="slidenum">
              <a:rPr lang="en-US" smtClean="0"/>
              <a:pPr>
                <a:defRPr/>
              </a:pPr>
              <a:t>9</a:t>
            </a:fld>
            <a:endParaRPr lang="en-US" dirty="0"/>
          </a:p>
        </p:txBody>
      </p:sp>
      <p:pic>
        <p:nvPicPr>
          <p:cNvPr id="205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1241"/>
          <a:stretch/>
        </p:blipFill>
        <p:spPr bwMode="auto">
          <a:xfrm>
            <a:off x="133505" y="1925084"/>
            <a:ext cx="8954223" cy="47148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1"/>
          <p:cNvSpPr>
            <a:spLocks noGrp="1"/>
          </p:cNvSpPr>
          <p:nvPr>
            <p:ph type="title"/>
          </p:nvPr>
        </p:nvSpPr>
        <p:spPr>
          <a:xfrm>
            <a:off x="447330" y="113919"/>
            <a:ext cx="8229600" cy="783654"/>
          </a:xfrm>
        </p:spPr>
        <p:txBody>
          <a:bodyPr/>
          <a:lstStyle/>
          <a:p>
            <a:r>
              <a:rPr lang="es-ES_tradnl" dirty="0" smtClean="0"/>
              <a:t>Mercado Mayorista de compra – venta de energía</a:t>
            </a:r>
            <a:br>
              <a:rPr lang="es-ES_tradnl" dirty="0" smtClean="0"/>
            </a:br>
            <a:r>
              <a:rPr lang="es-ES_tradnl" b="1" dirty="0" smtClean="0"/>
              <a:t>Funcionamiento de los mercados</a:t>
            </a:r>
            <a:endParaRPr lang="es-ES_tradnl" b="1" dirty="0"/>
          </a:p>
        </p:txBody>
      </p:sp>
      <p:sp>
        <p:nvSpPr>
          <p:cNvPr id="3" name="TextBox 2"/>
          <p:cNvSpPr txBox="1"/>
          <p:nvPr/>
        </p:nvSpPr>
        <p:spPr>
          <a:xfrm>
            <a:off x="225082" y="1167617"/>
            <a:ext cx="8862646" cy="646331"/>
          </a:xfrm>
          <a:prstGeom prst="rect">
            <a:avLst/>
          </a:prstGeom>
          <a:noFill/>
        </p:spPr>
        <p:txBody>
          <a:bodyPr wrap="square" rtlCol="0">
            <a:spAutoFit/>
          </a:bodyPr>
          <a:lstStyle/>
          <a:p>
            <a:r>
              <a:rPr lang="es-ES" dirty="0" smtClean="0"/>
              <a:t>El mercado mayorista de electricidad es el conjunto de transacciones en el que los agentes del mercado intercambian energía para distintos plazos</a:t>
            </a:r>
            <a:endParaRPr lang="pt-PT" dirty="0"/>
          </a:p>
        </p:txBody>
      </p:sp>
    </p:spTree>
    <p:extLst>
      <p:ext uri="{BB962C8B-B14F-4D97-AF65-F5344CB8AC3E}">
        <p14:creationId xmlns:p14="http://schemas.microsoft.com/office/powerpoint/2010/main" val="7237091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q6YYzFpJUS6N03wEZVOrQ"/>
</p:tagLst>
</file>

<file path=ppt/theme/theme1.xml><?xml version="1.0" encoding="utf-8"?>
<a:theme xmlns:a="http://schemas.openxmlformats.org/drawingml/2006/main" name="11-2855 PPT Template draw bulb">
  <a:themeElements>
    <a:clrScheme name="Custom 35">
      <a:dk1>
        <a:sysClr val="windowText" lastClr="000000"/>
      </a:dk1>
      <a:lt1>
        <a:sysClr val="window" lastClr="FFFFFF"/>
      </a:lt1>
      <a:dk2>
        <a:srgbClr val="666666"/>
      </a:dk2>
      <a:lt2>
        <a:srgbClr val="778888"/>
      </a:lt2>
      <a:accent1>
        <a:srgbClr val="003344"/>
      </a:accent1>
      <a:accent2>
        <a:srgbClr val="88DD00"/>
      </a:accent2>
      <a:accent3>
        <a:srgbClr val="999977"/>
      </a:accent3>
      <a:accent4>
        <a:srgbClr val="408FCD"/>
      </a:accent4>
      <a:accent5>
        <a:srgbClr val="003344"/>
      </a:accent5>
      <a:accent6>
        <a:srgbClr val="88DD00"/>
      </a:accent6>
      <a:hlink>
        <a:srgbClr val="999977"/>
      </a:hlink>
      <a:folHlink>
        <a:srgbClr val="00334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ASGS_PPT_Template_city gri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3.xml><?xml version="1.0" encoding="utf-8"?>
<a:theme xmlns:a="http://schemas.openxmlformats.org/drawingml/2006/main" name="1_ASGS_PPT_Template_city gri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4.xml><?xml version="1.0" encoding="utf-8"?>
<a:theme xmlns:a="http://schemas.openxmlformats.org/drawingml/2006/main" name="9_Pres_blue_on_white">
  <a:themeElements>
    <a:clrScheme name="9_Pres_blue_on_white 1">
      <a:dk1>
        <a:srgbClr val="000066"/>
      </a:dk1>
      <a:lt1>
        <a:srgbClr val="FFFFFF"/>
      </a:lt1>
      <a:dk2>
        <a:srgbClr val="000066"/>
      </a:dk2>
      <a:lt2>
        <a:srgbClr val="90BBE0"/>
      </a:lt2>
      <a:accent1>
        <a:srgbClr val="003399"/>
      </a:accent1>
      <a:accent2>
        <a:srgbClr val="608CC8"/>
      </a:accent2>
      <a:accent3>
        <a:srgbClr val="FFFFFF"/>
      </a:accent3>
      <a:accent4>
        <a:srgbClr val="000056"/>
      </a:accent4>
      <a:accent5>
        <a:srgbClr val="AAADCA"/>
      </a:accent5>
      <a:accent6>
        <a:srgbClr val="567EB5"/>
      </a:accent6>
      <a:hlink>
        <a:srgbClr val="8ED8F8"/>
      </a:hlink>
      <a:folHlink>
        <a:srgbClr val="A69A96"/>
      </a:folHlink>
    </a:clrScheme>
    <a:fontScheme name="9_Pres_blue_on_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folHlink">
            <a:alpha val="50000"/>
          </a:schemeClr>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lnDef>
    <a:txDef>
      <a:spPr>
        <a:noFill/>
      </a:spPr>
      <a:bodyPr wrap="square" lIns="36000" rIns="36000" rtlCol="0">
        <a:noAutofit/>
      </a:bodyPr>
      <a:lstStyle>
        <a:defPPr algn="l">
          <a:defRPr dirty="0" smtClean="0"/>
        </a:defPPr>
      </a:lstStyle>
    </a:txDef>
  </a:objectDefaults>
  <a:extraClrSchemeLst>
    <a:extraClrScheme>
      <a:clrScheme name="9_Pres_blue_on_white 1">
        <a:dk1>
          <a:srgbClr val="000066"/>
        </a:dk1>
        <a:lt1>
          <a:srgbClr val="FFFFFF"/>
        </a:lt1>
        <a:dk2>
          <a:srgbClr val="000066"/>
        </a:dk2>
        <a:lt2>
          <a:srgbClr val="90BBE0"/>
        </a:lt2>
        <a:accent1>
          <a:srgbClr val="003399"/>
        </a:accent1>
        <a:accent2>
          <a:srgbClr val="608CC8"/>
        </a:accent2>
        <a:accent3>
          <a:srgbClr val="FFFFFF"/>
        </a:accent3>
        <a:accent4>
          <a:srgbClr val="000056"/>
        </a:accent4>
        <a:accent5>
          <a:srgbClr val="AAADCA"/>
        </a:accent5>
        <a:accent6>
          <a:srgbClr val="567EB5"/>
        </a:accent6>
        <a:hlink>
          <a:srgbClr val="8ED8F8"/>
        </a:hlink>
        <a:folHlink>
          <a:srgbClr val="A69A9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F480F3B2C10C74BB61478E4247D6E77" ma:contentTypeVersion="3" ma:contentTypeDescription="Create a new document." ma:contentTypeScope="" ma:versionID="bcb8cf291c8653af57dd6a29bb52d0ee">
  <xsd:schema xmlns:xsd="http://www.w3.org/2001/XMLSchema" xmlns:p="http://schemas.microsoft.com/office/2006/metadata/properties" xmlns:ns2="bc841b31-d549-43ed-bc47-0086310aa7e9" targetNamespace="http://schemas.microsoft.com/office/2006/metadata/properties" ma:root="true" ma:fieldsID="036f0d1f483fee2c7aa86809005d6981" ns2:_="">
    <xsd:import namespace="bc841b31-d549-43ed-bc47-0086310aa7e9"/>
    <xsd:element name="properties">
      <xsd:complexType>
        <xsd:sequence>
          <xsd:element name="documentManagement">
            <xsd:complexType>
              <xsd:all>
                <xsd:element ref="ns2:Description0" minOccurs="0"/>
              </xsd:all>
            </xsd:complexType>
          </xsd:element>
        </xsd:sequence>
      </xsd:complexType>
    </xsd:element>
  </xsd:schema>
  <xsd:schema xmlns:xsd="http://www.w3.org/2001/XMLSchema" xmlns:dms="http://schemas.microsoft.com/office/2006/documentManagement/types" targetNamespace="bc841b31-d549-43ed-bc47-0086310aa7e9" elementFormDefault="qualified">
    <xsd:import namespace="http://schemas.microsoft.com/office/2006/documentManagement/types"/>
    <xsd:element name="Description0" ma:index="8" nillable="true" ma:displayName="Description" ma:internalName="Description0">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Description0 xmlns="bc841b31-d549-43ed-bc47-0086310aa7e9" xsi:nil="true"/>
  </documentManagement>
</p:properties>
</file>

<file path=customXml/itemProps1.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2.xml><?xml version="1.0" encoding="utf-8"?>
<ds:datastoreItem xmlns:ds="http://schemas.openxmlformats.org/officeDocument/2006/customXml" ds:itemID="{AD4E5E8F-D18A-405B-AB6A-19CBBCF656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841b31-d549-43ed-bc47-0086310aa7e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F2F8FF39-A5D2-4C20-89CA-E0BB61C09927}">
  <ds:schemaRefs>
    <ds:schemaRef ds:uri="bc841b31-d549-43ed-bc47-0086310aa7e9"/>
    <ds:schemaRef ds:uri="http://www.w3.org/XML/1998/namespace"/>
    <ds:schemaRef ds:uri="http://schemas.microsoft.com/office/2006/documentManagement/types"/>
    <ds:schemaRef ds:uri="http://purl.org/dc/terms/"/>
    <ds:schemaRef ds:uri="http://schemas.microsoft.com/office/2006/metadata/properties"/>
    <ds:schemaRef ds:uri="http://schemas.openxmlformats.org/package/2006/metadata/core-propertie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11-2855 PPT Template draw bulb</Template>
  <TotalTime>7981</TotalTime>
  <Words>3410</Words>
  <Application>Microsoft Office PowerPoint</Application>
  <PresentationFormat>On-screen Show (4:3)</PresentationFormat>
  <Paragraphs>1034</Paragraphs>
  <Slides>36</Slides>
  <Notes>9</Notes>
  <HiddenSlides>0</HiddenSlides>
  <MMClips>0</MMClips>
  <ScaleCrop>false</ScaleCrop>
  <HeadingPairs>
    <vt:vector size="4" baseType="variant">
      <vt:variant>
        <vt:lpstr>Theme</vt:lpstr>
      </vt:variant>
      <vt:variant>
        <vt:i4>4</vt:i4>
      </vt:variant>
      <vt:variant>
        <vt:lpstr>Slide Titles</vt:lpstr>
      </vt:variant>
      <vt:variant>
        <vt:i4>36</vt:i4>
      </vt:variant>
    </vt:vector>
  </HeadingPairs>
  <TitlesOfParts>
    <vt:vector size="40" baseType="lpstr">
      <vt:lpstr>11-2855 PPT Template draw bulb</vt:lpstr>
      <vt:lpstr>ASGS_PPT_Template_city grid</vt:lpstr>
      <vt:lpstr>1_ASGS_PPT_Template_city grid</vt:lpstr>
      <vt:lpstr>9_Pres_blue_on_white</vt:lpstr>
      <vt:lpstr>Encuentro Utilities Madrid Hub: Transporte y Distribución</vt:lpstr>
      <vt:lpstr>PowerPoint Presentation</vt:lpstr>
      <vt:lpstr>Esquema General</vt:lpstr>
      <vt:lpstr>PowerPoint Presentation</vt:lpstr>
      <vt:lpstr>Introducción a la cadena de valor:  Negocios Regulados frente a Negocios Liberalizados </vt:lpstr>
      <vt:lpstr>PowerPoint Presentation</vt:lpstr>
      <vt:lpstr>Remuneración Actividades Liberalizadas Mercado Mayorista de compra – venta de energía</vt:lpstr>
      <vt:lpstr>Mercado Mayorista de compra – venta de energía Agentes del mercado</vt:lpstr>
      <vt:lpstr>Mercado Mayorista de compra – venta de energía Funcionamiento de los mercados</vt:lpstr>
      <vt:lpstr>Mercado Mayorista de compra – venta de energía Casación de ofertas</vt:lpstr>
      <vt:lpstr>PowerPoint Presentation</vt:lpstr>
      <vt:lpstr>PowerPoint Presentation</vt:lpstr>
      <vt:lpstr>PowerPoint Presentation</vt:lpstr>
      <vt:lpstr>PowerPoint Presentation</vt:lpstr>
      <vt:lpstr>PowerPoint Presentation</vt:lpstr>
      <vt:lpstr>Remuneración de Actividades Reguladas</vt:lpstr>
      <vt:lpstr>Negocio en Actividades Reguladas</vt:lpstr>
      <vt:lpstr>PowerPoint Presentation</vt:lpstr>
      <vt:lpstr>PowerPoint Presentation</vt:lpstr>
      <vt:lpstr>PowerPoint Presentation</vt:lpstr>
      <vt:lpstr>PowerPoint Presentation</vt:lpstr>
      <vt:lpstr>Situación España</vt:lpstr>
      <vt:lpstr>PowerPoint Presentation</vt:lpstr>
      <vt:lpstr>Mapa de procesos HPUM – T&amp;D</vt:lpstr>
      <vt:lpstr>PowerPoint Presentation</vt:lpstr>
      <vt:lpstr>Key Trends</vt:lpstr>
      <vt:lpstr>Tendencias y aplicación de nuevas tecnologias en T&amp;D</vt:lpstr>
      <vt:lpstr>Advanced Asset Analytics – Case Study </vt:lpstr>
      <vt:lpstr>Asset Analysis  / Age Forecasting – Screen Shots</vt:lpstr>
      <vt:lpstr>Leading Utilities focus on the end-to-end Outage Management and Communication Processes</vt:lpstr>
      <vt:lpstr>PowerPoint Presentation</vt:lpstr>
      <vt:lpstr>Oferings Accenture</vt:lpstr>
      <vt:lpstr>ASGS “Big Deal” Value Proposition</vt:lpstr>
      <vt:lpstr>PowerPoint Presentation</vt:lpstr>
      <vt:lpstr>PowerPoint Presentation</vt:lpstr>
      <vt:lpstr>Referencias</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itle Slide spanning full grid</dc:title>
  <dc:creator>f.fernandez.parra</dc:creator>
  <cp:lastModifiedBy>García San Martín, E.</cp:lastModifiedBy>
  <cp:revision>215</cp:revision>
  <cp:lastPrinted>2009-05-13T12:37:25Z</cp:lastPrinted>
  <dcterms:created xsi:type="dcterms:W3CDTF">2013-05-14T15:57:58Z</dcterms:created>
  <dcterms:modified xsi:type="dcterms:W3CDTF">2014-05-14T18:3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480F3B2C10C74BB61478E4247D6E77</vt:lpwstr>
  </property>
  <property fmtid="{D5CDD505-2E9C-101B-9397-08002B2CF9AE}" pid="3" name="_NewReviewCycle">
    <vt:lpwstr/>
  </property>
</Properties>
</file>